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0" r:id="rId6"/>
    <p:sldMasterId id="2147483766" r:id="rId7"/>
    <p:sldMasterId id="2147483799" r:id="rId8"/>
  </p:sldMasterIdLst>
  <p:notesMasterIdLst>
    <p:notesMasterId r:id="rId19"/>
  </p:notesMasterIdLst>
  <p:handoutMasterIdLst>
    <p:handoutMasterId r:id="rId20"/>
  </p:handoutMasterIdLst>
  <p:sldIdLst>
    <p:sldId id="5593" r:id="rId9"/>
    <p:sldId id="2147482738" r:id="rId10"/>
    <p:sldId id="2147482911" r:id="rId11"/>
    <p:sldId id="2147482910" r:id="rId12"/>
    <p:sldId id="2147482913" r:id="rId13"/>
    <p:sldId id="2147482912" r:id="rId14"/>
    <p:sldId id="2147482783" r:id="rId15"/>
    <p:sldId id="2147482915" r:id="rId16"/>
    <p:sldId id="2147482834" r:id="rId17"/>
    <p:sldId id="5590" r:id="rId18"/>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6DD40A-0EC3-B141-A02A-022E1F558B47}" name="Regine Theiss Quist Holm" initials="RH" userId="S::rho@bankinvest.dk::ead18f74-131a-42ef-8362-c055870c92fe" providerId="AD"/>
  <p188:author id="{F776F1F2-62A0-3FE5-EF4E-48DD9DF97B44}" name="Oliver Ryg Nielsen" initials="" userId="S::oryn@eifo.dk::d444a2f5-f053-4113-af31-b3c8072dbab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1A0B2"/>
    <a:srgbClr val="FFFFFF"/>
    <a:srgbClr val="042F4E"/>
    <a:srgbClr val="15304E"/>
    <a:srgbClr val="D1D8DF"/>
    <a:srgbClr val="D1D8FF"/>
    <a:srgbClr val="DBF2F4"/>
    <a:srgbClr val="B8E5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2" d="100"/>
          <a:sy n="152" d="100"/>
        </p:scale>
        <p:origin x="2764" y="1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per Børre Mangelsen" userId="304cd2d6-315a-4f8e-a784-ac0dfafad406" providerId="ADAL" clId="{FD184C24-963F-4346-98F1-FEC78BBD03DE}"/>
    <pc:docChg chg="modSld">
      <pc:chgData name="Jesper Børre Mangelsen" userId="304cd2d6-315a-4f8e-a784-ac0dfafad406" providerId="ADAL" clId="{FD184C24-963F-4346-98F1-FEC78BBD03DE}" dt="2026-03-19T15:02:32.578" v="7" actId="20577"/>
      <pc:docMkLst>
        <pc:docMk/>
      </pc:docMkLst>
      <pc:sldChg chg="modSp mod">
        <pc:chgData name="Jesper Børre Mangelsen" userId="304cd2d6-315a-4f8e-a784-ac0dfafad406" providerId="ADAL" clId="{FD184C24-963F-4346-98F1-FEC78BBD03DE}" dt="2026-03-19T15:02:32.578" v="7" actId="20577"/>
        <pc:sldMkLst>
          <pc:docMk/>
          <pc:sldMk cId="1494439385" sldId="2147482834"/>
        </pc:sldMkLst>
        <pc:spChg chg="mod">
          <ac:chgData name="Jesper Børre Mangelsen" userId="304cd2d6-315a-4f8e-a784-ac0dfafad406" providerId="ADAL" clId="{FD184C24-963F-4346-98F1-FEC78BBD03DE}" dt="2026-03-19T15:00:02.634" v="3" actId="20577"/>
          <ac:spMkLst>
            <pc:docMk/>
            <pc:sldMk cId="1494439385" sldId="2147482834"/>
            <ac:spMk id="8" creationId="{D94A3911-B2DF-A663-B856-198784755EF3}"/>
          </ac:spMkLst>
        </pc:spChg>
        <pc:graphicFrameChg chg="modGraphic">
          <ac:chgData name="Jesper Børre Mangelsen" userId="304cd2d6-315a-4f8e-a784-ac0dfafad406" providerId="ADAL" clId="{FD184C24-963F-4346-98F1-FEC78BBD03DE}" dt="2026-03-19T15:02:32.578" v="7" actId="20577"/>
          <ac:graphicFrameMkLst>
            <pc:docMk/>
            <pc:sldMk cId="1494439385" sldId="2147482834"/>
            <ac:graphicFrameMk id="31" creationId="{3EEAC595-389F-570B-50DF-431511D8020D}"/>
          </ac:graphicFrameMkLst>
        </pc:graphicFrameChg>
      </pc:sldChg>
    </pc:docChg>
  </pc:docChgLst>
  <pc:docChgLst>
    <pc:chgData name="Cecilie Klit Jørgensen" userId="S::ckj@bankinvest.dk::b3ccf8e7-0c51-41ee-9d95-e2232b60ca23" providerId="AD" clId="Web-{401C5ED8-C028-8F69-EBFE-1FC8C9493871}"/>
    <pc:docChg chg="sldOrd">
      <pc:chgData name="Cecilie Klit Jørgensen" userId="S::ckj@bankinvest.dk::b3ccf8e7-0c51-41ee-9d95-e2232b60ca23" providerId="AD" clId="Web-{401C5ED8-C028-8F69-EBFE-1FC8C9493871}" dt="2026-03-09T13:50:06.719" v="4"/>
      <pc:docMkLst>
        <pc:docMk/>
      </pc:docMkLst>
      <pc:sldChg chg="ord">
        <pc:chgData name="Cecilie Klit Jørgensen" userId="S::ckj@bankinvest.dk::b3ccf8e7-0c51-41ee-9d95-e2232b60ca23" providerId="AD" clId="Web-{401C5ED8-C028-8F69-EBFE-1FC8C9493871}" dt="2026-03-09T13:48:10.810" v="2"/>
        <pc:sldMkLst>
          <pc:docMk/>
          <pc:sldMk cId="1804826461" sldId="5593"/>
        </pc:sldMkLst>
      </pc:sldChg>
      <pc:sldChg chg="ord">
        <pc:chgData name="Cecilie Klit Jørgensen" userId="S::ckj@bankinvest.dk::b3ccf8e7-0c51-41ee-9d95-e2232b60ca23" providerId="AD" clId="Web-{401C5ED8-C028-8F69-EBFE-1FC8C9493871}" dt="2026-03-09T13:50:06.719" v="4"/>
        <pc:sldMkLst>
          <pc:docMk/>
          <pc:sldMk cId="3826805485" sldId="2147482913"/>
        </pc:sldMkLst>
      </pc:sldChg>
    </pc:docChg>
  </pc:docChgLst>
  <pc:docChgLst>
    <pc:chgData name="Cecilie Hvid Nesevski" userId="2ab1a92e-ab42-4aae-bb8f-577f873b7880" providerId="ADAL" clId="{8F1EC346-111B-4A0F-93DC-338EC2B44B46}"/>
    <pc:docChg chg="custSel addSld modSld sldOrd">
      <pc:chgData name="Cecilie Hvid Nesevski" userId="2ab1a92e-ab42-4aae-bb8f-577f873b7880" providerId="ADAL" clId="{8F1EC346-111B-4A0F-93DC-338EC2B44B46}" dt="2026-03-10T16:18:40.728" v="65" actId="20577"/>
      <pc:docMkLst>
        <pc:docMk/>
      </pc:docMkLst>
      <pc:sldChg chg="addSp modSp mod">
        <pc:chgData name="Cecilie Hvid Nesevski" userId="2ab1a92e-ab42-4aae-bb8f-577f873b7880" providerId="ADAL" clId="{8F1EC346-111B-4A0F-93DC-338EC2B44B46}" dt="2026-03-10T16:18:40.728" v="65" actId="20577"/>
        <pc:sldMkLst>
          <pc:docMk/>
          <pc:sldMk cId="1494439385" sldId="2147482834"/>
        </pc:sldMkLst>
        <pc:spChg chg="mod">
          <ac:chgData name="Cecilie Hvid Nesevski" userId="2ab1a92e-ab42-4aae-bb8f-577f873b7880" providerId="ADAL" clId="{8F1EC346-111B-4A0F-93DC-338EC2B44B46}" dt="2026-03-10T16:18:40.728" v="65" actId="20577"/>
          <ac:spMkLst>
            <pc:docMk/>
            <pc:sldMk cId="1494439385" sldId="2147482834"/>
            <ac:spMk id="5" creationId="{E2050CE4-20B8-FAD1-9E31-C2E9B68863DB}"/>
          </ac:spMkLst>
        </pc:spChg>
      </pc:sldChg>
    </pc:docChg>
  </pc:docChgLst>
  <pc:docChgLst>
    <pc:chgData name="Cecilie Klit Jørgensen" userId="b3ccf8e7-0c51-41ee-9d95-e2232b60ca23" providerId="ADAL" clId="{D01F6282-A575-4045-BA31-E186FFCF2DF1}"/>
    <pc:docChg chg="custSel modSld">
      <pc:chgData name="Cecilie Klit Jørgensen" userId="b3ccf8e7-0c51-41ee-9d95-e2232b60ca23" providerId="ADAL" clId="{D01F6282-A575-4045-BA31-E186FFCF2DF1}" dt="2026-03-12T13:58:00.957" v="49" actId="478"/>
      <pc:docMkLst>
        <pc:docMk/>
      </pc:docMkLst>
      <pc:sldChg chg="delSp modSp mod">
        <pc:chgData name="Cecilie Klit Jørgensen" userId="b3ccf8e7-0c51-41ee-9d95-e2232b60ca23" providerId="ADAL" clId="{D01F6282-A575-4045-BA31-E186FFCF2DF1}" dt="2026-03-12T13:58:00.957" v="49" actId="478"/>
        <pc:sldMkLst>
          <pc:docMk/>
          <pc:sldMk cId="1494439385" sldId="2147482834"/>
        </pc:sldMkLst>
        <pc:spChg chg="mod">
          <ac:chgData name="Cecilie Klit Jørgensen" userId="b3ccf8e7-0c51-41ee-9d95-e2232b60ca23" providerId="ADAL" clId="{D01F6282-A575-4045-BA31-E186FFCF2DF1}" dt="2026-03-12T13:57:58.362" v="48" actId="20577"/>
          <ac:spMkLst>
            <pc:docMk/>
            <pc:sldMk cId="1494439385" sldId="2147482834"/>
            <ac:spMk id="8" creationId="{D94A3911-B2DF-A663-B856-198784755EF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Årlige afkast*</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9.4960037147175921E-2"/>
          <c:y val="0.10986719464554234"/>
          <c:w val="0.87743644967842005"/>
          <c:h val="0.60118645069527343"/>
        </c:manualLayout>
      </c:layout>
      <c:barChart>
        <c:barDir val="col"/>
        <c:grouping val="clustered"/>
        <c:varyColors val="0"/>
        <c:ser>
          <c:idx val="0"/>
          <c:order val="0"/>
          <c:tx>
            <c:strRef>
              <c:f>Sheet1!$B$1</c:f>
              <c:strCache>
                <c:ptCount val="1"/>
                <c:pt idx="0">
                  <c:v>Globale Aktier</c:v>
                </c:pt>
              </c:strCache>
            </c:strRef>
          </c:tx>
          <c:spPr>
            <a:solidFill>
              <a:schemeClr val="tx2"/>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B$2:$B$8</c:f>
              <c:numCache>
                <c:formatCode>0.00%</c:formatCode>
                <c:ptCount val="7"/>
                <c:pt idx="0">
                  <c:v>0.29199999999999998</c:v>
                </c:pt>
                <c:pt idx="1">
                  <c:v>-0.12820000000000001</c:v>
                </c:pt>
                <c:pt idx="2">
                  <c:v>0.1489</c:v>
                </c:pt>
                <c:pt idx="3">
                  <c:v>0.2359</c:v>
                </c:pt>
                <c:pt idx="4">
                  <c:v>0.114</c:v>
                </c:pt>
                <c:pt idx="5" formatCode="0.0%">
                  <c:v>0.16515468069394545</c:v>
                </c:pt>
                <c:pt idx="6" formatCode="0.0%">
                  <c:v>0.12244747204715289</c:v>
                </c:pt>
              </c:numCache>
            </c:numRef>
          </c:val>
          <c:extLst>
            <c:ext xmlns:c16="http://schemas.microsoft.com/office/drawing/2014/chart" uri="{C3380CC4-5D6E-409C-BE32-E72D297353CC}">
              <c16:uniqueId val="{00000000-D9C3-4E6B-B184-48D3D334ED32}"/>
            </c:ext>
          </c:extLst>
        </c:ser>
        <c:ser>
          <c:idx val="1"/>
          <c:order val="1"/>
          <c:tx>
            <c:strRef>
              <c:f>Sheet1!$C$1</c:f>
              <c:strCache>
                <c:ptCount val="1"/>
                <c:pt idx="0">
                  <c:v>MSCI AC World</c:v>
                </c:pt>
              </c:strCache>
            </c:strRef>
          </c:tx>
          <c:spPr>
            <a:solidFill>
              <a:schemeClr val="accent1"/>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C$2:$C$8</c:f>
              <c:numCache>
                <c:formatCode>0.00%</c:formatCode>
                <c:ptCount val="7"/>
                <c:pt idx="0">
                  <c:v>0.27439999999999998</c:v>
                </c:pt>
                <c:pt idx="1">
                  <c:v>-0.1303</c:v>
                </c:pt>
                <c:pt idx="2">
                  <c:v>0.1835</c:v>
                </c:pt>
                <c:pt idx="3">
                  <c:v>0.25380000000000003</c:v>
                </c:pt>
                <c:pt idx="4">
                  <c:v>8.0299999999999996E-2</c:v>
                </c:pt>
                <c:pt idx="5" formatCode="0.0%">
                  <c:v>0.17034427390073148</c:v>
                </c:pt>
                <c:pt idx="6" formatCode="0.0%">
                  <c:v>0.12182012638025808</c:v>
                </c:pt>
              </c:numCache>
            </c:numRef>
          </c:val>
          <c:extLst>
            <c:ext xmlns:c16="http://schemas.microsoft.com/office/drawing/2014/chart" uri="{C3380CC4-5D6E-409C-BE32-E72D297353CC}">
              <c16:uniqueId val="{00000001-D9C3-4E6B-B184-48D3D334ED32}"/>
            </c:ext>
          </c:extLst>
        </c:ser>
        <c:dLbls>
          <c:showLegendKey val="0"/>
          <c:showVal val="0"/>
          <c:showCatName val="0"/>
          <c:showSerName val="0"/>
          <c:showPercent val="0"/>
          <c:showBubbleSize val="0"/>
        </c:dLbls>
        <c:gapWidth val="219"/>
        <c:overlap val="-27"/>
        <c:axId val="1166924864"/>
        <c:axId val="1166909024"/>
      </c:barChart>
      <c:catAx>
        <c:axId val="11669248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09024"/>
        <c:crosses val="autoZero"/>
        <c:auto val="1"/>
        <c:lblAlgn val="ctr"/>
        <c:lblOffset val="100"/>
        <c:noMultiLvlLbl val="0"/>
      </c:catAx>
      <c:valAx>
        <c:axId val="11669090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2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5 års afkast vs. danske peer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0.10833497485517721"/>
          <c:y val="0.11261296583841016"/>
          <c:w val="0.84911184115970384"/>
          <c:h val="0.57694038245219348"/>
        </c:manualLayout>
      </c:layout>
      <c:lineChart>
        <c:grouping val="standard"/>
        <c:varyColors val="0"/>
        <c:ser>
          <c:idx val="1"/>
          <c:order val="0"/>
          <c:tx>
            <c:strRef>
              <c:f>Sheet1!$C$1</c:f>
              <c:strCache>
                <c:ptCount val="1"/>
                <c:pt idx="0">
                  <c:v>Peer #1</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C$2:$C$2069</c:f>
              <c:numCache>
                <c:formatCode>0.00%</c:formatCode>
                <c:ptCount val="2068"/>
                <c:pt idx="0">
                  <c:v>0</c:v>
                </c:pt>
                <c:pt idx="1">
                  <c:v>0</c:v>
                </c:pt>
                <c:pt idx="2">
                  <c:v>0</c:v>
                </c:pt>
                <c:pt idx="3">
                  <c:v>0</c:v>
                </c:pt>
                <c:pt idx="4">
                  <c:v>3.5169131939736076E-3</c:v>
                </c:pt>
                <c:pt idx="5">
                  <c:v>-2.9005567384899678E-4</c:v>
                </c:pt>
                <c:pt idx="6">
                  <c:v>-3.4444004042205735E-3</c:v>
                </c:pt>
                <c:pt idx="7">
                  <c:v>1.0538653364489363E-2</c:v>
                </c:pt>
                <c:pt idx="8">
                  <c:v>2.1355280700232838E-2</c:v>
                </c:pt>
                <c:pt idx="9">
                  <c:v>2.1355280700232838E-2</c:v>
                </c:pt>
                <c:pt idx="10">
                  <c:v>2.1355280700232838E-2</c:v>
                </c:pt>
                <c:pt idx="11">
                  <c:v>2.6600437205032391E-2</c:v>
                </c:pt>
                <c:pt idx="12">
                  <c:v>2.6249954958861964E-2</c:v>
                </c:pt>
                <c:pt idx="13">
                  <c:v>2.413497074957064E-2</c:v>
                </c:pt>
                <c:pt idx="14">
                  <c:v>2.8074883494304287E-2</c:v>
                </c:pt>
                <c:pt idx="15">
                  <c:v>1.9433666940173993E-2</c:v>
                </c:pt>
                <c:pt idx="16">
                  <c:v>1.9433666940173993E-2</c:v>
                </c:pt>
                <c:pt idx="17">
                  <c:v>1.9433666940173993E-2</c:v>
                </c:pt>
                <c:pt idx="18">
                  <c:v>1.9240296490941233E-2</c:v>
                </c:pt>
                <c:pt idx="19">
                  <c:v>2.6552092335305987E-2</c:v>
                </c:pt>
                <c:pt idx="20">
                  <c:v>3.5664648795086434E-2</c:v>
                </c:pt>
                <c:pt idx="21">
                  <c:v>3.7985085156205828E-2</c:v>
                </c:pt>
                <c:pt idx="22">
                  <c:v>3.2667415861652956E-2</c:v>
                </c:pt>
                <c:pt idx="23">
                  <c:v>3.2667415861652956E-2</c:v>
                </c:pt>
                <c:pt idx="24">
                  <c:v>3.2667415861652956E-2</c:v>
                </c:pt>
                <c:pt idx="25">
                  <c:v>3.6389785722290784E-2</c:v>
                </c:pt>
                <c:pt idx="26">
                  <c:v>3.3211268557056001E-2</c:v>
                </c:pt>
                <c:pt idx="27">
                  <c:v>3.2232334608297608E-2</c:v>
                </c:pt>
                <c:pt idx="28">
                  <c:v>1.318413086784659E-2</c:v>
                </c:pt>
                <c:pt idx="29">
                  <c:v>3.0191660093703376E-3</c:v>
                </c:pt>
                <c:pt idx="30">
                  <c:v>3.0191660093703376E-3</c:v>
                </c:pt>
                <c:pt idx="31">
                  <c:v>-4.5696556905737394E-3</c:v>
                </c:pt>
                <c:pt idx="32">
                  <c:v>2.1572444338059001E-2</c:v>
                </c:pt>
                <c:pt idx="33">
                  <c:v>3.9808465102713339E-2</c:v>
                </c:pt>
                <c:pt idx="34">
                  <c:v>4.3209477927733816E-2</c:v>
                </c:pt>
                <c:pt idx="35">
                  <c:v>4.9212007292671132E-2</c:v>
                </c:pt>
                <c:pt idx="36">
                  <c:v>5.1039418988213327E-2</c:v>
                </c:pt>
                <c:pt idx="37">
                  <c:v>5.1039418988213327E-2</c:v>
                </c:pt>
                <c:pt idx="38">
                  <c:v>5.1039418988213327E-2</c:v>
                </c:pt>
                <c:pt idx="39">
                  <c:v>5.3361751580681724E-2</c:v>
                </c:pt>
                <c:pt idx="40">
                  <c:v>5.2118099220765969E-2</c:v>
                </c:pt>
                <c:pt idx="41">
                  <c:v>4.5138410237832431E-2</c:v>
                </c:pt>
                <c:pt idx="42">
                  <c:v>5.1496270783389947E-2</c:v>
                </c:pt>
                <c:pt idx="43">
                  <c:v>5.6711999583587698E-2</c:v>
                </c:pt>
                <c:pt idx="44">
                  <c:v>5.6711999583587698E-2</c:v>
                </c:pt>
                <c:pt idx="45">
                  <c:v>5.6711999583587698E-2</c:v>
                </c:pt>
                <c:pt idx="46">
                  <c:v>6.6483564159694308E-2</c:v>
                </c:pt>
                <c:pt idx="47">
                  <c:v>6.6673918698114676E-2</c:v>
                </c:pt>
                <c:pt idx="48">
                  <c:v>6.6661227492586198E-2</c:v>
                </c:pt>
                <c:pt idx="49">
                  <c:v>5.4275455171034534E-2</c:v>
                </c:pt>
                <c:pt idx="50">
                  <c:v>5.2739923143305417E-2</c:v>
                </c:pt>
                <c:pt idx="51">
                  <c:v>5.2739923143305417E-2</c:v>
                </c:pt>
                <c:pt idx="52">
                  <c:v>5.2739923143305417E-2</c:v>
                </c:pt>
                <c:pt idx="53">
                  <c:v>3.4973445379356177E-2</c:v>
                </c:pt>
                <c:pt idx="54">
                  <c:v>2.4516605367903139E-2</c:v>
                </c:pt>
                <c:pt idx="55">
                  <c:v>2.4021684470977363E-2</c:v>
                </c:pt>
                <c:pt idx="56">
                  <c:v>2.2105438851570652E-2</c:v>
                </c:pt>
                <c:pt idx="57">
                  <c:v>4.5039377298212455E-3</c:v>
                </c:pt>
                <c:pt idx="58">
                  <c:v>4.5039377298212455E-3</c:v>
                </c:pt>
                <c:pt idx="59">
                  <c:v>5.6993039128855122E-4</c:v>
                </c:pt>
                <c:pt idx="60">
                  <c:v>2.6953149780456299E-2</c:v>
                </c:pt>
                <c:pt idx="61">
                  <c:v>2.14074722106956E-2</c:v>
                </c:pt>
                <c:pt idx="62">
                  <c:v>1.4605451075490663E-2</c:v>
                </c:pt>
                <c:pt idx="63">
                  <c:v>5.9125667319366929E-3</c:v>
                </c:pt>
                <c:pt idx="64">
                  <c:v>2.6384569325294651E-3</c:v>
                </c:pt>
                <c:pt idx="65">
                  <c:v>2.6384569325294651E-3</c:v>
                </c:pt>
                <c:pt idx="66">
                  <c:v>2.6384569325294651E-3</c:v>
                </c:pt>
                <c:pt idx="67">
                  <c:v>2.1572444338059001E-2</c:v>
                </c:pt>
                <c:pt idx="68">
                  <c:v>2.6331325857916709E-2</c:v>
                </c:pt>
                <c:pt idx="69">
                  <c:v>2.6407468576252313E-2</c:v>
                </c:pt>
                <c:pt idx="70">
                  <c:v>3.219426099171159E-2</c:v>
                </c:pt>
                <c:pt idx="71">
                  <c:v>2.9440459015124248E-2</c:v>
                </c:pt>
                <c:pt idx="72">
                  <c:v>2.9440459015124248E-2</c:v>
                </c:pt>
                <c:pt idx="73">
                  <c:v>2.9440459015124248E-2</c:v>
                </c:pt>
                <c:pt idx="74">
                  <c:v>2.9503910527931082E-2</c:v>
                </c:pt>
                <c:pt idx="75">
                  <c:v>4.105212197746539E-2</c:v>
                </c:pt>
                <c:pt idx="76">
                  <c:v>3.3767862121189866E-2</c:v>
                </c:pt>
                <c:pt idx="77">
                  <c:v>3.2029288864348471E-2</c:v>
                </c:pt>
                <c:pt idx="78">
                  <c:v>2.9668882655294198E-2</c:v>
                </c:pt>
                <c:pt idx="79">
                  <c:v>2.9668882655294198E-2</c:v>
                </c:pt>
                <c:pt idx="80">
                  <c:v>2.9668882655294198E-2</c:v>
                </c:pt>
                <c:pt idx="81">
                  <c:v>2.9592739936958594E-2</c:v>
                </c:pt>
                <c:pt idx="82">
                  <c:v>3.6458217099807087E-2</c:v>
                </c:pt>
                <c:pt idx="83">
                  <c:v>3.3564820892077595E-2</c:v>
                </c:pt>
                <c:pt idx="84">
                  <c:v>2.8158733038622614E-2</c:v>
                </c:pt>
                <c:pt idx="85">
                  <c:v>4.3691712133967685E-2</c:v>
                </c:pt>
                <c:pt idx="86">
                  <c:v>4.3691712133967685E-2</c:v>
                </c:pt>
                <c:pt idx="87">
                  <c:v>4.3691712133967685E-2</c:v>
                </c:pt>
                <c:pt idx="88">
                  <c:v>4.7942977036534558E-2</c:v>
                </c:pt>
                <c:pt idx="89">
                  <c:v>5.6940427738594084E-2</c:v>
                </c:pt>
                <c:pt idx="90">
                  <c:v>5.1508961988918432E-2</c:v>
                </c:pt>
                <c:pt idx="91">
                  <c:v>5.1508961988918432E-2</c:v>
                </c:pt>
                <c:pt idx="92">
                  <c:v>5.1508961988918432E-2</c:v>
                </c:pt>
                <c:pt idx="93">
                  <c:v>5.1508961988918432E-2</c:v>
                </c:pt>
                <c:pt idx="94">
                  <c:v>5.1508961988918432E-2</c:v>
                </c:pt>
                <c:pt idx="95">
                  <c:v>5.1508961988918432E-2</c:v>
                </c:pt>
                <c:pt idx="96">
                  <c:v>7.6178981502629028E-2</c:v>
                </c:pt>
                <c:pt idx="97">
                  <c:v>6.7524170775660933E-2</c:v>
                </c:pt>
                <c:pt idx="98">
                  <c:v>7.4275431603587669E-2</c:v>
                </c:pt>
                <c:pt idx="99">
                  <c:v>8.0265274277832643E-2</c:v>
                </c:pt>
                <c:pt idx="100">
                  <c:v>8.0265274277832643E-2</c:v>
                </c:pt>
                <c:pt idx="101">
                  <c:v>8.0265274277832643E-2</c:v>
                </c:pt>
                <c:pt idx="102">
                  <c:v>7.2473402319102723E-2</c:v>
                </c:pt>
                <c:pt idx="103">
                  <c:v>7.6902335069398045E-2</c:v>
                </c:pt>
                <c:pt idx="104">
                  <c:v>7.8831262864659954E-2</c:v>
                </c:pt>
                <c:pt idx="105">
                  <c:v>8.3767807717409534E-2</c:v>
                </c:pt>
                <c:pt idx="106">
                  <c:v>8.8513993516902326E-2</c:v>
                </c:pt>
                <c:pt idx="107">
                  <c:v>8.8513993516902326E-2</c:v>
                </c:pt>
                <c:pt idx="108">
                  <c:v>8.8513993516902326E-2</c:v>
                </c:pt>
                <c:pt idx="109">
                  <c:v>8.0189131559497182E-2</c:v>
                </c:pt>
                <c:pt idx="110">
                  <c:v>7.0163760932163227E-2</c:v>
                </c:pt>
                <c:pt idx="111">
                  <c:v>6.8628228904434249E-2</c:v>
                </c:pt>
                <c:pt idx="112">
                  <c:v>7.9351570687479694E-2</c:v>
                </c:pt>
                <c:pt idx="113">
                  <c:v>7.7828729865279347E-2</c:v>
                </c:pt>
                <c:pt idx="114">
                  <c:v>7.7828729865279347E-2</c:v>
                </c:pt>
                <c:pt idx="115">
                  <c:v>7.7828729865279347E-2</c:v>
                </c:pt>
                <c:pt idx="116">
                  <c:v>8.1432783919412943E-2</c:v>
                </c:pt>
                <c:pt idx="117">
                  <c:v>7.5366803041668928E-2</c:v>
                </c:pt>
                <c:pt idx="118">
                  <c:v>8.0011468226605306E-2</c:v>
                </c:pt>
                <c:pt idx="119">
                  <c:v>7.7384564760795194E-2</c:v>
                </c:pt>
                <c:pt idx="120">
                  <c:v>7.2168835960597449E-2</c:v>
                </c:pt>
                <c:pt idx="121">
                  <c:v>7.2168835960597449E-2</c:v>
                </c:pt>
                <c:pt idx="122">
                  <c:v>7.2168835960597449E-2</c:v>
                </c:pt>
                <c:pt idx="123">
                  <c:v>7.4300814014645056E-2</c:v>
                </c:pt>
                <c:pt idx="124">
                  <c:v>6.2498796513883403E-2</c:v>
                </c:pt>
                <c:pt idx="125">
                  <c:v>6.6724679005392751E-2</c:v>
                </c:pt>
                <c:pt idx="126">
                  <c:v>6.4909963030215886E-2</c:v>
                </c:pt>
                <c:pt idx="127">
                  <c:v>7.2054624140512405E-2</c:v>
                </c:pt>
                <c:pt idx="128">
                  <c:v>7.2054624140512405E-2</c:v>
                </c:pt>
                <c:pt idx="129">
                  <c:v>7.2054624140512405E-2</c:v>
                </c:pt>
                <c:pt idx="130">
                  <c:v>6.9021629186803754E-2</c:v>
                </c:pt>
                <c:pt idx="131">
                  <c:v>4.2917598259920593E-2</c:v>
                </c:pt>
                <c:pt idx="132">
                  <c:v>4.4580033313263386E-2</c:v>
                </c:pt>
                <c:pt idx="133">
                  <c:v>4.4580033313263386E-2</c:v>
                </c:pt>
                <c:pt idx="134">
                  <c:v>4.4580033313263386E-2</c:v>
                </c:pt>
                <c:pt idx="135">
                  <c:v>4.4580033313263386E-2</c:v>
                </c:pt>
                <c:pt idx="136">
                  <c:v>4.4580033313263386E-2</c:v>
                </c:pt>
                <c:pt idx="137">
                  <c:v>5.4630786351654595E-2</c:v>
                </c:pt>
                <c:pt idx="138">
                  <c:v>5.087444234601364E-2</c:v>
                </c:pt>
                <c:pt idx="139">
                  <c:v>3.5100348404969853E-2</c:v>
                </c:pt>
                <c:pt idx="140">
                  <c:v>4.8082566752840422E-2</c:v>
                </c:pt>
                <c:pt idx="141">
                  <c:v>5.9656160613431979E-2</c:v>
                </c:pt>
                <c:pt idx="142">
                  <c:v>5.9656160613431979E-2</c:v>
                </c:pt>
                <c:pt idx="143">
                  <c:v>5.9656160613431979E-2</c:v>
                </c:pt>
                <c:pt idx="144">
                  <c:v>5.9656160613431979E-2</c:v>
                </c:pt>
                <c:pt idx="145">
                  <c:v>5.9897275459130414E-2</c:v>
                </c:pt>
                <c:pt idx="146">
                  <c:v>6.402163733608375E-2</c:v>
                </c:pt>
                <c:pt idx="147">
                  <c:v>6.2816054077917446E-2</c:v>
                </c:pt>
                <c:pt idx="148">
                  <c:v>6.9034320392332524E-2</c:v>
                </c:pt>
                <c:pt idx="149">
                  <c:v>6.9034320392332524E-2</c:v>
                </c:pt>
                <c:pt idx="150">
                  <c:v>6.9034320392332524E-2</c:v>
                </c:pt>
                <c:pt idx="151">
                  <c:v>5.9897275459130414E-2</c:v>
                </c:pt>
                <c:pt idx="152">
                  <c:v>5.975768122798826E-2</c:v>
                </c:pt>
                <c:pt idx="153">
                  <c:v>6.1864276870978757E-2</c:v>
                </c:pt>
                <c:pt idx="154">
                  <c:v>6.3882043104941319E-2</c:v>
                </c:pt>
                <c:pt idx="155">
                  <c:v>6.7803359237945393E-2</c:v>
                </c:pt>
                <c:pt idx="156">
                  <c:v>6.7803359237945393E-2</c:v>
                </c:pt>
                <c:pt idx="157">
                  <c:v>6.7803359237945393E-2</c:v>
                </c:pt>
                <c:pt idx="158">
                  <c:v>6.7409958955575888E-2</c:v>
                </c:pt>
                <c:pt idx="159">
                  <c:v>6.6280518415745171E-2</c:v>
                </c:pt>
                <c:pt idx="160">
                  <c:v>6.6876964442063952E-2</c:v>
                </c:pt>
                <c:pt idx="161">
                  <c:v>7.1953099011119404E-2</c:v>
                </c:pt>
                <c:pt idx="162">
                  <c:v>8.1039383637043161E-2</c:v>
                </c:pt>
                <c:pt idx="163">
                  <c:v>8.1039383637043161E-2</c:v>
                </c:pt>
                <c:pt idx="164">
                  <c:v>8.1039383637043161E-2</c:v>
                </c:pt>
                <c:pt idx="165">
                  <c:v>7.9503851609314322E-2</c:v>
                </c:pt>
                <c:pt idx="166">
                  <c:v>8.3843950435745149E-2</c:v>
                </c:pt>
                <c:pt idx="167">
                  <c:v>8.5861712154871553E-2</c:v>
                </c:pt>
                <c:pt idx="168">
                  <c:v>9.2219572700428645E-2</c:v>
                </c:pt>
                <c:pt idx="169">
                  <c:v>9.3856629857550472E-2</c:v>
                </c:pt>
                <c:pt idx="170">
                  <c:v>9.3856629857550472E-2</c:v>
                </c:pt>
                <c:pt idx="171">
                  <c:v>9.3856629857550472E-2</c:v>
                </c:pt>
                <c:pt idx="172">
                  <c:v>9.1128205777184099E-2</c:v>
                </c:pt>
                <c:pt idx="173">
                  <c:v>9.5963225500540969E-2</c:v>
                </c:pt>
                <c:pt idx="174">
                  <c:v>9.4097744703249192E-2</c:v>
                </c:pt>
                <c:pt idx="175">
                  <c:v>9.8843930502741706E-2</c:v>
                </c:pt>
                <c:pt idx="176">
                  <c:v>9.7904849016168069E-2</c:v>
                </c:pt>
                <c:pt idx="177">
                  <c:v>9.7904849016168069E-2</c:v>
                </c:pt>
                <c:pt idx="178">
                  <c:v>9.7904849016168069E-2</c:v>
                </c:pt>
                <c:pt idx="179">
                  <c:v>0.10282869814855261</c:v>
                </c:pt>
                <c:pt idx="180">
                  <c:v>0.10918655869410983</c:v>
                </c:pt>
                <c:pt idx="181">
                  <c:v>0.10413580653611178</c:v>
                </c:pt>
                <c:pt idx="182">
                  <c:v>0.10525255587041386</c:v>
                </c:pt>
                <c:pt idx="183">
                  <c:v>0.11267640544299468</c:v>
                </c:pt>
                <c:pt idx="184">
                  <c:v>0.11267640544299468</c:v>
                </c:pt>
                <c:pt idx="185">
                  <c:v>0.11267640544299468</c:v>
                </c:pt>
                <c:pt idx="186">
                  <c:v>0.11589975042028726</c:v>
                </c:pt>
                <c:pt idx="187">
                  <c:v>0.12144542799004782</c:v>
                </c:pt>
                <c:pt idx="188">
                  <c:v>0.13112815864229035</c:v>
                </c:pt>
                <c:pt idx="189">
                  <c:v>0.11289213787763615</c:v>
                </c:pt>
                <c:pt idx="190">
                  <c:v>0.12102664981145736</c:v>
                </c:pt>
                <c:pt idx="191">
                  <c:v>0.12102664981145736</c:v>
                </c:pt>
                <c:pt idx="192">
                  <c:v>0.12102664981145736</c:v>
                </c:pt>
                <c:pt idx="193">
                  <c:v>0.12886927756262906</c:v>
                </c:pt>
                <c:pt idx="194">
                  <c:v>0.1380697785234743</c:v>
                </c:pt>
                <c:pt idx="195">
                  <c:v>0.1402652035754923</c:v>
                </c:pt>
                <c:pt idx="196">
                  <c:v>0.13799363580513885</c:v>
                </c:pt>
                <c:pt idx="197">
                  <c:v>0.13602662987845421</c:v>
                </c:pt>
                <c:pt idx="198">
                  <c:v>0.13602662987845421</c:v>
                </c:pt>
                <c:pt idx="199">
                  <c:v>0.13602662987845421</c:v>
                </c:pt>
                <c:pt idx="200">
                  <c:v>0.11743528244801624</c:v>
                </c:pt>
                <c:pt idx="201">
                  <c:v>0.12749872217709979</c:v>
                </c:pt>
                <c:pt idx="202">
                  <c:v>0.12874237453701554</c:v>
                </c:pt>
                <c:pt idx="203">
                  <c:v>0.136013943187762</c:v>
                </c:pt>
                <c:pt idx="204">
                  <c:v>0.14596316658192393</c:v>
                </c:pt>
                <c:pt idx="205">
                  <c:v>0.14596316658192393</c:v>
                </c:pt>
                <c:pt idx="206">
                  <c:v>0.14596316658192393</c:v>
                </c:pt>
                <c:pt idx="207">
                  <c:v>0.14244794193681826</c:v>
                </c:pt>
                <c:pt idx="208">
                  <c:v>0.13805708731794566</c:v>
                </c:pt>
                <c:pt idx="209">
                  <c:v>0.14338702793822861</c:v>
                </c:pt>
                <c:pt idx="210">
                  <c:v>0.14058246565436305</c:v>
                </c:pt>
                <c:pt idx="211">
                  <c:v>0.14139464411532315</c:v>
                </c:pt>
                <c:pt idx="212">
                  <c:v>0.14007484903707179</c:v>
                </c:pt>
                <c:pt idx="213">
                  <c:v>0.14007484903707179</c:v>
                </c:pt>
                <c:pt idx="214">
                  <c:v>0.14529058235210626</c:v>
                </c:pt>
                <c:pt idx="215">
                  <c:v>0.14732103527676116</c:v>
                </c:pt>
                <c:pt idx="216">
                  <c:v>0.15664843474838336</c:v>
                </c:pt>
                <c:pt idx="217">
                  <c:v>0.16672456568299565</c:v>
                </c:pt>
                <c:pt idx="218">
                  <c:v>0.16710527475983653</c:v>
                </c:pt>
                <c:pt idx="219">
                  <c:v>0.16710527475983653</c:v>
                </c:pt>
                <c:pt idx="220">
                  <c:v>0.16710527475983653</c:v>
                </c:pt>
                <c:pt idx="221">
                  <c:v>0.17031593304643677</c:v>
                </c:pt>
                <c:pt idx="222">
                  <c:v>0.17268902594618324</c:v>
                </c:pt>
                <c:pt idx="223">
                  <c:v>0.17313318653583096</c:v>
                </c:pt>
                <c:pt idx="224">
                  <c:v>0.16979562973845347</c:v>
                </c:pt>
                <c:pt idx="225">
                  <c:v>0.17063319061047097</c:v>
                </c:pt>
                <c:pt idx="226">
                  <c:v>0.17063319061047097</c:v>
                </c:pt>
                <c:pt idx="227">
                  <c:v>0.17063319061047097</c:v>
                </c:pt>
                <c:pt idx="228">
                  <c:v>0.16829816681247409</c:v>
                </c:pt>
                <c:pt idx="229">
                  <c:v>0.17426262707566181</c:v>
                </c:pt>
                <c:pt idx="230">
                  <c:v>0.17624232420787508</c:v>
                </c:pt>
                <c:pt idx="231">
                  <c:v>0.16701644535080903</c:v>
                </c:pt>
                <c:pt idx="232">
                  <c:v>0.17628039330962436</c:v>
                </c:pt>
                <c:pt idx="233">
                  <c:v>0.17628039330962436</c:v>
                </c:pt>
                <c:pt idx="234">
                  <c:v>0.17628039330962436</c:v>
                </c:pt>
                <c:pt idx="235">
                  <c:v>0.18025246974990666</c:v>
                </c:pt>
                <c:pt idx="236">
                  <c:v>0.18352657954931373</c:v>
                </c:pt>
                <c:pt idx="237">
                  <c:v>0.18304434534308014</c:v>
                </c:pt>
                <c:pt idx="238">
                  <c:v>0.17773978261901788</c:v>
                </c:pt>
                <c:pt idx="239">
                  <c:v>0.17900881738999089</c:v>
                </c:pt>
                <c:pt idx="240">
                  <c:v>0.17900881738999089</c:v>
                </c:pt>
                <c:pt idx="241">
                  <c:v>0.17900881738999089</c:v>
                </c:pt>
                <c:pt idx="242">
                  <c:v>0.18740982206573192</c:v>
                </c:pt>
                <c:pt idx="243">
                  <c:v>0.18733367934739634</c:v>
                </c:pt>
                <c:pt idx="244">
                  <c:v>0.18584891214178215</c:v>
                </c:pt>
                <c:pt idx="245">
                  <c:v>0.18795550778477235</c:v>
                </c:pt>
                <c:pt idx="246">
                  <c:v>0.18682606724494177</c:v>
                </c:pt>
                <c:pt idx="247">
                  <c:v>0.18682606724494177</c:v>
                </c:pt>
                <c:pt idx="248">
                  <c:v>0.18682606724494177</c:v>
                </c:pt>
                <c:pt idx="249">
                  <c:v>0.19770168994982185</c:v>
                </c:pt>
                <c:pt idx="250">
                  <c:v>0.19913569684815799</c:v>
                </c:pt>
                <c:pt idx="251">
                  <c:v>0.20001133133676136</c:v>
                </c:pt>
                <c:pt idx="252">
                  <c:v>0.2028666584427414</c:v>
                </c:pt>
                <c:pt idx="253">
                  <c:v>0.19886919959140201</c:v>
                </c:pt>
                <c:pt idx="254">
                  <c:v>0.19886919959140201</c:v>
                </c:pt>
                <c:pt idx="255">
                  <c:v>0.19886919959140201</c:v>
                </c:pt>
                <c:pt idx="256">
                  <c:v>0.20135650882606981</c:v>
                </c:pt>
                <c:pt idx="257">
                  <c:v>0.20191488123580242</c:v>
                </c:pt>
                <c:pt idx="258">
                  <c:v>0.19648341548612677</c:v>
                </c:pt>
                <c:pt idx="259">
                  <c:v>0.20174990910843932</c:v>
                </c:pt>
                <c:pt idx="260">
                  <c:v>0.2031331556994975</c:v>
                </c:pt>
                <c:pt idx="261">
                  <c:v>0.2031331556994975</c:v>
                </c:pt>
                <c:pt idx="262">
                  <c:v>0.2031331556994975</c:v>
                </c:pt>
                <c:pt idx="263">
                  <c:v>0.18272708777904584</c:v>
                </c:pt>
                <c:pt idx="264">
                  <c:v>0.18695297027055546</c:v>
                </c:pt>
                <c:pt idx="265">
                  <c:v>0.18996058281320644</c:v>
                </c:pt>
                <c:pt idx="266">
                  <c:v>0.20100117764544961</c:v>
                </c:pt>
                <c:pt idx="267">
                  <c:v>0.20246056695484313</c:v>
                </c:pt>
                <c:pt idx="268">
                  <c:v>0.20246056695484313</c:v>
                </c:pt>
                <c:pt idx="269">
                  <c:v>0.20246056695484313</c:v>
                </c:pt>
                <c:pt idx="270">
                  <c:v>0.19431336833032972</c:v>
                </c:pt>
                <c:pt idx="271">
                  <c:v>0.16781593712107679</c:v>
                </c:pt>
                <c:pt idx="272">
                  <c:v>0.16808243437783291</c:v>
                </c:pt>
                <c:pt idx="273">
                  <c:v>0.16176264293402512</c:v>
                </c:pt>
                <c:pt idx="274">
                  <c:v>0.15219412410186733</c:v>
                </c:pt>
                <c:pt idx="275">
                  <c:v>0.15219412410186733</c:v>
                </c:pt>
                <c:pt idx="276">
                  <c:v>0.15219412410186733</c:v>
                </c:pt>
                <c:pt idx="277">
                  <c:v>0.14324743370708617</c:v>
                </c:pt>
                <c:pt idx="278">
                  <c:v>0.15394539307907437</c:v>
                </c:pt>
                <c:pt idx="279">
                  <c:v>0.1557854914653089</c:v>
                </c:pt>
                <c:pt idx="280">
                  <c:v>0.1749605982313733</c:v>
                </c:pt>
                <c:pt idx="281">
                  <c:v>0.17150882509907434</c:v>
                </c:pt>
                <c:pt idx="282">
                  <c:v>0.17150882509907434</c:v>
                </c:pt>
                <c:pt idx="283">
                  <c:v>0.17150882509907434</c:v>
                </c:pt>
                <c:pt idx="284">
                  <c:v>0.17045552727757923</c:v>
                </c:pt>
                <c:pt idx="285">
                  <c:v>0.16248599198595756</c:v>
                </c:pt>
                <c:pt idx="286">
                  <c:v>0.16365350162753756</c:v>
                </c:pt>
                <c:pt idx="287">
                  <c:v>0.18124231605859492</c:v>
                </c:pt>
                <c:pt idx="288">
                  <c:v>0.19213062996900376</c:v>
                </c:pt>
                <c:pt idx="289">
                  <c:v>0.19213062996900376</c:v>
                </c:pt>
                <c:pt idx="290">
                  <c:v>0.19213062996900376</c:v>
                </c:pt>
                <c:pt idx="291">
                  <c:v>0.19362808838014686</c:v>
                </c:pt>
                <c:pt idx="292">
                  <c:v>0.20053163464474452</c:v>
                </c:pt>
                <c:pt idx="293">
                  <c:v>0.20318391600677543</c:v>
                </c:pt>
                <c:pt idx="294">
                  <c:v>0.20119153218387026</c:v>
                </c:pt>
                <c:pt idx="295">
                  <c:v>0.20921182778276987</c:v>
                </c:pt>
                <c:pt idx="296">
                  <c:v>0.20921182778276987</c:v>
                </c:pt>
                <c:pt idx="297">
                  <c:v>0.20921182778276987</c:v>
                </c:pt>
                <c:pt idx="298">
                  <c:v>0.20903416444987827</c:v>
                </c:pt>
                <c:pt idx="299">
                  <c:v>0.22043009046274137</c:v>
                </c:pt>
                <c:pt idx="300">
                  <c:v>0.21517628804595759</c:v>
                </c:pt>
                <c:pt idx="301">
                  <c:v>0.21161030309357357</c:v>
                </c:pt>
                <c:pt idx="302">
                  <c:v>0.21850115815264273</c:v>
                </c:pt>
                <c:pt idx="303">
                  <c:v>0.21850115815264273</c:v>
                </c:pt>
                <c:pt idx="304">
                  <c:v>0.22456713903038689</c:v>
                </c:pt>
                <c:pt idx="305">
                  <c:v>0.22719404249619685</c:v>
                </c:pt>
                <c:pt idx="306">
                  <c:v>0.22941484995927255</c:v>
                </c:pt>
                <c:pt idx="307">
                  <c:v>0.22763820308584456</c:v>
                </c:pt>
                <c:pt idx="308">
                  <c:v>0.24905949972604205</c:v>
                </c:pt>
                <c:pt idx="309">
                  <c:v>0.25143259262578854</c:v>
                </c:pt>
                <c:pt idx="310">
                  <c:v>0.25143259262578854</c:v>
                </c:pt>
                <c:pt idx="311">
                  <c:v>0.25143259262578854</c:v>
                </c:pt>
                <c:pt idx="312">
                  <c:v>0.25111533506175432</c:v>
                </c:pt>
                <c:pt idx="313">
                  <c:v>0.24822193433918799</c:v>
                </c:pt>
                <c:pt idx="314">
                  <c:v>0.24914832913506957</c:v>
                </c:pt>
                <c:pt idx="315">
                  <c:v>0.25280314801131781</c:v>
                </c:pt>
                <c:pt idx="316">
                  <c:v>0.25843765950494246</c:v>
                </c:pt>
                <c:pt idx="317">
                  <c:v>0.25843765950494246</c:v>
                </c:pt>
                <c:pt idx="318">
                  <c:v>0.25843765950494246</c:v>
                </c:pt>
                <c:pt idx="319">
                  <c:v>0.26809500774612771</c:v>
                </c:pt>
                <c:pt idx="320">
                  <c:v>0.28006200188908908</c:v>
                </c:pt>
                <c:pt idx="321">
                  <c:v>0.28417367256051335</c:v>
                </c:pt>
                <c:pt idx="322">
                  <c:v>0.28136910576181123</c:v>
                </c:pt>
                <c:pt idx="323">
                  <c:v>0.29592492975399692</c:v>
                </c:pt>
                <c:pt idx="324">
                  <c:v>0.29592492975399692</c:v>
                </c:pt>
                <c:pt idx="325">
                  <c:v>0.29592492975399692</c:v>
                </c:pt>
                <c:pt idx="326">
                  <c:v>0.29952898380813026</c:v>
                </c:pt>
                <c:pt idx="327">
                  <c:v>0.27607723424327801</c:v>
                </c:pt>
                <c:pt idx="328">
                  <c:v>0.27974474432505486</c:v>
                </c:pt>
                <c:pt idx="329">
                  <c:v>0.28553153674051401</c:v>
                </c:pt>
                <c:pt idx="330">
                  <c:v>0.25705441291388453</c:v>
                </c:pt>
                <c:pt idx="331">
                  <c:v>0.25705441291388453</c:v>
                </c:pt>
                <c:pt idx="332">
                  <c:v>0.25705441291388453</c:v>
                </c:pt>
                <c:pt idx="333">
                  <c:v>0.26185136353549199</c:v>
                </c:pt>
                <c:pt idx="334">
                  <c:v>0.24365341187258707</c:v>
                </c:pt>
                <c:pt idx="335">
                  <c:v>0.25352649706324998</c:v>
                </c:pt>
                <c:pt idx="336">
                  <c:v>0.25134375870192427</c:v>
                </c:pt>
                <c:pt idx="337">
                  <c:v>0.24616609900347569</c:v>
                </c:pt>
                <c:pt idx="338">
                  <c:v>0.24616609900347569</c:v>
                </c:pt>
                <c:pt idx="339">
                  <c:v>0.24616609900347569</c:v>
                </c:pt>
                <c:pt idx="340">
                  <c:v>0.25281583921684642</c:v>
                </c:pt>
                <c:pt idx="341">
                  <c:v>0.28177519724970979</c:v>
                </c:pt>
                <c:pt idx="342">
                  <c:v>0.27871682439978046</c:v>
                </c:pt>
                <c:pt idx="343">
                  <c:v>0.27940210434996332</c:v>
                </c:pt>
                <c:pt idx="344">
                  <c:v>0.27827266381013271</c:v>
                </c:pt>
                <c:pt idx="345">
                  <c:v>0.27827266381013271</c:v>
                </c:pt>
                <c:pt idx="346">
                  <c:v>0.27827266381013271</c:v>
                </c:pt>
                <c:pt idx="347">
                  <c:v>0.27744778962880745</c:v>
                </c:pt>
                <c:pt idx="348">
                  <c:v>0.2594148146081024</c:v>
                </c:pt>
                <c:pt idx="349">
                  <c:v>0.26360262799786227</c:v>
                </c:pt>
                <c:pt idx="350">
                  <c:v>0.27497317611450484</c:v>
                </c:pt>
                <c:pt idx="351">
                  <c:v>0.2541229430895689</c:v>
                </c:pt>
                <c:pt idx="352">
                  <c:v>0.2541229430895689</c:v>
                </c:pt>
                <c:pt idx="353">
                  <c:v>0.2541229430895689</c:v>
                </c:pt>
                <c:pt idx="354">
                  <c:v>0.22766358549690197</c:v>
                </c:pt>
                <c:pt idx="355">
                  <c:v>0.23518895568403933</c:v>
                </c:pt>
                <c:pt idx="356">
                  <c:v>0.25131838080570362</c:v>
                </c:pt>
                <c:pt idx="357">
                  <c:v>0.26556963392454702</c:v>
                </c:pt>
                <c:pt idx="358">
                  <c:v>0.26556963392454702</c:v>
                </c:pt>
                <c:pt idx="359">
                  <c:v>0.26556963392454702</c:v>
                </c:pt>
                <c:pt idx="360">
                  <c:v>0.26556963392454702</c:v>
                </c:pt>
                <c:pt idx="361">
                  <c:v>0.26888181282570356</c:v>
                </c:pt>
                <c:pt idx="362">
                  <c:v>0.28037925945312281</c:v>
                </c:pt>
                <c:pt idx="363">
                  <c:v>0.26918637918420885</c:v>
                </c:pt>
                <c:pt idx="364">
                  <c:v>0.27663561116784735</c:v>
                </c:pt>
                <c:pt idx="365">
                  <c:v>0.2683741962084123</c:v>
                </c:pt>
                <c:pt idx="366">
                  <c:v>0.2683741962084123</c:v>
                </c:pt>
                <c:pt idx="367">
                  <c:v>0.2683741962084123</c:v>
                </c:pt>
                <c:pt idx="368">
                  <c:v>0.2725873920092296</c:v>
                </c:pt>
                <c:pt idx="369">
                  <c:v>0.27386911347089482</c:v>
                </c:pt>
                <c:pt idx="370">
                  <c:v>0.26121684389258704</c:v>
                </c:pt>
                <c:pt idx="371">
                  <c:v>0.24021432994581687</c:v>
                </c:pt>
                <c:pt idx="372">
                  <c:v>0.22543008231346134</c:v>
                </c:pt>
                <c:pt idx="373">
                  <c:v>0.22543008231346134</c:v>
                </c:pt>
                <c:pt idx="374">
                  <c:v>0.22543008231346134</c:v>
                </c:pt>
                <c:pt idx="375">
                  <c:v>0.21102654827278358</c:v>
                </c:pt>
                <c:pt idx="376">
                  <c:v>0.21411029901893386</c:v>
                </c:pt>
                <c:pt idx="377">
                  <c:v>0.23096307319253001</c:v>
                </c:pt>
                <c:pt idx="378">
                  <c:v>0.22600115044355945</c:v>
                </c:pt>
                <c:pt idx="379">
                  <c:v>0.2045417801867761</c:v>
                </c:pt>
                <c:pt idx="380">
                  <c:v>0.2045417801867761</c:v>
                </c:pt>
                <c:pt idx="381">
                  <c:v>0.2045417801867761</c:v>
                </c:pt>
                <c:pt idx="382">
                  <c:v>0.20586157977986402</c:v>
                </c:pt>
                <c:pt idx="383">
                  <c:v>0.1944910316632216</c:v>
                </c:pt>
                <c:pt idx="384">
                  <c:v>0.18612809608923001</c:v>
                </c:pt>
                <c:pt idx="385">
                  <c:v>0.19320930568671968</c:v>
                </c:pt>
                <c:pt idx="386">
                  <c:v>0.17058243030319289</c:v>
                </c:pt>
                <c:pt idx="387">
                  <c:v>0.17058243030319289</c:v>
                </c:pt>
                <c:pt idx="388">
                  <c:v>0.17058243030319289</c:v>
                </c:pt>
                <c:pt idx="389">
                  <c:v>0.13974490026750913</c:v>
                </c:pt>
                <c:pt idx="390">
                  <c:v>0.13965607085848147</c:v>
                </c:pt>
                <c:pt idx="391">
                  <c:v>0.14365352519498445</c:v>
                </c:pt>
                <c:pt idx="392">
                  <c:v>0.13628044044451812</c:v>
                </c:pt>
                <c:pt idx="393">
                  <c:v>0.13451793855398678</c:v>
                </c:pt>
                <c:pt idx="394">
                  <c:v>0.13451793855398678</c:v>
                </c:pt>
                <c:pt idx="395">
                  <c:v>0.13451793855398678</c:v>
                </c:pt>
                <c:pt idx="396">
                  <c:v>0.17068804587449576</c:v>
                </c:pt>
                <c:pt idx="397">
                  <c:v>0.16842012609207074</c:v>
                </c:pt>
                <c:pt idx="398">
                  <c:v>0.19330246030915774</c:v>
                </c:pt>
                <c:pt idx="399">
                  <c:v>0.16327518089922918</c:v>
                </c:pt>
                <c:pt idx="400">
                  <c:v>0.14842353578692638</c:v>
                </c:pt>
                <c:pt idx="401">
                  <c:v>0.14842353578692638</c:v>
                </c:pt>
                <c:pt idx="402">
                  <c:v>0.14842353578692638</c:v>
                </c:pt>
                <c:pt idx="403">
                  <c:v>0.15754705878467548</c:v>
                </c:pt>
                <c:pt idx="404">
                  <c:v>0.14647960518982445</c:v>
                </c:pt>
                <c:pt idx="405">
                  <c:v>0.16744815853610162</c:v>
                </c:pt>
                <c:pt idx="406">
                  <c:v>0.16279567816910528</c:v>
                </c:pt>
                <c:pt idx="407">
                  <c:v>0.151857818442449</c:v>
                </c:pt>
                <c:pt idx="408">
                  <c:v>0.151857818442449</c:v>
                </c:pt>
                <c:pt idx="409">
                  <c:v>0.151857818442449</c:v>
                </c:pt>
                <c:pt idx="410">
                  <c:v>0.12968402496558326</c:v>
                </c:pt>
                <c:pt idx="411">
                  <c:v>0.13988319422572629</c:v>
                </c:pt>
                <c:pt idx="412">
                  <c:v>0.13463457484129648</c:v>
                </c:pt>
                <c:pt idx="413">
                  <c:v>0.13504928063732308</c:v>
                </c:pt>
                <c:pt idx="414">
                  <c:v>0.12497970976021094</c:v>
                </c:pt>
                <c:pt idx="415">
                  <c:v>0.12497970976021094</c:v>
                </c:pt>
                <c:pt idx="416">
                  <c:v>0.12497970976021094</c:v>
                </c:pt>
                <c:pt idx="417">
                  <c:v>0.11319948086061686</c:v>
                </c:pt>
                <c:pt idx="418">
                  <c:v>0.11077604301855473</c:v>
                </c:pt>
                <c:pt idx="419">
                  <c:v>0.10493128461669102</c:v>
                </c:pt>
                <c:pt idx="420">
                  <c:v>9.1440393179777854E-2</c:v>
                </c:pt>
                <c:pt idx="421">
                  <c:v>0.11519525081093135</c:v>
                </c:pt>
                <c:pt idx="422">
                  <c:v>0.11519525081093135</c:v>
                </c:pt>
                <c:pt idx="423">
                  <c:v>0.11519525081093135</c:v>
                </c:pt>
                <c:pt idx="424">
                  <c:v>0.11892759846033414</c:v>
                </c:pt>
                <c:pt idx="425">
                  <c:v>0.12285434594170226</c:v>
                </c:pt>
                <c:pt idx="426">
                  <c:v>0.12372263479124655</c:v>
                </c:pt>
                <c:pt idx="427">
                  <c:v>0.12325608964200739</c:v>
                </c:pt>
                <c:pt idx="428" formatCode="0.0%">
                  <c:v>0.11116482913797497</c:v>
                </c:pt>
                <c:pt idx="429" formatCode="0.0%">
                  <c:v>0.11116482913797497</c:v>
                </c:pt>
                <c:pt idx="430" formatCode="0.0%">
                  <c:v>0.11116482913797497</c:v>
                </c:pt>
                <c:pt idx="431" formatCode="0.0%">
                  <c:v>9.1297837215861932E-2</c:v>
                </c:pt>
                <c:pt idx="432" formatCode="0.0%">
                  <c:v>7.5551983577408499E-2</c:v>
                </c:pt>
                <c:pt idx="433" formatCode="0.0%">
                  <c:v>8.6450966046573541E-2</c:v>
                </c:pt>
                <c:pt idx="434" formatCode="0.0%">
                  <c:v>9.7220354647544124E-2</c:v>
                </c:pt>
                <c:pt idx="435" formatCode="0.0%">
                  <c:v>9.9721547004588726E-2</c:v>
                </c:pt>
                <c:pt idx="436" formatCode="0.0%">
                  <c:v>9.9721547004588726E-2</c:v>
                </c:pt>
                <c:pt idx="437" formatCode="0.0%">
                  <c:v>9.9721547004588726E-2</c:v>
                </c:pt>
                <c:pt idx="438" formatCode="0.0%">
                  <c:v>9.3358408615110022E-2</c:v>
                </c:pt>
                <c:pt idx="439" formatCode="0.0%">
                  <c:v>9.8036804143876E-2</c:v>
                </c:pt>
                <c:pt idx="440" formatCode="0.0%">
                  <c:v>0.12451316461097207</c:v>
                </c:pt>
                <c:pt idx="441" formatCode="0.0%">
                  <c:v>0.13209450522676078</c:v>
                </c:pt>
                <c:pt idx="442" formatCode="0.0%">
                  <c:v>0.14896783996598414</c:v>
                </c:pt>
                <c:pt idx="443" formatCode="0.0%">
                  <c:v>0.14896783996598414</c:v>
                </c:pt>
                <c:pt idx="444" formatCode="0.0%">
                  <c:v>0.14896783996598414</c:v>
                </c:pt>
                <c:pt idx="445" formatCode="0.0%">
                  <c:v>0.15128759910162159</c:v>
                </c:pt>
                <c:pt idx="446" formatCode="0.0%">
                  <c:v>0.16362508976115847</c:v>
                </c:pt>
                <c:pt idx="447" formatCode="0.0%">
                  <c:v>0.15552536915775478</c:v>
                </c:pt>
                <c:pt idx="448" formatCode="0.0%">
                  <c:v>0.14970653494733382</c:v>
                </c:pt>
                <c:pt idx="449" formatCode="0.0%">
                  <c:v>0.14290276657038589</c:v>
                </c:pt>
                <c:pt idx="450" formatCode="0.0%">
                  <c:v>0.14290276657038589</c:v>
                </c:pt>
                <c:pt idx="451" formatCode="0.0%">
                  <c:v>0.14290276657038589</c:v>
                </c:pt>
                <c:pt idx="452" formatCode="0.0%">
                  <c:v>0.14948621995359915</c:v>
                </c:pt>
                <c:pt idx="453" formatCode="0.0%">
                  <c:v>0.16083878547628189</c:v>
                </c:pt>
                <c:pt idx="454" formatCode="0.0%">
                  <c:v>0.15910220777719331</c:v>
                </c:pt>
                <c:pt idx="455" formatCode="0.0%">
                  <c:v>0.14570203295098394</c:v>
                </c:pt>
                <c:pt idx="456" formatCode="0.0%">
                  <c:v>0.15546057222365747</c:v>
                </c:pt>
                <c:pt idx="457" formatCode="0.0%">
                  <c:v>0.15546057222365747</c:v>
                </c:pt>
                <c:pt idx="458" formatCode="0.0%">
                  <c:v>0.15546057222365747</c:v>
                </c:pt>
                <c:pt idx="459" formatCode="0.0%">
                  <c:v>0.17732333409608486</c:v>
                </c:pt>
                <c:pt idx="460" formatCode="0.0%">
                  <c:v>0.18047250482377536</c:v>
                </c:pt>
                <c:pt idx="461" formatCode="0.0%">
                  <c:v>0.15709347573115751</c:v>
                </c:pt>
                <c:pt idx="462" formatCode="0.0%">
                  <c:v>0.15520138448726811</c:v>
                </c:pt>
                <c:pt idx="463" formatCode="0.0%">
                  <c:v>0.16538758713685311</c:v>
                </c:pt>
                <c:pt idx="464" formatCode="0.0%">
                  <c:v>0.16538758713685311</c:v>
                </c:pt>
                <c:pt idx="465" formatCode="0.0%">
                  <c:v>0.16538758713685311</c:v>
                </c:pt>
                <c:pt idx="466" formatCode="0.0%">
                  <c:v>0.14137354176931055</c:v>
                </c:pt>
                <c:pt idx="467" formatCode="0.0%">
                  <c:v>0.13561949997815034</c:v>
                </c:pt>
                <c:pt idx="468" formatCode="0.0%">
                  <c:v>0.13516591692463295</c:v>
                </c:pt>
                <c:pt idx="469" formatCode="0.0%">
                  <c:v>0.13516591692463295</c:v>
                </c:pt>
                <c:pt idx="470" formatCode="0.0%">
                  <c:v>0.13516591692463295</c:v>
                </c:pt>
                <c:pt idx="471" formatCode="0.0%">
                  <c:v>0.13516591692463295</c:v>
                </c:pt>
                <c:pt idx="472" formatCode="0.0%">
                  <c:v>0.13516591692463295</c:v>
                </c:pt>
                <c:pt idx="473" formatCode="0.0%">
                  <c:v>0.13516591692463295</c:v>
                </c:pt>
                <c:pt idx="474" formatCode="0.0%">
                  <c:v>0.12622382714829114</c:v>
                </c:pt>
                <c:pt idx="475" formatCode="0.0%">
                  <c:v>0.13521775627784535</c:v>
                </c:pt>
                <c:pt idx="476" formatCode="0.0%">
                  <c:v>0.13796517879039413</c:v>
                </c:pt>
                <c:pt idx="477" formatCode="0.0%">
                  <c:v>0.11253854039424936</c:v>
                </c:pt>
                <c:pt idx="478" formatCode="0.0%">
                  <c:v>0.11253854039424936</c:v>
                </c:pt>
                <c:pt idx="479" formatCode="0.0%">
                  <c:v>0.11253854039424936</c:v>
                </c:pt>
                <c:pt idx="480" formatCode="0.0%">
                  <c:v>9.4563644230862137E-2</c:v>
                </c:pt>
                <c:pt idx="481" formatCode="0.0%">
                  <c:v>9.9462354753362806E-2</c:v>
                </c:pt>
                <c:pt idx="482" formatCode="0.0%">
                  <c:v>0.1074065618119657</c:v>
                </c:pt>
                <c:pt idx="483" formatCode="0.0%">
                  <c:v>0.11699662544411722</c:v>
                </c:pt>
                <c:pt idx="484" formatCode="0.0%">
                  <c:v>0.12243964014567553</c:v>
                </c:pt>
                <c:pt idx="485" formatCode="0.0%">
                  <c:v>0.1065901078007974</c:v>
                </c:pt>
                <c:pt idx="486" formatCode="0.0%">
                  <c:v>0.1065901078007974</c:v>
                </c:pt>
                <c:pt idx="487" formatCode="0.0%">
                  <c:v>0.10589029007693868</c:v>
                </c:pt>
                <c:pt idx="488" formatCode="0.0%">
                  <c:v>0.10114709761407553</c:v>
                </c:pt>
                <c:pt idx="489" formatCode="0.0%">
                  <c:v>9.5717045008238563E-2</c:v>
                </c:pt>
                <c:pt idx="490" formatCode="0.0%">
                  <c:v>9.4978350026888869E-2</c:v>
                </c:pt>
                <c:pt idx="491" formatCode="0.0%">
                  <c:v>7.2700882358434457E-2</c:v>
                </c:pt>
                <c:pt idx="492" formatCode="0.0%">
                  <c:v>7.2700882358434457E-2</c:v>
                </c:pt>
                <c:pt idx="493" formatCode="0.0%">
                  <c:v>7.2700882358434457E-2</c:v>
                </c:pt>
                <c:pt idx="494" formatCode="0.0%">
                  <c:v>5.2159996903905749E-2</c:v>
                </c:pt>
                <c:pt idx="495" formatCode="0.0%">
                  <c:v>4.8984906499608911E-2</c:v>
                </c:pt>
                <c:pt idx="496" formatCode="0.0%">
                  <c:v>5.4155766854220105E-2</c:v>
                </c:pt>
                <c:pt idx="497" formatCode="0.0%">
                  <c:v>4.9917992283250501E-2</c:v>
                </c:pt>
                <c:pt idx="498" formatCode="0.0%">
                  <c:v>4.9917992283250501E-2</c:v>
                </c:pt>
                <c:pt idx="499" formatCode="0.0%">
                  <c:v>4.9917992283250501E-2</c:v>
                </c:pt>
                <c:pt idx="500" formatCode="0.0%">
                  <c:v>4.9917992283250501E-2</c:v>
                </c:pt>
                <c:pt idx="501" formatCode="0.0%">
                  <c:v>7.0018256779983121E-2</c:v>
                </c:pt>
                <c:pt idx="502" formatCode="0.0%">
                  <c:v>6.8903733260097938E-2</c:v>
                </c:pt>
                <c:pt idx="503" formatCode="0.0%">
                  <c:v>6.9512834373253007E-2</c:v>
                </c:pt>
                <c:pt idx="504" formatCode="0.0%">
                  <c:v>4.6872500261984695E-2</c:v>
                </c:pt>
                <c:pt idx="505" formatCode="0.0%">
                  <c:v>5.7719643377937474E-2</c:v>
                </c:pt>
                <c:pt idx="506" formatCode="0.0%">
                  <c:v>5.7719643377937474E-2</c:v>
                </c:pt>
                <c:pt idx="507" formatCode="0.0%">
                  <c:v>5.7719643377937474E-2</c:v>
                </c:pt>
                <c:pt idx="508" formatCode="0.0%">
                  <c:v>5.6242253415237968E-2</c:v>
                </c:pt>
                <c:pt idx="509" formatCode="0.0%">
                  <c:v>3.7684175815301868E-2</c:v>
                </c:pt>
                <c:pt idx="510" formatCode="0.0%">
                  <c:v>5.2561740604210885E-2</c:v>
                </c:pt>
                <c:pt idx="511" formatCode="0.0%">
                  <c:v>5.2561740604210885E-2</c:v>
                </c:pt>
                <c:pt idx="512" formatCode="0.0%">
                  <c:v>5.2561740604210885E-2</c:v>
                </c:pt>
                <c:pt idx="513" formatCode="0.0%">
                  <c:v>5.2561740604210885E-2</c:v>
                </c:pt>
                <c:pt idx="514" formatCode="0.0%">
                  <c:v>5.2561740604210885E-2</c:v>
                </c:pt>
                <c:pt idx="515" formatCode="0.0%">
                  <c:v>0.10027880876453125</c:v>
                </c:pt>
                <c:pt idx="516" formatCode="0.0%">
                  <c:v>9.3164013297981685E-2</c:v>
                </c:pt>
                <c:pt idx="517" formatCode="0.0%">
                  <c:v>9.1621826401184728E-2</c:v>
                </c:pt>
                <c:pt idx="518" formatCode="0.0%">
                  <c:v>8.5362362203294573E-2</c:v>
                </c:pt>
                <c:pt idx="519" formatCode="0.0%">
                  <c:v>9.3099216363884241E-2</c:v>
                </c:pt>
                <c:pt idx="520" formatCode="0.0%">
                  <c:v>9.3099216363884241E-2</c:v>
                </c:pt>
                <c:pt idx="521" formatCode="0.0%">
                  <c:v>9.3099216363884241E-2</c:v>
                </c:pt>
                <c:pt idx="522" formatCode="0.0%">
                  <c:v>9.3099216363884241E-2</c:v>
                </c:pt>
                <c:pt idx="523" formatCode="0.0%">
                  <c:v>9.532825888881831E-2</c:v>
                </c:pt>
                <c:pt idx="524" formatCode="0.0%">
                  <c:v>9.1971735263114168E-2</c:v>
                </c:pt>
                <c:pt idx="525" formatCode="0.0%">
                  <c:v>9.0636901264330869E-2</c:v>
                </c:pt>
                <c:pt idx="526" formatCode="0.0%">
                  <c:v>5.8976718346902143E-2</c:v>
                </c:pt>
                <c:pt idx="527" formatCode="0.0%">
                  <c:v>5.8976718346902143E-2</c:v>
                </c:pt>
                <c:pt idx="528" formatCode="0.0%">
                  <c:v>5.8976718346902143E-2</c:v>
                </c:pt>
                <c:pt idx="529" formatCode="0.0%">
                  <c:v>3.1981973377354367E-2</c:v>
                </c:pt>
                <c:pt idx="530" formatCode="0.0%">
                  <c:v>1.9126102730202491E-2</c:v>
                </c:pt>
                <c:pt idx="531" formatCode="0.0%">
                  <c:v>2.6474166256535342E-2</c:v>
                </c:pt>
                <c:pt idx="532" formatCode="0.0%">
                  <c:v>3.0303402298198991E-3</c:v>
                </c:pt>
                <c:pt idx="533" formatCode="0.0%">
                  <c:v>8.9201431558947773E-4</c:v>
                </c:pt>
                <c:pt idx="534" formatCode="0.0%">
                  <c:v>8.9201431558947773E-4</c:v>
                </c:pt>
                <c:pt idx="535" formatCode="0.0%">
                  <c:v>8.9201431558947773E-4</c:v>
                </c:pt>
                <c:pt idx="536" formatCode="0.0%">
                  <c:v>4.9742708269218385E-3</c:v>
                </c:pt>
                <c:pt idx="537" formatCode="0.0%">
                  <c:v>1.7856065665516497E-2</c:v>
                </c:pt>
                <c:pt idx="538" formatCode="0.0%">
                  <c:v>1.5639980721467595E-2</c:v>
                </c:pt>
                <c:pt idx="539" formatCode="0.0%">
                  <c:v>2.49578990363446E-2</c:v>
                </c:pt>
                <c:pt idx="540" formatCode="0.0%">
                  <c:v>4.361965082786895E-2</c:v>
                </c:pt>
                <c:pt idx="541" formatCode="0.0%">
                  <c:v>4.361965082786895E-2</c:v>
                </c:pt>
                <c:pt idx="542" formatCode="0.0%">
                  <c:v>4.361965082786895E-2</c:v>
                </c:pt>
                <c:pt idx="543" formatCode="0.0%">
                  <c:v>4.831100845235653E-2</c:v>
                </c:pt>
                <c:pt idx="544" formatCode="0.0%">
                  <c:v>4.4513859354019726E-2</c:v>
                </c:pt>
                <c:pt idx="545" formatCode="0.0%">
                  <c:v>3.8371031443439139E-2</c:v>
                </c:pt>
                <c:pt idx="546" formatCode="0.0%">
                  <c:v>2.9403026505327716E-2</c:v>
                </c:pt>
                <c:pt idx="547" formatCode="0.0%">
                  <c:v>2.9584459726734735E-2</c:v>
                </c:pt>
                <c:pt idx="548" formatCode="0.0%">
                  <c:v>2.9584459726734735E-2</c:v>
                </c:pt>
                <c:pt idx="549" formatCode="0.0%">
                  <c:v>2.9584459726734735E-2</c:v>
                </c:pt>
                <c:pt idx="550" formatCode="0.0%">
                  <c:v>3.6103111661014251E-2</c:v>
                </c:pt>
                <c:pt idx="551" formatCode="0.0%">
                  <c:v>4.1338768949722604E-2</c:v>
                </c:pt>
                <c:pt idx="552" formatCode="0.0%">
                  <c:v>7.1132775785032007E-2</c:v>
                </c:pt>
                <c:pt idx="553" formatCode="0.0%">
                  <c:v>7.9906394435687964E-2</c:v>
                </c:pt>
                <c:pt idx="554" formatCode="0.0%">
                  <c:v>8.4986538179595505E-2</c:v>
                </c:pt>
                <c:pt idx="555" formatCode="0.0%">
                  <c:v>8.4986538179595505E-2</c:v>
                </c:pt>
                <c:pt idx="556" formatCode="0.0%">
                  <c:v>8.4986538179595505E-2</c:v>
                </c:pt>
                <c:pt idx="557" formatCode="0.0%">
                  <c:v>8.8887361469520976E-2</c:v>
                </c:pt>
                <c:pt idx="558" formatCode="0.0%">
                  <c:v>8.7124864093825777E-2</c:v>
                </c:pt>
                <c:pt idx="559" formatCode="0.0%">
                  <c:v>7.0731032084726586E-2</c:v>
                </c:pt>
                <c:pt idx="560" formatCode="0.0%">
                  <c:v>6.7866968770031233E-2</c:v>
                </c:pt>
                <c:pt idx="561" formatCode="0.0%">
                  <c:v>9.0390671108826551E-2</c:v>
                </c:pt>
                <c:pt idx="562" formatCode="0.0%">
                  <c:v>9.0390671108826551E-2</c:v>
                </c:pt>
                <c:pt idx="563" formatCode="0.0%">
                  <c:v>9.0390671108826551E-2</c:v>
                </c:pt>
                <c:pt idx="564" formatCode="0.0%">
                  <c:v>8.5103174466905351E-2</c:v>
                </c:pt>
                <c:pt idx="565" formatCode="0.0%">
                  <c:v>8.5038373017971625E-2</c:v>
                </c:pt>
                <c:pt idx="566" formatCode="0.0%">
                  <c:v>0.10342797949222188</c:v>
                </c:pt>
                <c:pt idx="567" formatCode="0.0%">
                  <c:v>0.11178688783201479</c:v>
                </c:pt>
                <c:pt idx="568" formatCode="0.0%">
                  <c:v>0.11927750732226357</c:v>
                </c:pt>
                <c:pt idx="569" formatCode="0.0%">
                  <c:v>0.11927750732226357</c:v>
                </c:pt>
                <c:pt idx="570" formatCode="0.0%">
                  <c:v>0.11927750732226357</c:v>
                </c:pt>
                <c:pt idx="571" formatCode="0.0%">
                  <c:v>0.11095747623996161</c:v>
                </c:pt>
                <c:pt idx="572" formatCode="0.0%">
                  <c:v>0.11214975427482883</c:v>
                </c:pt>
                <c:pt idx="573" formatCode="0.0%">
                  <c:v>0.12113072582349843</c:v>
                </c:pt>
                <c:pt idx="574" formatCode="0.0%">
                  <c:v>0.12859542563714085</c:v>
                </c:pt>
                <c:pt idx="575" formatCode="0.0%">
                  <c:v>0.14948621995359915</c:v>
                </c:pt>
                <c:pt idx="576" formatCode="0.0%">
                  <c:v>0.14948621995359915</c:v>
                </c:pt>
                <c:pt idx="577" formatCode="0.0%">
                  <c:v>0.15005643929442655</c:v>
                </c:pt>
                <c:pt idx="578" formatCode="0.0%">
                  <c:v>0.14684247163263861</c:v>
                </c:pt>
                <c:pt idx="579" formatCode="0.0%">
                  <c:v>0.14360258429424447</c:v>
                </c:pt>
                <c:pt idx="580" formatCode="0.0%">
                  <c:v>0.14635001132162984</c:v>
                </c:pt>
                <c:pt idx="581" formatCode="0.0%">
                  <c:v>0.15250579681309545</c:v>
                </c:pt>
                <c:pt idx="582" formatCode="0.0%">
                  <c:v>0.1558364007621931</c:v>
                </c:pt>
                <c:pt idx="583" formatCode="0.0%">
                  <c:v>0.1558364007621931</c:v>
                </c:pt>
                <c:pt idx="584" formatCode="0.0%">
                  <c:v>0.1558364007621931</c:v>
                </c:pt>
                <c:pt idx="585" formatCode="0.0%">
                  <c:v>0.15726195137167978</c:v>
                </c:pt>
                <c:pt idx="586" formatCode="0.0%">
                  <c:v>0.14059596953046977</c:v>
                </c:pt>
                <c:pt idx="587" formatCode="0.0%">
                  <c:v>0.14618153568110756</c:v>
                </c:pt>
                <c:pt idx="588" formatCode="0.0%">
                  <c:v>0.1550069891701395</c:v>
                </c:pt>
                <c:pt idx="589" formatCode="0.0%">
                  <c:v>0.16149972594264966</c:v>
                </c:pt>
                <c:pt idx="590" formatCode="0.0%">
                  <c:v>0.16149972594264966</c:v>
                </c:pt>
                <c:pt idx="591" formatCode="0.0%">
                  <c:v>0.16149972594264966</c:v>
                </c:pt>
                <c:pt idx="592" formatCode="0.0%">
                  <c:v>0.17812682601153185</c:v>
                </c:pt>
                <c:pt idx="593" formatCode="0.0%">
                  <c:v>0.17773803989211159</c:v>
                </c:pt>
                <c:pt idx="594" formatCode="0.0%">
                  <c:v>0.17686975104256716</c:v>
                </c:pt>
                <c:pt idx="595" formatCode="0.0%">
                  <c:v>0.17662352088706285</c:v>
                </c:pt>
                <c:pt idx="596" formatCode="0.0%">
                  <c:v>0.17641616798904963</c:v>
                </c:pt>
                <c:pt idx="597" formatCode="0.0%">
                  <c:v>0.17641616798904963</c:v>
                </c:pt>
                <c:pt idx="598" formatCode="0.0%">
                  <c:v>0.17641616798904963</c:v>
                </c:pt>
                <c:pt idx="599" formatCode="0.0%">
                  <c:v>0.16756479482341122</c:v>
                </c:pt>
                <c:pt idx="600" formatCode="0.0%">
                  <c:v>0.15603079156448474</c:v>
                </c:pt>
                <c:pt idx="601" formatCode="0.0%">
                  <c:v>0.15564200544506449</c:v>
                </c:pt>
                <c:pt idx="602" formatCode="0.0%">
                  <c:v>0.16131828820640592</c:v>
                </c:pt>
                <c:pt idx="603" formatCode="0.0%">
                  <c:v>0.14978428946231603</c:v>
                </c:pt>
                <c:pt idx="604" formatCode="0.0%">
                  <c:v>0.14978428946231603</c:v>
                </c:pt>
                <c:pt idx="605" formatCode="0.0%">
                  <c:v>0.14978428946231603</c:v>
                </c:pt>
                <c:pt idx="606" formatCode="0.0%">
                  <c:v>0.12313945335469768</c:v>
                </c:pt>
                <c:pt idx="607" formatCode="0.0%">
                  <c:v>0.11763164623387851</c:v>
                </c:pt>
                <c:pt idx="608" formatCode="0.0%">
                  <c:v>0.10468505446118655</c:v>
                </c:pt>
                <c:pt idx="609" formatCode="0.0%">
                  <c:v>0.10022696941131898</c:v>
                </c:pt>
                <c:pt idx="610" formatCode="0.0%">
                  <c:v>0.11283660990296611</c:v>
                </c:pt>
                <c:pt idx="611" formatCode="0.0%">
                  <c:v>0.11283660990296611</c:v>
                </c:pt>
                <c:pt idx="612" formatCode="0.0%">
                  <c:v>0.11283660990296611</c:v>
                </c:pt>
                <c:pt idx="613" formatCode="0.0%">
                  <c:v>0.10563110234054961</c:v>
                </c:pt>
                <c:pt idx="614" formatCode="0.0%">
                  <c:v>0.10888394725982863</c:v>
                </c:pt>
                <c:pt idx="615" formatCode="0.0%">
                  <c:v>0.10074534939893383</c:v>
                </c:pt>
                <c:pt idx="616" formatCode="0.0%">
                  <c:v>0.11468982840420111</c:v>
                </c:pt>
                <c:pt idx="617" formatCode="0.0%">
                  <c:v>0.12531665652641905</c:v>
                </c:pt>
                <c:pt idx="618" formatCode="0.0%">
                  <c:v>0.12531665652641905</c:v>
                </c:pt>
                <c:pt idx="619" formatCode="0.0%">
                  <c:v>0.12531665652641905</c:v>
                </c:pt>
                <c:pt idx="620" formatCode="0.0%">
                  <c:v>0.12544625490945038</c:v>
                </c:pt>
                <c:pt idx="621" formatCode="0.0%">
                  <c:v>0.11459911179349745</c:v>
                </c:pt>
                <c:pt idx="622" formatCode="0.0%">
                  <c:v>9.9954819579208168E-2</c:v>
                </c:pt>
                <c:pt idx="623" formatCode="0.0%">
                  <c:v>8.5466040909719682E-2</c:v>
                </c:pt>
                <c:pt idx="624" formatCode="0.0%">
                  <c:v>6.4627081431637243E-2</c:v>
                </c:pt>
                <c:pt idx="625" formatCode="0.0%">
                  <c:v>6.4627081431637243E-2</c:v>
                </c:pt>
                <c:pt idx="626" formatCode="0.0%">
                  <c:v>6.4627081431637243E-2</c:v>
                </c:pt>
                <c:pt idx="627" formatCode="0.0%">
                  <c:v>6.8514947140677407E-2</c:v>
                </c:pt>
                <c:pt idx="628" formatCode="0.0%">
                  <c:v>6.1166883614344837E-2</c:v>
                </c:pt>
                <c:pt idx="629" formatCode="0.0%">
                  <c:v>7.0342245965306208E-2</c:v>
                </c:pt>
                <c:pt idx="630" formatCode="0.0%">
                  <c:v>5.2185916580511818E-2</c:v>
                </c:pt>
                <c:pt idx="631" formatCode="0.0%">
                  <c:v>5.1434259503440959E-2</c:v>
                </c:pt>
                <c:pt idx="632" formatCode="0.0%">
                  <c:v>5.1434259503440959E-2</c:v>
                </c:pt>
                <c:pt idx="633" formatCode="0.0%">
                  <c:v>5.1434259503440959E-2</c:v>
                </c:pt>
                <c:pt idx="634" formatCode="0.0%">
                  <c:v>5.40391305669101E-2</c:v>
                </c:pt>
                <c:pt idx="635" formatCode="0.0%">
                  <c:v>5.0630767587993973E-2</c:v>
                </c:pt>
                <c:pt idx="636" formatCode="0.0%">
                  <c:v>4.5135918048059692E-2</c:v>
                </c:pt>
                <c:pt idx="637" formatCode="0.0%">
                  <c:v>2.3882257288787088E-2</c:v>
                </c:pt>
                <c:pt idx="638" formatCode="0.0%">
                  <c:v>1.7739429378206779E-2</c:v>
                </c:pt>
                <c:pt idx="639" formatCode="0.0%">
                  <c:v>1.7739429378206779E-2</c:v>
                </c:pt>
                <c:pt idx="640" formatCode="0.0%">
                  <c:v>1.7739429378206779E-2</c:v>
                </c:pt>
                <c:pt idx="641" formatCode="0.0%">
                  <c:v>2.9169753930708139E-2</c:v>
                </c:pt>
                <c:pt idx="642" formatCode="0.0%">
                  <c:v>5.2471023993507518E-2</c:v>
                </c:pt>
                <c:pt idx="643" formatCode="0.0%">
                  <c:v>5.485558006324226E-2</c:v>
                </c:pt>
                <c:pt idx="644" formatCode="0.0%">
                  <c:v>6.3758792582092813E-2</c:v>
                </c:pt>
                <c:pt idx="645" formatCode="0.0%">
                  <c:v>4.5239596754484523E-2</c:v>
                </c:pt>
                <c:pt idx="646" formatCode="0.0%">
                  <c:v>4.5239596754484523E-2</c:v>
                </c:pt>
                <c:pt idx="647" formatCode="0.0%">
                  <c:v>4.5239596754484523E-2</c:v>
                </c:pt>
                <c:pt idx="648" formatCode="0.0%">
                  <c:v>3.6440058427222227E-2</c:v>
                </c:pt>
                <c:pt idx="649" formatCode="0.0%">
                  <c:v>1.8555878874538509E-2</c:v>
                </c:pt>
                <c:pt idx="650" formatCode="0.0%">
                  <c:v>2.0499813986476881E-2</c:v>
                </c:pt>
                <c:pt idx="651" formatCode="0.0%">
                  <c:v>3.2247310321118052E-3</c:v>
                </c:pt>
                <c:pt idx="652" formatCode="0.0%">
                  <c:v>1.8529963712768733E-2</c:v>
                </c:pt>
                <c:pt idx="653" formatCode="0.0%">
                  <c:v>1.8529963712768733E-2</c:v>
                </c:pt>
                <c:pt idx="654" formatCode="0.0%">
                  <c:v>1.8529963712768733E-2</c:v>
                </c:pt>
                <c:pt idx="655" formatCode="0.0%">
                  <c:v>2.3558268103464002E-2</c:v>
                </c:pt>
                <c:pt idx="656" formatCode="0.0%">
                  <c:v>3.5105228943275224E-2</c:v>
                </c:pt>
                <c:pt idx="657" formatCode="0.0%">
                  <c:v>3.0711940827504662E-2</c:v>
                </c:pt>
                <c:pt idx="658" formatCode="0.0%">
                  <c:v>2.561883498787566E-2</c:v>
                </c:pt>
                <c:pt idx="659" formatCode="0.0%">
                  <c:v>1.230937677236966E-2</c:v>
                </c:pt>
                <c:pt idx="660" formatCode="0.0%">
                  <c:v>1.230937677236966E-2</c:v>
                </c:pt>
                <c:pt idx="661" formatCode="0.0%">
                  <c:v>1.230937677236966E-2</c:v>
                </c:pt>
                <c:pt idx="662" formatCode="0.0%">
                  <c:v>2.491902177885379E-2</c:v>
                </c:pt>
                <c:pt idx="663" formatCode="0.0%">
                  <c:v>3.2979860609929829E-2</c:v>
                </c:pt>
                <c:pt idx="664" formatCode="0.0%">
                  <c:v>2.9688133918323274E-2</c:v>
                </c:pt>
                <c:pt idx="665" formatCode="0.0%">
                  <c:v>3.2889143999226322E-2</c:v>
                </c:pt>
                <c:pt idx="666" formatCode="0.0%">
                  <c:v>3.1787582575062603E-2</c:v>
                </c:pt>
                <c:pt idx="667" formatCode="0.0%">
                  <c:v>3.1787582575062603E-2</c:v>
                </c:pt>
                <c:pt idx="668" formatCode="0.0%">
                  <c:v>3.1787582575062603E-2</c:v>
                </c:pt>
                <c:pt idx="669" formatCode="0.0%">
                  <c:v>4.6444832370236923E-2</c:v>
                </c:pt>
                <c:pt idx="670" formatCode="0.0%">
                  <c:v>4.4708254671148209E-2</c:v>
                </c:pt>
                <c:pt idx="671" formatCode="0.0%">
                  <c:v>4.3541896312887046E-2</c:v>
                </c:pt>
                <c:pt idx="672" formatCode="0.0%">
                  <c:v>2.5787310628398074E-2</c:v>
                </c:pt>
                <c:pt idx="673" formatCode="0.0%">
                  <c:v>2.4102567767685344E-2</c:v>
                </c:pt>
                <c:pt idx="674" formatCode="0.0%">
                  <c:v>2.4102567767685344E-2</c:v>
                </c:pt>
                <c:pt idx="675" formatCode="0.0%">
                  <c:v>2.4102567767685344E-2</c:v>
                </c:pt>
                <c:pt idx="676" formatCode="0.0%">
                  <c:v>2.7173983980393928E-2</c:v>
                </c:pt>
                <c:pt idx="677" formatCode="0.0%">
                  <c:v>3.7515704689616174E-2</c:v>
                </c:pt>
                <c:pt idx="678" formatCode="0.0%">
                  <c:v>3.3679678333788557E-2</c:v>
                </c:pt>
                <c:pt idx="679" formatCode="0.0%">
                  <c:v>5.7460451126711547E-2</c:v>
                </c:pt>
                <c:pt idx="680" formatCode="0.0%">
                  <c:v>8.5621554454520202E-2</c:v>
                </c:pt>
                <c:pt idx="681" formatCode="0.0%">
                  <c:v>8.5621554454520202E-2</c:v>
                </c:pt>
                <c:pt idx="682" formatCode="0.0%">
                  <c:v>8.5621554454520202E-2</c:v>
                </c:pt>
                <c:pt idx="683" formatCode="0.0%">
                  <c:v>8.0826522638444656E-2</c:v>
                </c:pt>
                <c:pt idx="684" formatCode="0.0%">
                  <c:v>9.0274034821516691E-2</c:v>
                </c:pt>
                <c:pt idx="685" formatCode="0.0%">
                  <c:v>7.7806945778948769E-2</c:v>
                </c:pt>
                <c:pt idx="686" formatCode="0.0%">
                  <c:v>7.2273218981523113E-2</c:v>
                </c:pt>
                <c:pt idx="687" formatCode="0.0%">
                  <c:v>7.522799439208526E-2</c:v>
                </c:pt>
                <c:pt idx="688" formatCode="0.0%">
                  <c:v>7.522799439208526E-2</c:v>
                </c:pt>
                <c:pt idx="689" formatCode="0.0%">
                  <c:v>7.522799439208526E-2</c:v>
                </c:pt>
                <c:pt idx="690" formatCode="0.0%">
                  <c:v>7.7664389815032708E-2</c:v>
                </c:pt>
                <c:pt idx="691" formatCode="0.0%">
                  <c:v>8.2031758254196771E-2</c:v>
                </c:pt>
                <c:pt idx="692" formatCode="0.0%">
                  <c:v>8.877072518221113E-2</c:v>
                </c:pt>
                <c:pt idx="693" formatCode="0.0%">
                  <c:v>9.149223253299027E-2</c:v>
                </c:pt>
                <c:pt idx="694" formatCode="0.0%">
                  <c:v>9.0157398534206831E-2</c:v>
                </c:pt>
                <c:pt idx="695" formatCode="0.0%">
                  <c:v>9.0157398534206831E-2</c:v>
                </c:pt>
                <c:pt idx="696" formatCode="0.0%">
                  <c:v>9.0157398534206831E-2</c:v>
                </c:pt>
                <c:pt idx="697" formatCode="0.0%">
                  <c:v>8.5167971401002796E-2</c:v>
                </c:pt>
                <c:pt idx="698" formatCode="0.0%">
                  <c:v>7.831236818567873E-2</c:v>
                </c:pt>
                <c:pt idx="699" formatCode="0.0%">
                  <c:v>0.10754911326104534</c:v>
                </c:pt>
                <c:pt idx="700" formatCode="0.0%">
                  <c:v>9.6053991774446526E-2</c:v>
                </c:pt>
                <c:pt idx="701" formatCode="0.0%">
                  <c:v>9.3604638770614479E-2</c:v>
                </c:pt>
                <c:pt idx="702" formatCode="0.0%">
                  <c:v>9.3604638770614479E-2</c:v>
                </c:pt>
                <c:pt idx="703" formatCode="0.0%">
                  <c:v>9.3604638770614479E-2</c:v>
                </c:pt>
                <c:pt idx="704" formatCode="0.0%">
                  <c:v>8.7539569889852661E-2</c:v>
                </c:pt>
                <c:pt idx="705" formatCode="0.0%">
                  <c:v>7.6523951133377746E-2</c:v>
                </c:pt>
                <c:pt idx="706" formatCode="0.0%">
                  <c:v>6.4925150940353837E-2</c:v>
                </c:pt>
                <c:pt idx="707" formatCode="0.0%">
                  <c:v>6.9642428241447618E-2</c:v>
                </c:pt>
                <c:pt idx="708" formatCode="0.0%">
                  <c:v>7.6627625324966003E-2</c:v>
                </c:pt>
                <c:pt idx="709" formatCode="0.0%">
                  <c:v>7.6627625324966003E-2</c:v>
                </c:pt>
                <c:pt idx="710" formatCode="0.0%">
                  <c:v>7.6627625324966003E-2</c:v>
                </c:pt>
                <c:pt idx="711" formatCode="0.0%">
                  <c:v>7.2921197352169564E-2</c:v>
                </c:pt>
                <c:pt idx="712" formatCode="0.0%">
                  <c:v>9.5924397906251638E-2</c:v>
                </c:pt>
                <c:pt idx="713" formatCode="0.0%">
                  <c:v>9.3293607166176004E-2</c:v>
                </c:pt>
                <c:pt idx="714" formatCode="0.0%">
                  <c:v>5.8963760766017115E-2</c:v>
                </c:pt>
                <c:pt idx="715" formatCode="0.0%">
                  <c:v>4.9503286487223762E-2</c:v>
                </c:pt>
                <c:pt idx="716" formatCode="0.0%">
                  <c:v>4.9503286487223762E-2</c:v>
                </c:pt>
                <c:pt idx="717" formatCode="0.0%">
                  <c:v>4.9503286487223762E-2</c:v>
                </c:pt>
                <c:pt idx="718" formatCode="0.0%">
                  <c:v>5.1058435479741891E-2</c:v>
                </c:pt>
                <c:pt idx="719" formatCode="0.0%">
                  <c:v>3.9874341082744708E-2</c:v>
                </c:pt>
                <c:pt idx="720" formatCode="0.0%">
                  <c:v>4.6302276406320855E-2</c:v>
                </c:pt>
                <c:pt idx="721" formatCode="0.0%">
                  <c:v>3.9355961095129711E-2</c:v>
                </c:pt>
                <c:pt idx="722" formatCode="0.0%">
                  <c:v>4.0509357357669556E-2</c:v>
                </c:pt>
                <c:pt idx="723" formatCode="0.0%">
                  <c:v>4.0509357357669556E-2</c:v>
                </c:pt>
                <c:pt idx="724" formatCode="0.0%">
                  <c:v>4.0509357357669556E-2</c:v>
                </c:pt>
                <c:pt idx="725" formatCode="0.0%">
                  <c:v>4.0509357357669556E-2</c:v>
                </c:pt>
                <c:pt idx="726" formatCode="0.0%">
                  <c:v>3.8137763383656133E-2</c:v>
                </c:pt>
                <c:pt idx="727" formatCode="0.0%">
                  <c:v>3.7269470019275559E-2</c:v>
                </c:pt>
                <c:pt idx="728" formatCode="0.0%">
                  <c:v>4.0548239129997228E-2</c:v>
                </c:pt>
                <c:pt idx="729" formatCode="0.0%">
                  <c:v>3.4586844440823938E-2</c:v>
                </c:pt>
                <c:pt idx="730" formatCode="0.0%">
                  <c:v>3.4949710883637831E-2</c:v>
                </c:pt>
                <c:pt idx="731" formatCode="0.0%">
                  <c:v>3.4949710883637831E-2</c:v>
                </c:pt>
                <c:pt idx="732" formatCode="0.0%">
                  <c:v>3.5221860715748649E-2</c:v>
                </c:pt>
                <c:pt idx="733" formatCode="0.0%">
                  <c:v>4.9710639385237128E-2</c:v>
                </c:pt>
                <c:pt idx="734" formatCode="0.0%">
                  <c:v>4.9840237768268313E-2</c:v>
                </c:pt>
                <c:pt idx="735" formatCode="0.0%">
                  <c:v>4.7494558956024523E-2</c:v>
                </c:pt>
                <c:pt idx="736" formatCode="0.0%">
                  <c:v>4.636707785525445E-2</c:v>
                </c:pt>
                <c:pt idx="737" formatCode="0.0%">
                  <c:v>4.636707785525445E-2</c:v>
                </c:pt>
                <c:pt idx="738" formatCode="0.0%">
                  <c:v>4.636707785525445E-2</c:v>
                </c:pt>
                <c:pt idx="739" formatCode="0.0%">
                  <c:v>6.0570744596911086E-2</c:v>
                </c:pt>
                <c:pt idx="740" formatCode="0.0%">
                  <c:v>5.6307050349335412E-2</c:v>
                </c:pt>
                <c:pt idx="741" formatCode="0.0%">
                  <c:v>6.4886273682863024E-2</c:v>
                </c:pt>
                <c:pt idx="742" formatCode="0.0%">
                  <c:v>7.5422389709213888E-2</c:v>
                </c:pt>
                <c:pt idx="743" formatCode="0.0%">
                  <c:v>7.6264758882151965E-2</c:v>
                </c:pt>
                <c:pt idx="744" formatCode="0.0%">
                  <c:v>7.6264758882151965E-2</c:v>
                </c:pt>
                <c:pt idx="745" formatCode="0.0%">
                  <c:v>7.6264758882151965E-2</c:v>
                </c:pt>
                <c:pt idx="746" formatCode="0.0%">
                  <c:v>7.9971191369785408E-2</c:v>
                </c:pt>
                <c:pt idx="747" formatCode="0.0%">
                  <c:v>8.7565489566458862E-2</c:v>
                </c:pt>
                <c:pt idx="748" formatCode="0.0%">
                  <c:v>9.3578719094008278E-2</c:v>
                </c:pt>
                <c:pt idx="749" formatCode="0.0%">
                  <c:v>8.0243341201895926E-2</c:v>
                </c:pt>
                <c:pt idx="750" formatCode="0.0%">
                  <c:v>7.8416046892103852E-2</c:v>
                </c:pt>
                <c:pt idx="751" formatCode="0.0%">
                  <c:v>7.8416046892103852E-2</c:v>
                </c:pt>
                <c:pt idx="752" formatCode="0.0%">
                  <c:v>7.8416046892103852E-2</c:v>
                </c:pt>
                <c:pt idx="753" formatCode="0.0%">
                  <c:v>9.149223253299027E-2</c:v>
                </c:pt>
                <c:pt idx="754" formatCode="0.0%">
                  <c:v>9.0105559180994554E-2</c:v>
                </c:pt>
                <c:pt idx="755" formatCode="0.0%">
                  <c:v>7.4320828285050031E-2</c:v>
                </c:pt>
                <c:pt idx="756" formatCode="0.0%">
                  <c:v>8.2524223080042272E-2</c:v>
                </c:pt>
                <c:pt idx="757" formatCode="0.0%">
                  <c:v>9.1796753743130358E-2</c:v>
                </c:pt>
                <c:pt idx="758" formatCode="0.0%">
                  <c:v>9.1796753743130358E-2</c:v>
                </c:pt>
                <c:pt idx="759" formatCode="0.0%">
                  <c:v>9.1796753743130358E-2</c:v>
                </c:pt>
                <c:pt idx="760" formatCode="0.0%">
                  <c:v>8.5127509435884291E-2</c:v>
                </c:pt>
                <c:pt idx="761" formatCode="0.0%">
                  <c:v>8.5878972374983958E-2</c:v>
                </c:pt>
                <c:pt idx="762" formatCode="0.0%">
                  <c:v>8.3007306075546558E-2</c:v>
                </c:pt>
                <c:pt idx="763" formatCode="0.0%">
                  <c:v>0.10255879219020514</c:v>
                </c:pt>
                <c:pt idx="764" formatCode="0.0%">
                  <c:v>0.11173738716413269</c:v>
                </c:pt>
                <c:pt idx="765" formatCode="0.0%">
                  <c:v>0.11173738716413269</c:v>
                </c:pt>
                <c:pt idx="766" formatCode="0.0%">
                  <c:v>0.11173738716413269</c:v>
                </c:pt>
                <c:pt idx="767" formatCode="0.0%">
                  <c:v>0.10207570467986414</c:v>
                </c:pt>
                <c:pt idx="768" formatCode="0.0%">
                  <c:v>0.10803374484548442</c:v>
                </c:pt>
                <c:pt idx="769" formatCode="0.0%">
                  <c:v>0.11337450752896629</c:v>
                </c:pt>
                <c:pt idx="770" formatCode="0.0%">
                  <c:v>0.11007343061087439</c:v>
                </c:pt>
                <c:pt idx="771" formatCode="0.0%">
                  <c:v>0.10231724843503458</c:v>
                </c:pt>
                <c:pt idx="772" formatCode="0.0%">
                  <c:v>0.10231724843503458</c:v>
                </c:pt>
                <c:pt idx="773" formatCode="0.0%">
                  <c:v>0.10231724843503458</c:v>
                </c:pt>
                <c:pt idx="774" formatCode="0.0%">
                  <c:v>0.10894623394480689</c:v>
                </c:pt>
                <c:pt idx="775" formatCode="0.0%">
                  <c:v>0.11293167881609946</c:v>
                </c:pt>
                <c:pt idx="776" formatCode="0.0%">
                  <c:v>0.1076848473069414</c:v>
                </c:pt>
                <c:pt idx="777" formatCode="0.0%">
                  <c:v>0.10073380496188761</c:v>
                </c:pt>
                <c:pt idx="778" formatCode="0.0%">
                  <c:v>9.0079120298185697E-2</c:v>
                </c:pt>
                <c:pt idx="779" formatCode="0.0%">
                  <c:v>9.0079120298185697E-2</c:v>
                </c:pt>
                <c:pt idx="780" formatCode="0.0%">
                  <c:v>9.0079120298185697E-2</c:v>
                </c:pt>
                <c:pt idx="781" formatCode="0.0%">
                  <c:v>8.6898815257678882E-2</c:v>
                </c:pt>
                <c:pt idx="782" formatCode="0.0%">
                  <c:v>7.6740631683693439E-2</c:v>
                </c:pt>
                <c:pt idx="783" formatCode="0.0%">
                  <c:v>7.311750244515651E-2</c:v>
                </c:pt>
                <c:pt idx="784" formatCode="0.0%">
                  <c:v>8.1061551484480396E-2</c:v>
                </c:pt>
                <c:pt idx="785" formatCode="0.0%">
                  <c:v>6.5710213293023401E-2</c:v>
                </c:pt>
                <c:pt idx="786" formatCode="0.0%">
                  <c:v>6.5710213293023401E-2</c:v>
                </c:pt>
                <c:pt idx="787" formatCode="0.0%">
                  <c:v>6.5710213293023401E-2</c:v>
                </c:pt>
                <c:pt idx="788" formatCode="0.0%">
                  <c:v>7.0138482362346363E-2</c:v>
                </c:pt>
                <c:pt idx="789" formatCode="0.0%">
                  <c:v>6.9212575168811699E-2</c:v>
                </c:pt>
                <c:pt idx="790" formatCode="0.0%">
                  <c:v>6.436831357504659E-2</c:v>
                </c:pt>
                <c:pt idx="791" formatCode="0.0%">
                  <c:v>6.6085947019991528E-2</c:v>
                </c:pt>
                <c:pt idx="792" formatCode="0.0%">
                  <c:v>8.4376046496784624E-2</c:v>
                </c:pt>
                <c:pt idx="793" formatCode="0.0%">
                  <c:v>8.4376046496784624E-2</c:v>
                </c:pt>
                <c:pt idx="794" formatCode="0.0%">
                  <c:v>8.4376046496784624E-2</c:v>
                </c:pt>
                <c:pt idx="795" formatCode="0.0%">
                  <c:v>9.2320091021272074E-2</c:v>
                </c:pt>
                <c:pt idx="796" formatCode="0.0%">
                  <c:v>9.0521949011052524E-2</c:v>
                </c:pt>
                <c:pt idx="797" formatCode="0.0%">
                  <c:v>8.5771618591611087E-2</c:v>
                </c:pt>
                <c:pt idx="798" formatCode="0.0%">
                  <c:v>8.9716804665429778E-2</c:v>
                </c:pt>
                <c:pt idx="799" formatCode="0.0%">
                  <c:v>5.4652958713928397E-2</c:v>
                </c:pt>
                <c:pt idx="800" formatCode="0.0%">
                  <c:v>5.4652958713928397E-2</c:v>
                </c:pt>
                <c:pt idx="801" formatCode="0.0%">
                  <c:v>5.4652958713928397E-2</c:v>
                </c:pt>
                <c:pt idx="802" formatCode="0.0%">
                  <c:v>4.53670099566277E-2</c:v>
                </c:pt>
                <c:pt idx="803" formatCode="0.0%">
                  <c:v>4.9835537823424828E-2</c:v>
                </c:pt>
                <c:pt idx="804" formatCode="0.0%">
                  <c:v>5.1231114433087727E-2</c:v>
                </c:pt>
                <c:pt idx="805" formatCode="0.0%">
                  <c:v>5.6290074563925145E-2</c:v>
                </c:pt>
                <c:pt idx="806" formatCode="0.0%">
                  <c:v>6.0637830553136922E-2</c:v>
                </c:pt>
                <c:pt idx="807" formatCode="0.0%">
                  <c:v>6.0637830553136922E-2</c:v>
                </c:pt>
                <c:pt idx="808" formatCode="0.0%">
                  <c:v>6.0637830553136922E-2</c:v>
                </c:pt>
                <c:pt idx="809" formatCode="0.0%">
                  <c:v>5.7712491876849722E-2</c:v>
                </c:pt>
                <c:pt idx="810" formatCode="0.0%">
                  <c:v>5.8316346749939213E-2</c:v>
                </c:pt>
                <c:pt idx="811" formatCode="0.0%">
                  <c:v>6.9387019423246696E-2</c:v>
                </c:pt>
                <c:pt idx="812" formatCode="0.0%">
                  <c:v>6.6958181836676262E-2</c:v>
                </c:pt>
                <c:pt idx="813" formatCode="0.0%">
                  <c:v>6.7159466794372943E-2</c:v>
                </c:pt>
                <c:pt idx="814" formatCode="0.0%">
                  <c:v>6.7159466794372943E-2</c:v>
                </c:pt>
                <c:pt idx="815" formatCode="0.0%">
                  <c:v>6.7159466794372943E-2</c:v>
                </c:pt>
                <c:pt idx="816" formatCode="0.0%">
                  <c:v>7.2017146482350261E-2</c:v>
                </c:pt>
                <c:pt idx="817" formatCode="0.0%">
                  <c:v>6.2570167049990744E-2</c:v>
                </c:pt>
                <c:pt idx="818" formatCode="0.0%">
                  <c:v>7.4378889083021982E-2</c:v>
                </c:pt>
                <c:pt idx="819" formatCode="0.0%">
                  <c:v>7.6727213589480953E-2</c:v>
                </c:pt>
                <c:pt idx="820" formatCode="0.0%">
                  <c:v>9.4856282391215102E-2</c:v>
                </c:pt>
                <c:pt idx="821" formatCode="0.0%">
                  <c:v>9.4856282391215102E-2</c:v>
                </c:pt>
                <c:pt idx="822" formatCode="0.0%">
                  <c:v>9.4856282391215102E-2</c:v>
                </c:pt>
                <c:pt idx="823" formatCode="0.0%">
                  <c:v>9.0642716373801016E-2</c:v>
                </c:pt>
                <c:pt idx="824" formatCode="0.0%">
                  <c:v>9.2695824748239911E-2</c:v>
                </c:pt>
                <c:pt idx="825" formatCode="0.0%">
                  <c:v>8.6979332852626781E-2</c:v>
                </c:pt>
                <c:pt idx="826" formatCode="0.0%">
                  <c:v>8.6979332852626781E-2</c:v>
                </c:pt>
                <c:pt idx="827" formatCode="0.0%">
                  <c:v>8.6979332852626781E-2</c:v>
                </c:pt>
                <c:pt idx="828" formatCode="0.0%">
                  <c:v>8.6979332852626781E-2</c:v>
                </c:pt>
                <c:pt idx="829" formatCode="0.0%">
                  <c:v>8.6979332852626781E-2</c:v>
                </c:pt>
                <c:pt idx="830" formatCode="0.0%">
                  <c:v>8.6979332852626781E-2</c:v>
                </c:pt>
                <c:pt idx="831" formatCode="0.0%">
                  <c:v>8.7140359012849167E-2</c:v>
                </c:pt>
                <c:pt idx="832" formatCode="0.0%">
                  <c:v>8.8951923632117916E-2</c:v>
                </c:pt>
                <c:pt idx="833" formatCode="0.0%">
                  <c:v>8.8294391867342059E-2</c:v>
                </c:pt>
                <c:pt idx="834" formatCode="0.0%">
                  <c:v>9.806342362014675E-2</c:v>
                </c:pt>
                <c:pt idx="835" formatCode="0.0%">
                  <c:v>9.806342362014675E-2</c:v>
                </c:pt>
                <c:pt idx="836" formatCode="0.0%">
                  <c:v>9.806342362014675E-2</c:v>
                </c:pt>
                <c:pt idx="837" formatCode="0.0%">
                  <c:v>0.10410197686587822</c:v>
                </c:pt>
                <c:pt idx="838" formatCode="0.0%">
                  <c:v>9.9660285187506192E-2</c:v>
                </c:pt>
                <c:pt idx="839" formatCode="0.0%">
                  <c:v>9.3984047574530216E-2</c:v>
                </c:pt>
                <c:pt idx="840" formatCode="0.0%">
                  <c:v>9.5701681019475016E-2</c:v>
                </c:pt>
                <c:pt idx="841" formatCode="0.0%">
                  <c:v>0.10113637487728071</c:v>
                </c:pt>
                <c:pt idx="842" formatCode="0.0%">
                  <c:v>0.10113637487728071</c:v>
                </c:pt>
                <c:pt idx="843" formatCode="0.0%">
                  <c:v>0.10113637487728071</c:v>
                </c:pt>
                <c:pt idx="844" formatCode="0.0%">
                  <c:v>9.4990472363012793E-2</c:v>
                </c:pt>
                <c:pt idx="845" formatCode="0.0%">
                  <c:v>9.4547648164982553E-2</c:v>
                </c:pt>
                <c:pt idx="846" formatCode="0.0%">
                  <c:v>7.812279019914399E-2</c:v>
                </c:pt>
                <c:pt idx="847" formatCode="0.0%">
                  <c:v>9.5164921132284516E-2</c:v>
                </c:pt>
                <c:pt idx="848" formatCode="0.0%">
                  <c:v>9.9606612810656261E-2</c:v>
                </c:pt>
                <c:pt idx="849" formatCode="0.0%">
                  <c:v>9.9606612810656261E-2</c:v>
                </c:pt>
                <c:pt idx="850" formatCode="0.0%">
                  <c:v>0.10108270250043078</c:v>
                </c:pt>
                <c:pt idx="851" formatCode="0.0%">
                  <c:v>0.10424958493188825</c:v>
                </c:pt>
                <c:pt idx="852" formatCode="0.0%">
                  <c:v>9.7795043676551355E-2</c:v>
                </c:pt>
                <c:pt idx="853" formatCode="0.0%">
                  <c:v>9.4883123094476648E-2</c:v>
                </c:pt>
                <c:pt idx="854" formatCode="0.0%">
                  <c:v>9.3313097715542026E-2</c:v>
                </c:pt>
                <c:pt idx="855" formatCode="0.0%">
                  <c:v>9.3313097715542026E-2</c:v>
                </c:pt>
                <c:pt idx="856" formatCode="0.0%">
                  <c:v>9.3313097715542026E-2</c:v>
                </c:pt>
                <c:pt idx="857" formatCode="0.0%">
                  <c:v>9.3313097715542026E-2</c:v>
                </c:pt>
                <c:pt idx="858" formatCode="0.0%">
                  <c:v>0.10000918272604935</c:v>
                </c:pt>
                <c:pt idx="859" formatCode="0.0%">
                  <c:v>9.9848152050990388E-2</c:v>
                </c:pt>
                <c:pt idx="860" formatCode="0.0%">
                  <c:v>0.10255879219020514</c:v>
                </c:pt>
                <c:pt idx="861" formatCode="0.0%">
                  <c:v>0.10645030137233719</c:v>
                </c:pt>
                <c:pt idx="862" formatCode="0.0%">
                  <c:v>0.11546787018604249</c:v>
                </c:pt>
                <c:pt idx="863" formatCode="0.0%">
                  <c:v>0.11546787018604249</c:v>
                </c:pt>
                <c:pt idx="864" formatCode="0.0%">
                  <c:v>0.11546787018604249</c:v>
                </c:pt>
                <c:pt idx="865" formatCode="0.0%">
                  <c:v>0.11443460469429879</c:v>
                </c:pt>
                <c:pt idx="866" formatCode="0.0%">
                  <c:v>0.1123815008346962</c:v>
                </c:pt>
                <c:pt idx="867" formatCode="0.0%">
                  <c:v>0.12005716993042469</c:v>
                </c:pt>
                <c:pt idx="868" formatCode="0.0%">
                  <c:v>0.12005716993042469</c:v>
                </c:pt>
                <c:pt idx="869" formatCode="0.0%">
                  <c:v>0.12005716993042469</c:v>
                </c:pt>
                <c:pt idx="870" formatCode="0.0%">
                  <c:v>0.12005716993042469</c:v>
                </c:pt>
                <c:pt idx="871" formatCode="0.0%">
                  <c:v>0.12005716993042469</c:v>
                </c:pt>
                <c:pt idx="872" formatCode="0.0%">
                  <c:v>0.14082977937063831</c:v>
                </c:pt>
                <c:pt idx="873" formatCode="0.0%">
                  <c:v>0.13228187997306137</c:v>
                </c:pt>
                <c:pt idx="874" formatCode="0.0%">
                  <c:v>0.11269013506092904</c:v>
                </c:pt>
                <c:pt idx="875" formatCode="0.0%">
                  <c:v>0.12463304706575798</c:v>
                </c:pt>
                <c:pt idx="876" formatCode="0.0%">
                  <c:v>0.14685491452215743</c:v>
                </c:pt>
                <c:pt idx="877" formatCode="0.0%">
                  <c:v>0.14685491452215743</c:v>
                </c:pt>
                <c:pt idx="878" formatCode="0.0%">
                  <c:v>0.14685491452215743</c:v>
                </c:pt>
                <c:pt idx="879" formatCode="0.0%">
                  <c:v>0.14685491452215743</c:v>
                </c:pt>
                <c:pt idx="880" formatCode="0.0%">
                  <c:v>0.14265476659895568</c:v>
                </c:pt>
                <c:pt idx="881" formatCode="0.0%">
                  <c:v>0.13344933092176661</c:v>
                </c:pt>
                <c:pt idx="882" formatCode="0.0%">
                  <c:v>0.13275154487435331</c:v>
                </c:pt>
                <c:pt idx="883" formatCode="0.0%">
                  <c:v>0.14800894737664991</c:v>
                </c:pt>
                <c:pt idx="884" formatCode="0.0%">
                  <c:v>0.14800894737664991</c:v>
                </c:pt>
                <c:pt idx="885" formatCode="0.0%">
                  <c:v>0.14800894737664991</c:v>
                </c:pt>
                <c:pt idx="886" formatCode="0.0%">
                  <c:v>0.14800894737664991</c:v>
                </c:pt>
                <c:pt idx="887" formatCode="0.0%">
                  <c:v>0.15836841590833189</c:v>
                </c:pt>
                <c:pt idx="888" formatCode="0.0%">
                  <c:v>0.14788817549906483</c:v>
                </c:pt>
                <c:pt idx="889" formatCode="0.0%">
                  <c:v>0.14031986018670906</c:v>
                </c:pt>
                <c:pt idx="890" formatCode="0.0%">
                  <c:v>0.15000837885940244</c:v>
                </c:pt>
                <c:pt idx="891" formatCode="0.0%">
                  <c:v>0.15000837885940244</c:v>
                </c:pt>
                <c:pt idx="892" formatCode="0.0%">
                  <c:v>0.15000837885940244</c:v>
                </c:pt>
                <c:pt idx="893" formatCode="0.0%">
                  <c:v>0.15376569806973733</c:v>
                </c:pt>
                <c:pt idx="894" formatCode="0.0%">
                  <c:v>0.16042152428277062</c:v>
                </c:pt>
                <c:pt idx="895" formatCode="0.0%">
                  <c:v>0.15949561257439954</c:v>
                </c:pt>
                <c:pt idx="896" formatCode="0.0%">
                  <c:v>0.15361809000372717</c:v>
                </c:pt>
                <c:pt idx="897" formatCode="0.0%">
                  <c:v>0.16048861926866961</c:v>
                </c:pt>
                <c:pt idx="898" formatCode="0.0%">
                  <c:v>0.16048861926866961</c:v>
                </c:pt>
                <c:pt idx="899" formatCode="0.0%">
                  <c:v>0.16048861926866961</c:v>
                </c:pt>
                <c:pt idx="900" formatCode="0.0%">
                  <c:v>0.15102822174209748</c:v>
                </c:pt>
                <c:pt idx="901" formatCode="0.0%">
                  <c:v>0.14337939334963054</c:v>
                </c:pt>
                <c:pt idx="902" formatCode="0.0%">
                  <c:v>0.13713955514620252</c:v>
                </c:pt>
                <c:pt idx="903" formatCode="0.0%">
                  <c:v>0.13550243929620534</c:v>
                </c:pt>
                <c:pt idx="904" formatCode="0.0%">
                  <c:v>0.13879009360524819</c:v>
                </c:pt>
                <c:pt idx="905" formatCode="0.0%">
                  <c:v>0.13879009360524819</c:v>
                </c:pt>
                <c:pt idx="906" formatCode="0.0%">
                  <c:v>0.13879009360524819</c:v>
                </c:pt>
                <c:pt idx="907" formatCode="0.0%">
                  <c:v>0.13436182453592521</c:v>
                </c:pt>
                <c:pt idx="908" formatCode="0.0%">
                  <c:v>0.12702163036969097</c:v>
                </c:pt>
                <c:pt idx="909" formatCode="0.0%">
                  <c:v>0.13889744738862106</c:v>
                </c:pt>
                <c:pt idx="910" formatCode="0.0%">
                  <c:v>0.13849487295839139</c:v>
                </c:pt>
                <c:pt idx="911" formatCode="0.0%">
                  <c:v>0.15143079165749057</c:v>
                </c:pt>
                <c:pt idx="912" formatCode="0.0%">
                  <c:v>0.15143079165749057</c:v>
                </c:pt>
                <c:pt idx="913" formatCode="0.0%">
                  <c:v>0.15143079165749057</c:v>
                </c:pt>
                <c:pt idx="914" formatCode="0.0%">
                  <c:v>0.15330945126265788</c:v>
                </c:pt>
                <c:pt idx="915" formatCode="0.0%">
                  <c:v>0.1525311521351331</c:v>
                </c:pt>
                <c:pt idx="916" formatCode="0.0%">
                  <c:v>0.14849203037215417</c:v>
                </c:pt>
                <c:pt idx="917" formatCode="0.0%">
                  <c:v>0.13312727408648484</c:v>
                </c:pt>
                <c:pt idx="918" formatCode="0.0%">
                  <c:v>0.12665931473693517</c:v>
                </c:pt>
                <c:pt idx="919" formatCode="0.0%">
                  <c:v>0.12665931473693517</c:v>
                </c:pt>
                <c:pt idx="920" formatCode="0.0%">
                  <c:v>0.12665931473693517</c:v>
                </c:pt>
                <c:pt idx="921" formatCode="0.0%">
                  <c:v>0.1229288362298621</c:v>
                </c:pt>
                <c:pt idx="922" formatCode="0.0%">
                  <c:v>0.12182847575221928</c:v>
                </c:pt>
                <c:pt idx="923" formatCode="0.0%">
                  <c:v>0.1307655314858131</c:v>
                </c:pt>
                <c:pt idx="924" formatCode="0.0%">
                  <c:v>0.13740793508979762</c:v>
                </c:pt>
                <c:pt idx="925" formatCode="0.0%">
                  <c:v>0.14002463953985228</c:v>
                </c:pt>
                <c:pt idx="926" formatCode="0.0%">
                  <c:v>0.14002463953985228</c:v>
                </c:pt>
                <c:pt idx="927" formatCode="0.0%">
                  <c:v>0.14002463953985228</c:v>
                </c:pt>
                <c:pt idx="928" formatCode="0.0%">
                  <c:v>0.13675040332502178</c:v>
                </c:pt>
                <c:pt idx="929" formatCode="0.0%">
                  <c:v>0.13524747744682258</c:v>
                </c:pt>
                <c:pt idx="930" formatCode="0.0%">
                  <c:v>0.14300365962266226</c:v>
                </c:pt>
                <c:pt idx="931" formatCode="0.0%">
                  <c:v>0.13746161198148429</c:v>
                </c:pt>
                <c:pt idx="932" formatCode="0.0%">
                  <c:v>0.13860222674176442</c:v>
                </c:pt>
                <c:pt idx="933" formatCode="0.0%">
                  <c:v>0.13860222674176442</c:v>
                </c:pt>
                <c:pt idx="934" formatCode="0.0%">
                  <c:v>0.13860222674176442</c:v>
                </c:pt>
                <c:pt idx="935" formatCode="0.0%">
                  <c:v>0.1447212930676072</c:v>
                </c:pt>
                <c:pt idx="936" formatCode="0.0%">
                  <c:v>0.15400724182490763</c:v>
                </c:pt>
                <c:pt idx="937" formatCode="0.0%">
                  <c:v>0.14235954595209904</c:v>
                </c:pt>
                <c:pt idx="938" formatCode="0.0%">
                  <c:v>0.15734857302563682</c:v>
                </c:pt>
                <c:pt idx="939" formatCode="0.0%">
                  <c:v>0.14788817549906483</c:v>
                </c:pt>
                <c:pt idx="940" formatCode="0.0%">
                  <c:v>0.14788817549906483</c:v>
                </c:pt>
                <c:pt idx="941" formatCode="0.0%">
                  <c:v>0.14788817549906483</c:v>
                </c:pt>
                <c:pt idx="942" formatCode="0.0%">
                  <c:v>0.1532021019941216</c:v>
                </c:pt>
                <c:pt idx="943" formatCode="0.0%">
                  <c:v>0.15526862846277281</c:v>
                </c:pt>
                <c:pt idx="944" formatCode="0.0%">
                  <c:v>0.14215826099440249</c:v>
                </c:pt>
                <c:pt idx="945" formatCode="0.0%">
                  <c:v>0.13220136237811375</c:v>
                </c:pt>
                <c:pt idx="946" formatCode="0.0%">
                  <c:v>0.13171827938260947</c:v>
                </c:pt>
                <c:pt idx="947" formatCode="0.0%">
                  <c:v>0.13171827938260947</c:v>
                </c:pt>
                <c:pt idx="948" formatCode="0.0%">
                  <c:v>0.13171827938260947</c:v>
                </c:pt>
                <c:pt idx="949" formatCode="0.0%">
                  <c:v>0.13614654845193244</c:v>
                </c:pt>
                <c:pt idx="950" formatCode="0.0%">
                  <c:v>0.14250715853294565</c:v>
                </c:pt>
                <c:pt idx="951" formatCode="0.0%">
                  <c:v>0.14362093258996425</c:v>
                </c:pt>
                <c:pt idx="952" formatCode="0.0%">
                  <c:v>0.14374170446754975</c:v>
                </c:pt>
                <c:pt idx="953" formatCode="0.0%">
                  <c:v>0.13028244849030884</c:v>
                </c:pt>
                <c:pt idx="954" formatCode="0.0%">
                  <c:v>0.13028244849030884</c:v>
                </c:pt>
                <c:pt idx="955" formatCode="0.0%">
                  <c:v>0.13028244849030884</c:v>
                </c:pt>
                <c:pt idx="956" formatCode="0.0%">
                  <c:v>0.13538166741862029</c:v>
                </c:pt>
                <c:pt idx="957" formatCode="0.0%">
                  <c:v>0.12392183840929548</c:v>
                </c:pt>
                <c:pt idx="958" formatCode="0.0%">
                  <c:v>0.12789386518637572</c:v>
                </c:pt>
                <c:pt idx="959" formatCode="0.0%">
                  <c:v>0.12058050720856642</c:v>
                </c:pt>
                <c:pt idx="960" formatCode="0.0%">
                  <c:v>0.11285116573598813</c:v>
                </c:pt>
                <c:pt idx="961" formatCode="0.0%">
                  <c:v>0.11285116573598813</c:v>
                </c:pt>
                <c:pt idx="962" formatCode="0.0%">
                  <c:v>0.11285116573598813</c:v>
                </c:pt>
                <c:pt idx="963" formatCode="0.0%">
                  <c:v>0.11408571167059194</c:v>
                </c:pt>
                <c:pt idx="964" formatCode="0.0%">
                  <c:v>0.12651170667092515</c:v>
                </c:pt>
                <c:pt idx="965" formatCode="0.0%">
                  <c:v>0.13760922004749432</c:v>
                </c:pt>
                <c:pt idx="966" formatCode="0.0%">
                  <c:v>0.13504619248912619</c:v>
                </c:pt>
                <c:pt idx="967" formatCode="0.0%">
                  <c:v>0.13068501840570207</c:v>
                </c:pt>
                <c:pt idx="968" formatCode="0.0%">
                  <c:v>0.13068501840570207</c:v>
                </c:pt>
                <c:pt idx="969" formatCode="0.0%">
                  <c:v>0.13068501840570207</c:v>
                </c:pt>
                <c:pt idx="970" formatCode="0.0%">
                  <c:v>0.14150072922962664</c:v>
                </c:pt>
                <c:pt idx="971" formatCode="0.0%">
                  <c:v>0.14649259888940164</c:v>
                </c:pt>
                <c:pt idx="972" formatCode="0.0%">
                  <c:v>0.14237296856114795</c:v>
                </c:pt>
                <c:pt idx="973" formatCode="0.0%">
                  <c:v>0.14756611866378308</c:v>
                </c:pt>
                <c:pt idx="974" formatCode="0.0%">
                  <c:v>0.15949561257439954</c:v>
                </c:pt>
                <c:pt idx="975" formatCode="0.0%">
                  <c:v>0.15949561257439954</c:v>
                </c:pt>
                <c:pt idx="976" formatCode="0.0%">
                  <c:v>0.15949561257439954</c:v>
                </c:pt>
                <c:pt idx="977" formatCode="0.0%">
                  <c:v>0.16258198192574597</c:v>
                </c:pt>
                <c:pt idx="978" formatCode="0.0%">
                  <c:v>0.16299796993535126</c:v>
                </c:pt>
                <c:pt idx="979" formatCode="0.0%">
                  <c:v>0.16005920865001527</c:v>
                </c:pt>
                <c:pt idx="980" formatCode="0.0%">
                  <c:v>0.15690574431276999</c:v>
                </c:pt>
                <c:pt idx="981" formatCode="0.0%">
                  <c:v>0.15793900528967739</c:v>
                </c:pt>
                <c:pt idx="982" formatCode="0.0%">
                  <c:v>0.15793900528967739</c:v>
                </c:pt>
                <c:pt idx="983" formatCode="0.0%">
                  <c:v>0.15793900528967739</c:v>
                </c:pt>
                <c:pt idx="984" formatCode="0.0%">
                  <c:v>0.158086617870524</c:v>
                </c:pt>
                <c:pt idx="985" formatCode="0.0%">
                  <c:v>0.15983108750389377</c:v>
                </c:pt>
                <c:pt idx="986" formatCode="0.0%">
                  <c:v>0.15306791202232389</c:v>
                </c:pt>
                <c:pt idx="987" formatCode="0.0%">
                  <c:v>0.16290403876102771</c:v>
                </c:pt>
                <c:pt idx="988" formatCode="0.0%">
                  <c:v>0.16305164682703777</c:v>
                </c:pt>
                <c:pt idx="989" formatCode="0.0%">
                  <c:v>0.16305164682703777</c:v>
                </c:pt>
                <c:pt idx="990" formatCode="0.0%">
                  <c:v>0.16305164682703777</c:v>
                </c:pt>
                <c:pt idx="991" formatCode="0.0%">
                  <c:v>0.15157839972350076</c:v>
                </c:pt>
                <c:pt idx="992" formatCode="0.0%">
                  <c:v>0.14395640751945835</c:v>
                </c:pt>
                <c:pt idx="993" formatCode="0.0%">
                  <c:v>0.14480180614771854</c:v>
                </c:pt>
                <c:pt idx="994" formatCode="0.0%">
                  <c:v>0.1251429707645238</c:v>
                </c:pt>
                <c:pt idx="995" formatCode="0.0%">
                  <c:v>0.12398893339519447</c:v>
                </c:pt>
                <c:pt idx="996" formatCode="0.0%">
                  <c:v>0.12398893339519447</c:v>
                </c:pt>
                <c:pt idx="997" formatCode="0.0%">
                  <c:v>0.12398893339519447</c:v>
                </c:pt>
                <c:pt idx="998" formatCode="0.0%">
                  <c:v>0.12173454457789575</c:v>
                </c:pt>
                <c:pt idx="999" formatCode="0.0%">
                  <c:v>0.1130792868821095</c:v>
                </c:pt>
                <c:pt idx="1000" formatCode="0.0%">
                  <c:v>0.11654138996042392</c:v>
                </c:pt>
                <c:pt idx="1001" formatCode="0.0%">
                  <c:v>0.11271697576419043</c:v>
                </c:pt>
                <c:pt idx="1002" formatCode="0.0%">
                  <c:v>0.12086230976121072</c:v>
                </c:pt>
                <c:pt idx="1003" formatCode="0.0%">
                  <c:v>0.11481033842126663</c:v>
                </c:pt>
                <c:pt idx="1004" formatCode="0.0%">
                  <c:v>0.11481033842126663</c:v>
                </c:pt>
                <c:pt idx="1005" formatCode="0.0%">
                  <c:v>0.11941305625986118</c:v>
                </c:pt>
                <c:pt idx="1006" formatCode="0.0%">
                  <c:v>0.11313296377379586</c:v>
                </c:pt>
                <c:pt idx="1007" formatCode="0.0%">
                  <c:v>0.11354895178340144</c:v>
                </c:pt>
                <c:pt idx="1008" formatCode="0.0%">
                  <c:v>0.11459563536935762</c:v>
                </c:pt>
                <c:pt idx="1009" formatCode="0.0%">
                  <c:v>0.10945615764357257</c:v>
                </c:pt>
                <c:pt idx="1010" formatCode="0.0%">
                  <c:v>0.10945615764357257</c:v>
                </c:pt>
                <c:pt idx="1011" formatCode="0.0%">
                  <c:v>0.10945615764357257</c:v>
                </c:pt>
                <c:pt idx="1012" formatCode="0.0%">
                  <c:v>0.11384417243025809</c:v>
                </c:pt>
                <c:pt idx="1013" formatCode="0.0%">
                  <c:v>0.12492826319777819</c:v>
                </c:pt>
                <c:pt idx="1014" formatCode="0.0%">
                  <c:v>0.13379822394547319</c:v>
                </c:pt>
                <c:pt idx="1015" formatCode="0.0%">
                  <c:v>0.15122950669979388</c:v>
                </c:pt>
                <c:pt idx="1016" formatCode="0.0%">
                  <c:v>0.14909588524524381</c:v>
                </c:pt>
                <c:pt idx="1017" formatCode="0.0%">
                  <c:v>0.14909588524524381</c:v>
                </c:pt>
                <c:pt idx="1018" formatCode="0.0%">
                  <c:v>0.14909588524524381</c:v>
                </c:pt>
                <c:pt idx="1019" formatCode="0.0%">
                  <c:v>0.14489573732204206</c:v>
                </c:pt>
                <c:pt idx="1020" formatCode="0.0%">
                  <c:v>0.14285605155665237</c:v>
                </c:pt>
                <c:pt idx="1021" formatCode="0.0%">
                  <c:v>0.13590500921159829</c:v>
                </c:pt>
                <c:pt idx="1022" formatCode="0.0%">
                  <c:v>0.12397551530098212</c:v>
                </c:pt>
                <c:pt idx="1023" formatCode="0.0%">
                  <c:v>0.10807399912812186</c:v>
                </c:pt>
                <c:pt idx="1024" formatCode="0.0%">
                  <c:v>0.10807399912812186</c:v>
                </c:pt>
                <c:pt idx="1025" formatCode="0.0%">
                  <c:v>0.10807399912812186</c:v>
                </c:pt>
                <c:pt idx="1026" formatCode="0.0%">
                  <c:v>9.771453059644003E-2</c:v>
                </c:pt>
                <c:pt idx="1027" formatCode="0.0%">
                  <c:v>0.10673209941014533</c:v>
                </c:pt>
                <c:pt idx="1028" formatCode="0.0%">
                  <c:v>0.10151210860424854</c:v>
                </c:pt>
                <c:pt idx="1029" formatCode="0.0%">
                  <c:v>9.2870273517511495E-2</c:v>
                </c:pt>
                <c:pt idx="1030" formatCode="0.0%">
                  <c:v>8.6590181031446042E-2</c:v>
                </c:pt>
                <c:pt idx="1031" formatCode="0.0%">
                  <c:v>8.6590181031446042E-2</c:v>
                </c:pt>
                <c:pt idx="1032" formatCode="0.0%">
                  <c:v>8.6590181031446042E-2</c:v>
                </c:pt>
                <c:pt idx="1033" formatCode="0.0%">
                  <c:v>9.0387759039254834E-2</c:v>
                </c:pt>
                <c:pt idx="1034" formatCode="0.0%">
                  <c:v>0.1024648565010446</c:v>
                </c:pt>
                <c:pt idx="1035" formatCode="0.0%">
                  <c:v>0.11376365483531031</c:v>
                </c:pt>
                <c:pt idx="1036" formatCode="0.0%">
                  <c:v>0.13233555234991129</c:v>
                </c:pt>
                <c:pt idx="1037" formatCode="0.0%">
                  <c:v>0.12938337297036256</c:v>
                </c:pt>
                <c:pt idx="1038" formatCode="0.0%">
                  <c:v>0.12938337297036256</c:v>
                </c:pt>
                <c:pt idx="1039" formatCode="0.0%">
                  <c:v>0.12938337297036256</c:v>
                </c:pt>
                <c:pt idx="1040" formatCode="0.0%">
                  <c:v>0.13571714234811452</c:v>
                </c:pt>
                <c:pt idx="1041" formatCode="0.0%">
                  <c:v>0.14345990642974171</c:v>
                </c:pt>
                <c:pt idx="1042" formatCode="0.0%">
                  <c:v>0.14621080085159391</c:v>
                </c:pt>
                <c:pt idx="1043" formatCode="0.0%">
                  <c:v>0.14218510169766391</c:v>
                </c:pt>
                <c:pt idx="1044" formatCode="0.0%">
                  <c:v>0.1373945169955853</c:v>
                </c:pt>
                <c:pt idx="1045" formatCode="0.0%">
                  <c:v>0.1373945169955853</c:v>
                </c:pt>
                <c:pt idx="1046" formatCode="0.0%">
                  <c:v>0.1373945169955853</c:v>
                </c:pt>
                <c:pt idx="1047" formatCode="0.0%">
                  <c:v>0.14323178076878379</c:v>
                </c:pt>
                <c:pt idx="1048" formatCode="0.0%">
                  <c:v>0.15326919698002045</c:v>
                </c:pt>
                <c:pt idx="1049" formatCode="0.0%">
                  <c:v>0.15820738974810936</c:v>
                </c:pt>
                <c:pt idx="1050" formatCode="0.0%">
                  <c:v>0.15920039192754259</c:v>
                </c:pt>
                <c:pt idx="1051" formatCode="0.0%">
                  <c:v>0.16180367828338477</c:v>
                </c:pt>
                <c:pt idx="1052" formatCode="0.0%">
                  <c:v>0.16180367828338477</c:v>
                </c:pt>
                <c:pt idx="1053" formatCode="0.0%">
                  <c:v>0.16180367828338477</c:v>
                </c:pt>
                <c:pt idx="1054" formatCode="0.0%">
                  <c:v>0.16034100668782286</c:v>
                </c:pt>
                <c:pt idx="1055" formatCode="0.0%">
                  <c:v>0.16126691839619411</c:v>
                </c:pt>
                <c:pt idx="1056" formatCode="0.0%">
                  <c:v>0.1744712170388884</c:v>
                </c:pt>
                <c:pt idx="1057" formatCode="0.0%">
                  <c:v>0.17516900308630157</c:v>
                </c:pt>
                <c:pt idx="1058" formatCode="0.0%">
                  <c:v>0.16989533538871868</c:v>
                </c:pt>
                <c:pt idx="1059" formatCode="0.0%">
                  <c:v>0.16989533538871868</c:v>
                </c:pt>
                <c:pt idx="1060" formatCode="0.0%">
                  <c:v>0.16989533538871868</c:v>
                </c:pt>
                <c:pt idx="1061" formatCode="0.0%">
                  <c:v>0.16880839752012491</c:v>
                </c:pt>
                <c:pt idx="1062" formatCode="0.0%">
                  <c:v>0.16329319058220818</c:v>
                </c:pt>
                <c:pt idx="1063" formatCode="0.0%">
                  <c:v>0.1678824858117538</c:v>
                </c:pt>
                <c:pt idx="1064" formatCode="0.0%">
                  <c:v>0.17351846914209218</c:v>
                </c:pt>
                <c:pt idx="1065" formatCode="0.0%">
                  <c:v>0.17720869336652798</c:v>
                </c:pt>
                <c:pt idx="1066" formatCode="0.0%">
                  <c:v>0.17720869336652798</c:v>
                </c:pt>
                <c:pt idx="1067" formatCode="0.0%">
                  <c:v>0.17720869336652798</c:v>
                </c:pt>
                <c:pt idx="1068" formatCode="0.0%">
                  <c:v>0.17634987664405585</c:v>
                </c:pt>
                <c:pt idx="1069" formatCode="0.0%">
                  <c:v>0.17645723042742859</c:v>
                </c:pt>
                <c:pt idx="1070" formatCode="0.0%">
                  <c:v>0.18446837445265118</c:v>
                </c:pt>
                <c:pt idx="1071" formatCode="0.0%">
                  <c:v>0.18378400198461378</c:v>
                </c:pt>
                <c:pt idx="1072" formatCode="0.0%">
                  <c:v>0.18767551568158283</c:v>
                </c:pt>
                <c:pt idx="1073" formatCode="0.0%">
                  <c:v>0.18767551568158283</c:v>
                </c:pt>
                <c:pt idx="1074" formatCode="0.0%">
                  <c:v>0.18767551568158283</c:v>
                </c:pt>
                <c:pt idx="1075" formatCode="0.0%">
                  <c:v>0.19642470003685616</c:v>
                </c:pt>
                <c:pt idx="1076" formatCode="0.0%">
                  <c:v>0.19657231261770264</c:v>
                </c:pt>
                <c:pt idx="1077" formatCode="0.0%">
                  <c:v>0.20024911874792609</c:v>
                </c:pt>
                <c:pt idx="1078" formatCode="0.0%">
                  <c:v>0.19022512514573833</c:v>
                </c:pt>
                <c:pt idx="1079" formatCode="0.0%">
                  <c:v>0.20336232428769718</c:v>
                </c:pt>
                <c:pt idx="1080" formatCode="0.0%">
                  <c:v>0.20336232428769718</c:v>
                </c:pt>
                <c:pt idx="1081" formatCode="0.0%">
                  <c:v>0.20336232428769718</c:v>
                </c:pt>
                <c:pt idx="1082" formatCode="0.0%">
                  <c:v>0.2026511201460714</c:v>
                </c:pt>
                <c:pt idx="1083" formatCode="0.0%">
                  <c:v>0.20406011484994721</c:v>
                </c:pt>
                <c:pt idx="1084" formatCode="0.0%">
                  <c:v>0.20984370173145933</c:v>
                </c:pt>
                <c:pt idx="1085" formatCode="0.0%">
                  <c:v>0.20436874907617991</c:v>
                </c:pt>
                <c:pt idx="1086" formatCode="0.0%">
                  <c:v>0.20760273100837282</c:v>
                </c:pt>
                <c:pt idx="1087" formatCode="0.0%">
                  <c:v>0.20760273100837282</c:v>
                </c:pt>
                <c:pt idx="1088" formatCode="0.0%">
                  <c:v>0.20760273100837282</c:v>
                </c:pt>
                <c:pt idx="1089" formatCode="0.0%">
                  <c:v>0.20760273100837282</c:v>
                </c:pt>
                <c:pt idx="1090" formatCode="0.0%">
                  <c:v>0.20760273100837282</c:v>
                </c:pt>
                <c:pt idx="1091" formatCode="0.0%">
                  <c:v>0.20271821513197039</c:v>
                </c:pt>
                <c:pt idx="1092" formatCode="0.0%">
                  <c:v>0.20902514380646095</c:v>
                </c:pt>
                <c:pt idx="1093" formatCode="0.0%">
                  <c:v>0.21134663212449495</c:v>
                </c:pt>
                <c:pt idx="1094" formatCode="0.0%">
                  <c:v>0.21134663212449495</c:v>
                </c:pt>
                <c:pt idx="1095" formatCode="0.0%">
                  <c:v>0.21196390509179694</c:v>
                </c:pt>
                <c:pt idx="1096" formatCode="0.0%">
                  <c:v>0.21196390509179694</c:v>
                </c:pt>
                <c:pt idx="1097" formatCode="0.0%">
                  <c:v>0.20801871901797825</c:v>
                </c:pt>
                <c:pt idx="1098" formatCode="0.0%">
                  <c:v>0.20079929672932934</c:v>
                </c:pt>
                <c:pt idx="1099" formatCode="0.0%">
                  <c:v>0.19794104852410427</c:v>
                </c:pt>
                <c:pt idx="1100" formatCode="0.0%">
                  <c:v>0.19447894544578986</c:v>
                </c:pt>
                <c:pt idx="1101" formatCode="0.0%">
                  <c:v>0.19447894544578986</c:v>
                </c:pt>
                <c:pt idx="1102" formatCode="0.0%">
                  <c:v>0.19447894544578986</c:v>
                </c:pt>
                <c:pt idx="1103" formatCode="0.0%">
                  <c:v>0.19555246522017128</c:v>
                </c:pt>
                <c:pt idx="1104" formatCode="0.0%">
                  <c:v>0.20346967807107005</c:v>
                </c:pt>
                <c:pt idx="1105" formatCode="0.0%">
                  <c:v>0.20714648420129336</c:v>
                </c:pt>
                <c:pt idx="1106" formatCode="0.0%">
                  <c:v>0.21113192907258593</c:v>
                </c:pt>
                <c:pt idx="1107" formatCode="0.0%">
                  <c:v>0.21645926914701888</c:v>
                </c:pt>
                <c:pt idx="1108" formatCode="0.0%">
                  <c:v>0.21645926914701888</c:v>
                </c:pt>
                <c:pt idx="1109" formatCode="0.0%">
                  <c:v>0.21645926914701888</c:v>
                </c:pt>
                <c:pt idx="1110" formatCode="0.0%">
                  <c:v>0.21817690259196382</c:v>
                </c:pt>
                <c:pt idx="1111" formatCode="0.0%">
                  <c:v>0.22071309396190686</c:v>
                </c:pt>
                <c:pt idx="1112" formatCode="0.0%">
                  <c:v>0.2067573323801129</c:v>
                </c:pt>
                <c:pt idx="1113" formatCode="0.0%">
                  <c:v>0.21177603822831315</c:v>
                </c:pt>
                <c:pt idx="1114" formatCode="0.0%">
                  <c:v>0.21636533797269508</c:v>
                </c:pt>
                <c:pt idx="1115" formatCode="0.0%">
                  <c:v>0.21636533797269508</c:v>
                </c:pt>
                <c:pt idx="1116" formatCode="0.0%">
                  <c:v>0.21636533797269508</c:v>
                </c:pt>
                <c:pt idx="1117" formatCode="0.0%">
                  <c:v>0.22936834714285653</c:v>
                </c:pt>
                <c:pt idx="1118" formatCode="0.0%">
                  <c:v>0.22646984465499415</c:v>
                </c:pt>
                <c:pt idx="1119" formatCode="0.0%">
                  <c:v>0.2340173059373474</c:v>
                </c:pt>
                <c:pt idx="1120" formatCode="0.0%">
                  <c:v>0.24046562574792518</c:v>
                </c:pt>
                <c:pt idx="1121" formatCode="0.0%">
                  <c:v>0.2402897593199782</c:v>
                </c:pt>
                <c:pt idx="1122" formatCode="0.0%">
                  <c:v>0.2402897593199782</c:v>
                </c:pt>
                <c:pt idx="1123" formatCode="0.0%">
                  <c:v>0.2402897593199782</c:v>
                </c:pt>
                <c:pt idx="1124" formatCode="0.0%">
                  <c:v>0.25460795392027791</c:v>
                </c:pt>
                <c:pt idx="1125" formatCode="0.0%">
                  <c:v>0.25676228041522448</c:v>
                </c:pt>
                <c:pt idx="1126" formatCode="0.0%">
                  <c:v>0.24446651136020223</c:v>
                </c:pt>
                <c:pt idx="1127" formatCode="0.0%">
                  <c:v>0.25567778958803844</c:v>
                </c:pt>
                <c:pt idx="1128" formatCode="0.0%">
                  <c:v>0.26175972589813329</c:v>
                </c:pt>
                <c:pt idx="1129" formatCode="0.0%">
                  <c:v>0.26175972589813329</c:v>
                </c:pt>
                <c:pt idx="1130" formatCode="0.0%">
                  <c:v>0.26175972589813329</c:v>
                </c:pt>
                <c:pt idx="1131" formatCode="0.0%">
                  <c:v>0.27096322922528104</c:v>
                </c:pt>
                <c:pt idx="1132" formatCode="0.0%">
                  <c:v>0.26967356616613286</c:v>
                </c:pt>
                <c:pt idx="1133" formatCode="0.0%">
                  <c:v>0.27877448789213616</c:v>
                </c:pt>
                <c:pt idx="1134" formatCode="0.0%">
                  <c:v>0.27697188973824666</c:v>
                </c:pt>
                <c:pt idx="1135" formatCode="0.0%">
                  <c:v>0.27899431528352392</c:v>
                </c:pt>
                <c:pt idx="1136" formatCode="0.0%">
                  <c:v>0.27899431528352392</c:v>
                </c:pt>
                <c:pt idx="1137" formatCode="0.0%">
                  <c:v>0.27899431528352392</c:v>
                </c:pt>
                <c:pt idx="1138" formatCode="0.0%">
                  <c:v>0.28342020503398774</c:v>
                </c:pt>
                <c:pt idx="1139" formatCode="0.0%">
                  <c:v>0.27700120005709833</c:v>
                </c:pt>
                <c:pt idx="1140" formatCode="0.0%">
                  <c:v>0.27722102744848615</c:v>
                </c:pt>
                <c:pt idx="1141" formatCode="0.0%">
                  <c:v>0.27896500496467241</c:v>
                </c:pt>
                <c:pt idx="1142" formatCode="0.0%">
                  <c:v>0.27975638808850506</c:v>
                </c:pt>
                <c:pt idx="1143" formatCode="0.0%">
                  <c:v>0.27975638808850506</c:v>
                </c:pt>
                <c:pt idx="1144" formatCode="0.0%">
                  <c:v>0.27975638808850506</c:v>
                </c:pt>
                <c:pt idx="1145" formatCode="0.0%">
                  <c:v>0.2801960473861172</c:v>
                </c:pt>
                <c:pt idx="1146" formatCode="0.0%">
                  <c:v>0.26929253202106068</c:v>
                </c:pt>
                <c:pt idx="1147" formatCode="0.0%">
                  <c:v>0.26715286068553978</c:v>
                </c:pt>
                <c:pt idx="1148" formatCode="0.0%">
                  <c:v>0.28768488803076708</c:v>
                </c:pt>
                <c:pt idx="1149" formatCode="0.0%">
                  <c:v>0.29263836803539817</c:v>
                </c:pt>
                <c:pt idx="1150" formatCode="0.0%">
                  <c:v>0.29263836803539817</c:v>
                </c:pt>
                <c:pt idx="1151" formatCode="0.0%">
                  <c:v>0.29263836803539817</c:v>
                </c:pt>
                <c:pt idx="1152" formatCode="0.0%">
                  <c:v>0.28695212554463778</c:v>
                </c:pt>
                <c:pt idx="1153" formatCode="0.0%">
                  <c:v>0.28273140802613594</c:v>
                </c:pt>
                <c:pt idx="1154" formatCode="0.0%">
                  <c:v>0.28152967592354289</c:v>
                </c:pt>
                <c:pt idx="1155" formatCode="0.0%">
                  <c:v>0.28619005273965681</c:v>
                </c:pt>
                <c:pt idx="1156" formatCode="0.0%">
                  <c:v>0.29319526860841705</c:v>
                </c:pt>
                <c:pt idx="1157" formatCode="0.0%">
                  <c:v>0.29319526860841705</c:v>
                </c:pt>
                <c:pt idx="1158" formatCode="0.0%">
                  <c:v>0.29319526860841705</c:v>
                </c:pt>
                <c:pt idx="1159" formatCode="0.0%">
                  <c:v>0.29789960638797169</c:v>
                </c:pt>
                <c:pt idx="1160" formatCode="0.0%">
                  <c:v>0.28825644376321208</c:v>
                </c:pt>
                <c:pt idx="1161" formatCode="0.0%">
                  <c:v>0.29033748994619285</c:v>
                </c:pt>
                <c:pt idx="1162" formatCode="0.0%">
                  <c:v>0.3073522564550325</c:v>
                </c:pt>
                <c:pt idx="1163" formatCode="0.0%">
                  <c:v>0.3120859045534391</c:v>
                </c:pt>
                <c:pt idx="1164" formatCode="0.0%">
                  <c:v>0.3120859045534391</c:v>
                </c:pt>
                <c:pt idx="1165" formatCode="0.0%">
                  <c:v>0.3120859045534391</c:v>
                </c:pt>
                <c:pt idx="1166" formatCode="0.0%">
                  <c:v>0.29432372491388092</c:v>
                </c:pt>
                <c:pt idx="1167" formatCode="0.0%">
                  <c:v>0.31270142576416132</c:v>
                </c:pt>
                <c:pt idx="1168" formatCode="0.0%">
                  <c:v>0.31210055971286466</c:v>
                </c:pt>
                <c:pt idx="1169" formatCode="0.0%">
                  <c:v>0.31802128926927509</c:v>
                </c:pt>
                <c:pt idx="1170" formatCode="0.0%">
                  <c:v>0.30264791416064102</c:v>
                </c:pt>
                <c:pt idx="1171" formatCode="0.0%">
                  <c:v>0.30264791416064102</c:v>
                </c:pt>
                <c:pt idx="1172" formatCode="0.0%">
                  <c:v>0.30264791416064102</c:v>
                </c:pt>
                <c:pt idx="1173" formatCode="0.0%">
                  <c:v>0.30634104142497537</c:v>
                </c:pt>
                <c:pt idx="1174" formatCode="0.0%">
                  <c:v>0.30280912091432527</c:v>
                </c:pt>
                <c:pt idx="1175" formatCode="0.0%">
                  <c:v>0.30609190371473571</c:v>
                </c:pt>
                <c:pt idx="1176" formatCode="0.0%">
                  <c:v>0.32062992570642335</c:v>
                </c:pt>
                <c:pt idx="1177" formatCode="0.0%">
                  <c:v>0.31800663410984925</c:v>
                </c:pt>
                <c:pt idx="1178" formatCode="0.0%">
                  <c:v>0.31800663410984925</c:v>
                </c:pt>
                <c:pt idx="1179" formatCode="0.0%">
                  <c:v>0.31800663410984925</c:v>
                </c:pt>
                <c:pt idx="1180" formatCode="0.0%">
                  <c:v>0.30771863544067857</c:v>
                </c:pt>
                <c:pt idx="1181" formatCode="0.0%">
                  <c:v>0.3083048463325494</c:v>
                </c:pt>
                <c:pt idx="1182" formatCode="0.0%">
                  <c:v>0.30467033970591845</c:v>
                </c:pt>
                <c:pt idx="1183" formatCode="0.0%">
                  <c:v>0.30467033970591845</c:v>
                </c:pt>
                <c:pt idx="1184" formatCode="0.0%">
                  <c:v>0.30467033970591845</c:v>
                </c:pt>
                <c:pt idx="1185" formatCode="0.0%">
                  <c:v>0.30467033970591845</c:v>
                </c:pt>
                <c:pt idx="1186" formatCode="0.0%">
                  <c:v>0.30924278556547674</c:v>
                </c:pt>
                <c:pt idx="1187" formatCode="0.0%">
                  <c:v>0.30924278556547674</c:v>
                </c:pt>
                <c:pt idx="1188" formatCode="0.0%">
                  <c:v>0.3078798421943631</c:v>
                </c:pt>
                <c:pt idx="1189" formatCode="0.0%">
                  <c:v>0.30338067664677026</c:v>
                </c:pt>
                <c:pt idx="1190" formatCode="0.0%">
                  <c:v>0.30862726435475479</c:v>
                </c:pt>
                <c:pt idx="1191" formatCode="0.0%">
                  <c:v>0.29743064128634444</c:v>
                </c:pt>
                <c:pt idx="1192" formatCode="0.0%">
                  <c:v>0.29743064128634444</c:v>
                </c:pt>
                <c:pt idx="1193" formatCode="0.0%">
                  <c:v>0.29743064128634444</c:v>
                </c:pt>
                <c:pt idx="1194" formatCode="0.0%">
                  <c:v>0.30490482677156849</c:v>
                </c:pt>
                <c:pt idx="1195" formatCode="0.0%">
                  <c:v>0.29803150733764111</c:v>
                </c:pt>
                <c:pt idx="1196" formatCode="0.0%">
                  <c:v>0.30918416492777367</c:v>
                </c:pt>
                <c:pt idx="1197" formatCode="0.0%">
                  <c:v>0.30316084925538206</c:v>
                </c:pt>
                <c:pt idx="1198" formatCode="0.0%">
                  <c:v>0.31179280136492193</c:v>
                </c:pt>
                <c:pt idx="1199" formatCode="0.0%">
                  <c:v>0.31179280136492193</c:v>
                </c:pt>
                <c:pt idx="1200" formatCode="0.0%">
                  <c:v>0.31179280136492193</c:v>
                </c:pt>
                <c:pt idx="1201" formatCode="0.0%">
                  <c:v>0.31091348276969738</c:v>
                </c:pt>
                <c:pt idx="1202" formatCode="0.0%">
                  <c:v>0.28916506816245147</c:v>
                </c:pt>
                <c:pt idx="1203" formatCode="0.0%">
                  <c:v>0.28963403777891528</c:v>
                </c:pt>
                <c:pt idx="1204" formatCode="0.0%">
                  <c:v>0.28399176076643273</c:v>
                </c:pt>
                <c:pt idx="1205" formatCode="0.0%">
                  <c:v>0.27074340183389323</c:v>
                </c:pt>
                <c:pt idx="1206" formatCode="0.0%">
                  <c:v>0.27074340183389323</c:v>
                </c:pt>
                <c:pt idx="1207" formatCode="0.0%">
                  <c:v>0.27074340183389323</c:v>
                </c:pt>
                <c:pt idx="1208" formatCode="0.0%">
                  <c:v>0.27291237897342913</c:v>
                </c:pt>
                <c:pt idx="1209" formatCode="0.0%">
                  <c:v>0.28607281146424979</c:v>
                </c:pt>
                <c:pt idx="1210" formatCode="0.0%">
                  <c:v>0.29480734517493373</c:v>
                </c:pt>
                <c:pt idx="1211" formatCode="0.0%">
                  <c:v>0.27572619215737587</c:v>
                </c:pt>
                <c:pt idx="1212" formatCode="0.0%">
                  <c:v>0.30261860384178901</c:v>
                </c:pt>
                <c:pt idx="1213" formatCode="0.0%">
                  <c:v>0.30261860384178901</c:v>
                </c:pt>
                <c:pt idx="1214" formatCode="0.0%">
                  <c:v>0.30261860384178901</c:v>
                </c:pt>
                <c:pt idx="1215" formatCode="0.0%">
                  <c:v>0.30311688377710483</c:v>
                </c:pt>
                <c:pt idx="1216" formatCode="0.0%">
                  <c:v>0.29405992752937893</c:v>
                </c:pt>
                <c:pt idx="1217" formatCode="0.0%">
                  <c:v>0.29514441835656496</c:v>
                </c:pt>
                <c:pt idx="1218" formatCode="0.0%">
                  <c:v>0.29417716880478595</c:v>
                </c:pt>
                <c:pt idx="1219" formatCode="0.0%">
                  <c:v>0.29905737301228752</c:v>
                </c:pt>
                <c:pt idx="1220" formatCode="0.0%">
                  <c:v>0.29905737301228752</c:v>
                </c:pt>
                <c:pt idx="1221" formatCode="0.0%">
                  <c:v>0.29905737301228752</c:v>
                </c:pt>
                <c:pt idx="1222" formatCode="0.0%">
                  <c:v>0.30642897238153038</c:v>
                </c:pt>
                <c:pt idx="1223" formatCode="0.0%">
                  <c:v>0.31756697481223684</c:v>
                </c:pt>
                <c:pt idx="1224" formatCode="0.0%">
                  <c:v>0.31958940035751454</c:v>
                </c:pt>
                <c:pt idx="1225" formatCode="0.0%">
                  <c:v>0.31958940035751454</c:v>
                </c:pt>
                <c:pt idx="1226" formatCode="0.0%">
                  <c:v>0.31958940035751454</c:v>
                </c:pt>
                <c:pt idx="1227" formatCode="0.0%">
                  <c:v>0.31958940035751454</c:v>
                </c:pt>
                <c:pt idx="1228" formatCode="0.0%">
                  <c:v>0.31958940035751454</c:v>
                </c:pt>
                <c:pt idx="1229" formatCode="0.0%">
                  <c:v>0.32577392278359041</c:v>
                </c:pt>
                <c:pt idx="1230" formatCode="0.0%">
                  <c:v>0.32202217488155271</c:v>
                </c:pt>
                <c:pt idx="1231" formatCode="0.0%">
                  <c:v>0.33157740654975754</c:v>
                </c:pt>
                <c:pt idx="1232" formatCode="0.0%">
                  <c:v>0.33543174508261275</c:v>
                </c:pt>
                <c:pt idx="1233" formatCode="0.0%">
                  <c:v>0.33188516941253682</c:v>
                </c:pt>
                <c:pt idx="1234" formatCode="0.0%">
                  <c:v>0.33188516941253682</c:v>
                </c:pt>
                <c:pt idx="1235" formatCode="0.0%">
                  <c:v>0.33188516941253682</c:v>
                </c:pt>
                <c:pt idx="1236" formatCode="0.0%">
                  <c:v>0.33188516941253682</c:v>
                </c:pt>
                <c:pt idx="1237" formatCode="0.0%">
                  <c:v>0.33137223431779544</c:v>
                </c:pt>
                <c:pt idx="1238" formatCode="0.0%">
                  <c:v>0.33245672514498181</c:v>
                </c:pt>
                <c:pt idx="1239" formatCode="0.0%">
                  <c:v>0.33727830419994348</c:v>
                </c:pt>
                <c:pt idx="1240" formatCode="0.0%">
                  <c:v>0.33017050221520239</c:v>
                </c:pt>
                <c:pt idx="1241" formatCode="0.0%">
                  <c:v>0.33017050221520239</c:v>
                </c:pt>
                <c:pt idx="1242" formatCode="0.0%">
                  <c:v>0.33017050221520239</c:v>
                </c:pt>
                <c:pt idx="1243" formatCode="0.0%">
                  <c:v>0.33128430336124043</c:v>
                </c:pt>
                <c:pt idx="1244" formatCode="0.0%">
                  <c:v>0.32479201807238522</c:v>
                </c:pt>
                <c:pt idx="1245" formatCode="0.0%">
                  <c:v>0.32010233545225586</c:v>
                </c:pt>
                <c:pt idx="1246" formatCode="0.0%">
                  <c:v>0.31277470156129084</c:v>
                </c:pt>
                <c:pt idx="1247" formatCode="0.0%">
                  <c:v>0.31737645773970113</c:v>
                </c:pt>
                <c:pt idx="1248" formatCode="0.0%">
                  <c:v>0.31737645773970113</c:v>
                </c:pt>
                <c:pt idx="1249" formatCode="0.0%">
                  <c:v>0.31737645773970113</c:v>
                </c:pt>
                <c:pt idx="1250" formatCode="0.0%">
                  <c:v>0.3220075197221266</c:v>
                </c:pt>
                <c:pt idx="1251" formatCode="0.0%">
                  <c:v>0.31576437665834761</c:v>
                </c:pt>
                <c:pt idx="1252" formatCode="0.0%">
                  <c:v>0.31576437665834761</c:v>
                </c:pt>
                <c:pt idx="1253" formatCode="0.0%">
                  <c:v>0.34448869681550209</c:v>
                </c:pt>
                <c:pt idx="1254" formatCode="0.0%">
                  <c:v>0.35402927332428108</c:v>
                </c:pt>
                <c:pt idx="1255" formatCode="0.0%">
                  <c:v>0.35402927332428108</c:v>
                </c:pt>
                <c:pt idx="1256" formatCode="0.0%">
                  <c:v>0.35402927332428108</c:v>
                </c:pt>
                <c:pt idx="1257" formatCode="0.0%">
                  <c:v>0.35611032402209841</c:v>
                </c:pt>
                <c:pt idx="1258" formatCode="0.0%">
                  <c:v>0.35376548045461559</c:v>
                </c:pt>
                <c:pt idx="1259" formatCode="0.0%">
                  <c:v>0.36129828657754304</c:v>
                </c:pt>
                <c:pt idx="1260" formatCode="0.0%">
                  <c:v>0.35413185944026199</c:v>
                </c:pt>
                <c:pt idx="1261" formatCode="0.0%">
                  <c:v>0.36094655823648625</c:v>
                </c:pt>
                <c:pt idx="1262" formatCode="0.0%">
                  <c:v>0.36094655823648625</c:v>
                </c:pt>
                <c:pt idx="1263" formatCode="0.0%">
                  <c:v>0.36094655823648625</c:v>
                </c:pt>
                <c:pt idx="1264" formatCode="0.0%">
                  <c:v>0.35460082905672607</c:v>
                </c:pt>
                <c:pt idx="1265" formatCode="0.0%">
                  <c:v>0.3598034512864331</c:v>
                </c:pt>
                <c:pt idx="1266" formatCode="0.0%">
                  <c:v>0.36266122543382068</c:v>
                </c:pt>
                <c:pt idx="1267" formatCode="0.0%">
                  <c:v>0.3693440277952118</c:v>
                </c:pt>
                <c:pt idx="1268" formatCode="0.0%">
                  <c:v>0.37123455690565665</c:v>
                </c:pt>
                <c:pt idx="1269" formatCode="0.0%">
                  <c:v>0.37123455690565665</c:v>
                </c:pt>
                <c:pt idx="1270" formatCode="0.0%">
                  <c:v>0.37123455690565665</c:v>
                </c:pt>
                <c:pt idx="1271" formatCode="0.0%">
                  <c:v>0.37450268003180498</c:v>
                </c:pt>
                <c:pt idx="1272" formatCode="0.0%">
                  <c:v>0.37715528194723047</c:v>
                </c:pt>
                <c:pt idx="1273" formatCode="0.0%">
                  <c:v>0.37390181398050826</c:v>
                </c:pt>
                <c:pt idx="1274" formatCode="0.0%">
                  <c:v>0.37749235512886176</c:v>
                </c:pt>
                <c:pt idx="1275" formatCode="0.0%">
                  <c:v>0.38248980061177063</c:v>
                </c:pt>
                <c:pt idx="1276" formatCode="0.0%">
                  <c:v>0.38248980061177063</c:v>
                </c:pt>
                <c:pt idx="1277" formatCode="0.0%">
                  <c:v>0.36869919626563785</c:v>
                </c:pt>
                <c:pt idx="1278" formatCode="0.0%">
                  <c:v>0.36611987014734126</c:v>
                </c:pt>
                <c:pt idx="1279" formatCode="0.0%">
                  <c:v>0.36833281276515495</c:v>
                </c:pt>
                <c:pt idx="1280" formatCode="0.0%">
                  <c:v>0.37500095996712046</c:v>
                </c:pt>
                <c:pt idx="1281" formatCode="0.0%">
                  <c:v>0.37554320538071351</c:v>
                </c:pt>
                <c:pt idx="1282" formatCode="0.0%">
                  <c:v>0.37133714302163784</c:v>
                </c:pt>
                <c:pt idx="1283" formatCode="0.0%">
                  <c:v>0.37133714302163784</c:v>
                </c:pt>
                <c:pt idx="1284" formatCode="0.0%">
                  <c:v>0.37133714302163784</c:v>
                </c:pt>
                <c:pt idx="1285" formatCode="0.0%">
                  <c:v>0.3767889029615844</c:v>
                </c:pt>
                <c:pt idx="1286" formatCode="0.0%">
                  <c:v>0.37426819748099122</c:v>
                </c:pt>
                <c:pt idx="1287" formatCode="0.0%">
                  <c:v>0.37579234309095311</c:v>
                </c:pt>
                <c:pt idx="1288" formatCode="0.0%">
                  <c:v>0.38122944787147389</c:v>
                </c:pt>
                <c:pt idx="1289" formatCode="0.0%">
                  <c:v>0.38580188921619596</c:v>
                </c:pt>
                <c:pt idx="1290" formatCode="0.0%">
                  <c:v>0.38580188921619596</c:v>
                </c:pt>
                <c:pt idx="1291" formatCode="0.0%">
                  <c:v>0.38580188921619596</c:v>
                </c:pt>
                <c:pt idx="1292" formatCode="0.0%">
                  <c:v>0.38011564672543585</c:v>
                </c:pt>
                <c:pt idx="1293" formatCode="0.0%">
                  <c:v>0.37976391838437851</c:v>
                </c:pt>
                <c:pt idx="1294" formatCode="0.0%">
                  <c:v>0.35864568466211721</c:v>
                </c:pt>
                <c:pt idx="1295" formatCode="0.0%">
                  <c:v>0.34835768599294681</c:v>
                </c:pt>
                <c:pt idx="1296" formatCode="0.0%">
                  <c:v>0.33837745018655541</c:v>
                </c:pt>
                <c:pt idx="1297" formatCode="0.0%">
                  <c:v>0.33837745018655541</c:v>
                </c:pt>
                <c:pt idx="1298" formatCode="0.0%">
                  <c:v>0.33837745018655541</c:v>
                </c:pt>
                <c:pt idx="1299" formatCode="0.0%">
                  <c:v>0.34336024051003816</c:v>
                </c:pt>
                <c:pt idx="1300" formatCode="0.0%">
                  <c:v>0.35115684401746761</c:v>
                </c:pt>
                <c:pt idx="1301" formatCode="0.0%">
                  <c:v>0.33115240692640779</c:v>
                </c:pt>
                <c:pt idx="1302" formatCode="0.0%">
                  <c:v>0.31308246442407012</c:v>
                </c:pt>
                <c:pt idx="1303" formatCode="0.0%">
                  <c:v>0.32446960456501617</c:v>
                </c:pt>
                <c:pt idx="1304" formatCode="0.0%">
                  <c:v>0.32446960456501617</c:v>
                </c:pt>
                <c:pt idx="1305" formatCode="0.0%">
                  <c:v>0.32446960456501617</c:v>
                </c:pt>
                <c:pt idx="1306" formatCode="0.0%">
                  <c:v>0.32980412322955599</c:v>
                </c:pt>
                <c:pt idx="1307" formatCode="0.0%">
                  <c:v>0.3347722538787764</c:v>
                </c:pt>
                <c:pt idx="1308" formatCode="0.0%">
                  <c:v>0.34891458656596569</c:v>
                </c:pt>
                <c:pt idx="1309" formatCode="0.0%">
                  <c:v>0.34574904955579855</c:v>
                </c:pt>
                <c:pt idx="1310" formatCode="0.0%">
                  <c:v>0.28929696911212061</c:v>
                </c:pt>
                <c:pt idx="1311" formatCode="0.0%">
                  <c:v>0.28929696911212061</c:v>
                </c:pt>
                <c:pt idx="1312" formatCode="0.0%">
                  <c:v>0.28929696911212061</c:v>
                </c:pt>
                <c:pt idx="1313" formatCode="0.0%">
                  <c:v>0.25602951341425878</c:v>
                </c:pt>
                <c:pt idx="1314" formatCode="0.0%">
                  <c:v>0.28796334057469464</c:v>
                </c:pt>
                <c:pt idx="1315" formatCode="0.0%">
                  <c:v>0.29611166790834459</c:v>
                </c:pt>
                <c:pt idx="1316" formatCode="0.0%">
                  <c:v>0.30258929352293734</c:v>
                </c:pt>
                <c:pt idx="1317" formatCode="0.0%">
                  <c:v>0.30755742868699426</c:v>
                </c:pt>
                <c:pt idx="1318" formatCode="0.0%">
                  <c:v>0.30755742868699426</c:v>
                </c:pt>
                <c:pt idx="1319" formatCode="0.0%">
                  <c:v>0.30755742868699426</c:v>
                </c:pt>
                <c:pt idx="1320" formatCode="0.0%">
                  <c:v>0.3103565821966785</c:v>
                </c:pt>
                <c:pt idx="1321" formatCode="0.0%">
                  <c:v>0.31180745652434749</c:v>
                </c:pt>
                <c:pt idx="1322" formatCode="0.0%">
                  <c:v>0.30884709174614244</c:v>
                </c:pt>
                <c:pt idx="1323" formatCode="0.0%">
                  <c:v>0.32984808870783355</c:v>
                </c:pt>
                <c:pt idx="1324" formatCode="0.0%">
                  <c:v>0.33657485203266591</c:v>
                </c:pt>
                <c:pt idx="1325" formatCode="0.0%">
                  <c:v>0.33657485203266591</c:v>
                </c:pt>
                <c:pt idx="1326" formatCode="0.0%">
                  <c:v>0.33657485203266591</c:v>
                </c:pt>
                <c:pt idx="1327" formatCode="0.0%">
                  <c:v>0.33396621559551787</c:v>
                </c:pt>
                <c:pt idx="1328" formatCode="0.0%">
                  <c:v>0.33527053381409189</c:v>
                </c:pt>
                <c:pt idx="1329" formatCode="0.0%">
                  <c:v>0.34146971139959365</c:v>
                </c:pt>
                <c:pt idx="1330" formatCode="0.0%">
                  <c:v>0.34204126713203836</c:v>
                </c:pt>
                <c:pt idx="1331" formatCode="0.0%">
                  <c:v>0.33727830419994348</c:v>
                </c:pt>
                <c:pt idx="1332" formatCode="0.0%">
                  <c:v>0.33727830419994348</c:v>
                </c:pt>
                <c:pt idx="1333" formatCode="0.0%">
                  <c:v>0.33727830419994348</c:v>
                </c:pt>
                <c:pt idx="1334" formatCode="0.0%">
                  <c:v>0.33617916272816784</c:v>
                </c:pt>
                <c:pt idx="1335" formatCode="0.0%">
                  <c:v>0.33692658037372325</c:v>
                </c:pt>
                <c:pt idx="1336" formatCode="0.0%">
                  <c:v>0.34491370095368834</c:v>
                </c:pt>
                <c:pt idx="1337" formatCode="0.0%">
                  <c:v>0.35674050039224681</c:v>
                </c:pt>
                <c:pt idx="1338" formatCode="0.0%">
                  <c:v>0.35986207192413644</c:v>
                </c:pt>
                <c:pt idx="1339" formatCode="0.0%">
                  <c:v>0.36409744008722728</c:v>
                </c:pt>
                <c:pt idx="1340" formatCode="0.0%">
                  <c:v>0.36409744008722728</c:v>
                </c:pt>
                <c:pt idx="1341" formatCode="0.0%">
                  <c:v>0.36099052371476348</c:v>
                </c:pt>
                <c:pt idx="1342" formatCode="0.0%">
                  <c:v>0.35313530408446725</c:v>
                </c:pt>
                <c:pt idx="1343" formatCode="0.0%">
                  <c:v>0.33623778336587151</c:v>
                </c:pt>
                <c:pt idx="1344" formatCode="0.0%">
                  <c:v>0.33043429959970411</c:v>
                </c:pt>
                <c:pt idx="1345" formatCode="0.0%">
                  <c:v>0.31652644946332825</c:v>
                </c:pt>
                <c:pt idx="1346" formatCode="0.0%">
                  <c:v>0.31652644946332825</c:v>
                </c:pt>
                <c:pt idx="1347" formatCode="0.0%">
                  <c:v>0.31652644946332825</c:v>
                </c:pt>
                <c:pt idx="1348" formatCode="0.0%">
                  <c:v>0.32611099596522164</c:v>
                </c:pt>
                <c:pt idx="1349" formatCode="0.0%">
                  <c:v>0.32879290819949886</c:v>
                </c:pt>
                <c:pt idx="1350" formatCode="0.0%">
                  <c:v>0.32272562704883001</c:v>
                </c:pt>
                <c:pt idx="1351" formatCode="0.0%">
                  <c:v>0.3486801040151522</c:v>
                </c:pt>
                <c:pt idx="1352" formatCode="0.0%">
                  <c:v>0.35228529580809492</c:v>
                </c:pt>
                <c:pt idx="1353" formatCode="0.0%">
                  <c:v>0.35228529580809492</c:v>
                </c:pt>
                <c:pt idx="1354" formatCode="0.0%">
                  <c:v>0.35228529580809492</c:v>
                </c:pt>
                <c:pt idx="1355" formatCode="0.0%">
                  <c:v>0.34513352834507627</c:v>
                </c:pt>
                <c:pt idx="1356" formatCode="0.0%">
                  <c:v>0.3525930586708742</c:v>
                </c:pt>
                <c:pt idx="1357" formatCode="0.0%">
                  <c:v>0.34443007617779869</c:v>
                </c:pt>
                <c:pt idx="1358" formatCode="0.0%">
                  <c:v>0.36181122167228463</c:v>
                </c:pt>
                <c:pt idx="1359" formatCode="0.0%">
                  <c:v>0.3522266751703913</c:v>
                </c:pt>
                <c:pt idx="1360" formatCode="0.0%">
                  <c:v>0.3522266751703913</c:v>
                </c:pt>
                <c:pt idx="1361" formatCode="0.0%">
                  <c:v>0.3522266751703913</c:v>
                </c:pt>
                <c:pt idx="1362" formatCode="0.0%">
                  <c:v>0.35779567638574489</c:v>
                </c:pt>
                <c:pt idx="1363" formatCode="0.0%">
                  <c:v>0.35603704822496923</c:v>
                </c:pt>
                <c:pt idx="1364" formatCode="0.0%">
                  <c:v>0.35849912855302224</c:v>
                </c:pt>
                <c:pt idx="1365" formatCode="0.0%">
                  <c:v>0.37538199411219236</c:v>
                </c:pt>
                <c:pt idx="1366" formatCode="0.0%">
                  <c:v>0.37769752736082379</c:v>
                </c:pt>
                <c:pt idx="1367" formatCode="0.0%">
                  <c:v>0.37769752736082379</c:v>
                </c:pt>
                <c:pt idx="1368" formatCode="0.0%">
                  <c:v>0.37769752736082379</c:v>
                </c:pt>
                <c:pt idx="1369" formatCode="0.0%">
                  <c:v>0.36575348664685864</c:v>
                </c:pt>
                <c:pt idx="1370" formatCode="0.0%">
                  <c:v>0.36869919626563785</c:v>
                </c:pt>
                <c:pt idx="1371" formatCode="0.0%">
                  <c:v>0.37211387098604459</c:v>
                </c:pt>
                <c:pt idx="1372" formatCode="0.0%">
                  <c:v>0.36554831441489655</c:v>
                </c:pt>
                <c:pt idx="1373" formatCode="0.0%">
                  <c:v>0.36975437225913593</c:v>
                </c:pt>
                <c:pt idx="1374" formatCode="0.0%">
                  <c:v>0.36975437225913593</c:v>
                </c:pt>
                <c:pt idx="1375" formatCode="0.0%">
                  <c:v>0.36975437225913593</c:v>
                </c:pt>
                <c:pt idx="1376" formatCode="0.0%">
                  <c:v>0.36865523078736034</c:v>
                </c:pt>
                <c:pt idx="1377" formatCode="0.0%">
                  <c:v>0.36302760893430358</c:v>
                </c:pt>
                <c:pt idx="1378" formatCode="0.0%">
                  <c:v>0.36827419212745155</c:v>
                </c:pt>
                <c:pt idx="1379" formatCode="0.0%">
                  <c:v>0.37497164964826879</c:v>
                </c:pt>
                <c:pt idx="1380" formatCode="0.0%">
                  <c:v>0.38196221035760286</c:v>
                </c:pt>
                <c:pt idx="1381" formatCode="0.0%">
                  <c:v>0.38196221035760286</c:v>
                </c:pt>
                <c:pt idx="1382" formatCode="0.0%">
                  <c:v>0.38196221035760286</c:v>
                </c:pt>
                <c:pt idx="1383" formatCode="0.0%">
                  <c:v>0.39266055349069773</c:v>
                </c:pt>
                <c:pt idx="1384" formatCode="0.0%">
                  <c:v>0.38737000481927197</c:v>
                </c:pt>
                <c:pt idx="1385" formatCode="0.0%">
                  <c:v>0.37423888716213954</c:v>
                </c:pt>
                <c:pt idx="1386" formatCode="0.0%">
                  <c:v>0.39033036508264074</c:v>
                </c:pt>
                <c:pt idx="1387" formatCode="0.0%">
                  <c:v>0.38574326857849284</c:v>
                </c:pt>
                <c:pt idx="1388" formatCode="0.0%">
                  <c:v>0.38574326857849284</c:v>
                </c:pt>
                <c:pt idx="1389" formatCode="0.0%">
                  <c:v>0.38574326857849284</c:v>
                </c:pt>
                <c:pt idx="1390" formatCode="0.0%">
                  <c:v>0.38776569412377027</c:v>
                </c:pt>
                <c:pt idx="1391" formatCode="0.0%">
                  <c:v>0.3816984174879377</c:v>
                </c:pt>
                <c:pt idx="1392" formatCode="0.0%">
                  <c:v>0.38251911093062207</c:v>
                </c:pt>
                <c:pt idx="1393" formatCode="0.0%">
                  <c:v>0.37220180194259966</c:v>
                </c:pt>
                <c:pt idx="1394" formatCode="0.0%">
                  <c:v>0.37498630480769435</c:v>
                </c:pt>
                <c:pt idx="1395" formatCode="0.0%">
                  <c:v>0.37498630480769435</c:v>
                </c:pt>
                <c:pt idx="1396" formatCode="0.0%">
                  <c:v>0.37498630480769435</c:v>
                </c:pt>
                <c:pt idx="1397" formatCode="0.0%">
                  <c:v>0.37111731563025019</c:v>
                </c:pt>
                <c:pt idx="1398" formatCode="0.0%">
                  <c:v>0.37158628073187716</c:v>
                </c:pt>
                <c:pt idx="1399" formatCode="0.0%">
                  <c:v>0.36856729983080527</c:v>
                </c:pt>
                <c:pt idx="1400" formatCode="0.0%">
                  <c:v>0.34620336401283652</c:v>
                </c:pt>
                <c:pt idx="1401" formatCode="0.0%">
                  <c:v>0.35933448166996895</c:v>
                </c:pt>
                <c:pt idx="1402" formatCode="0.0%">
                  <c:v>0.35933448166996895</c:v>
                </c:pt>
                <c:pt idx="1403" formatCode="0.0%">
                  <c:v>0.35933448166996895</c:v>
                </c:pt>
                <c:pt idx="1404" formatCode="0.0%">
                  <c:v>0.34838699631179848</c:v>
                </c:pt>
                <c:pt idx="1405" formatCode="0.0%">
                  <c:v>0.35495255739778286</c:v>
                </c:pt>
                <c:pt idx="1406" formatCode="0.0%">
                  <c:v>0.38251911093062207</c:v>
                </c:pt>
                <c:pt idx="1407" formatCode="0.0%">
                  <c:v>0.38608034176012379</c:v>
                </c:pt>
                <c:pt idx="1408" formatCode="0.0%">
                  <c:v>0.39447780680401306</c:v>
                </c:pt>
                <c:pt idx="1409" formatCode="0.0%">
                  <c:v>0.39447780680401306</c:v>
                </c:pt>
                <c:pt idx="1410" formatCode="0.0%">
                  <c:v>0.39447780680401306</c:v>
                </c:pt>
                <c:pt idx="1411" formatCode="0.0%">
                  <c:v>0.41203481421160915</c:v>
                </c:pt>
                <c:pt idx="1412" formatCode="0.0%">
                  <c:v>0.39817093406834769</c:v>
                </c:pt>
                <c:pt idx="1413" formatCode="0.0%">
                  <c:v>0.39493212126105137</c:v>
                </c:pt>
                <c:pt idx="1414" formatCode="0.0%">
                  <c:v>0.40322700018895946</c:v>
                </c:pt>
                <c:pt idx="1415" formatCode="0.0%">
                  <c:v>0.38660792749945444</c:v>
                </c:pt>
                <c:pt idx="1416" formatCode="0.0%">
                  <c:v>0.38660792749945444</c:v>
                </c:pt>
                <c:pt idx="1417" formatCode="0.0%">
                  <c:v>0.38660792749945444</c:v>
                </c:pt>
                <c:pt idx="1418" formatCode="0.0%">
                  <c:v>0.3799251296528996</c:v>
                </c:pt>
                <c:pt idx="1419" formatCode="0.0%">
                  <c:v>0.37695010971526843</c:v>
                </c:pt>
                <c:pt idx="1420" formatCode="0.0%">
                  <c:v>0.38092168500869461</c:v>
                </c:pt>
                <c:pt idx="1421" formatCode="0.0%">
                  <c:v>0.38112686175549271</c:v>
                </c:pt>
                <c:pt idx="1422" formatCode="0.0%">
                  <c:v>0.40541063700275798</c:v>
                </c:pt>
                <c:pt idx="1423" formatCode="0.0%">
                  <c:v>0.40541063700275798</c:v>
                </c:pt>
                <c:pt idx="1424" formatCode="0.0%">
                  <c:v>0.40541063700275798</c:v>
                </c:pt>
                <c:pt idx="1425" formatCode="0.0%">
                  <c:v>0.40535201185021807</c:v>
                </c:pt>
                <c:pt idx="1426" formatCode="0.0%">
                  <c:v>0.40642184751797827</c:v>
                </c:pt>
                <c:pt idx="1427" formatCode="0.0%">
                  <c:v>0.4059675330609403</c:v>
                </c:pt>
                <c:pt idx="1428" formatCode="0.0%">
                  <c:v>0.41024687121714548</c:v>
                </c:pt>
                <c:pt idx="1429" formatCode="0.0%">
                  <c:v>0.41096497854384895</c:v>
                </c:pt>
                <c:pt idx="1430" formatCode="0.0%">
                  <c:v>0.413925343322054</c:v>
                </c:pt>
                <c:pt idx="1431" formatCode="0.0%">
                  <c:v>0.413925343322054</c:v>
                </c:pt>
                <c:pt idx="1432" formatCode="0.0%">
                  <c:v>0.43107200626572623</c:v>
                </c:pt>
                <c:pt idx="1433" formatCode="0.0%">
                  <c:v>0.43492634028374511</c:v>
                </c:pt>
                <c:pt idx="1434" formatCode="0.0%">
                  <c:v>0.44226862933413658</c:v>
                </c:pt>
                <c:pt idx="1435" formatCode="0.0%">
                  <c:v>0.43136510945424333</c:v>
                </c:pt>
                <c:pt idx="1436" formatCode="0.0%">
                  <c:v>0.4415798278114485</c:v>
                </c:pt>
                <c:pt idx="1437" formatCode="0.0%">
                  <c:v>0.4415798278114485</c:v>
                </c:pt>
                <c:pt idx="1438" formatCode="0.0%">
                  <c:v>0.4415798278114485</c:v>
                </c:pt>
                <c:pt idx="1439" formatCode="0.0%">
                  <c:v>0.43851688143209883</c:v>
                </c:pt>
                <c:pt idx="1440" formatCode="0.0%">
                  <c:v>0.44393932653835688</c:v>
                </c:pt>
                <c:pt idx="1441" formatCode="0.0%">
                  <c:v>0.45245403737248979</c:v>
                </c:pt>
                <c:pt idx="1442" formatCode="0.0%">
                  <c:v>0.45192644711832231</c:v>
                </c:pt>
                <c:pt idx="1443" formatCode="0.0%">
                  <c:v>0.43568841308872608</c:v>
                </c:pt>
                <c:pt idx="1444" formatCode="0.0%">
                  <c:v>0.43568841308872608</c:v>
                </c:pt>
                <c:pt idx="1445" formatCode="0.0%">
                  <c:v>0.43568841308872608</c:v>
                </c:pt>
                <c:pt idx="1446" formatCode="0.0%">
                  <c:v>0.43684617971304163</c:v>
                </c:pt>
                <c:pt idx="1447" formatCode="0.0%">
                  <c:v>0.4299142396414109</c:v>
                </c:pt>
                <c:pt idx="1448" formatCode="0.0%">
                  <c:v>0.43365133238402281</c:v>
                </c:pt>
                <c:pt idx="1449" formatCode="0.0%">
                  <c:v>0.40883996688259033</c:v>
                </c:pt>
                <c:pt idx="1450" formatCode="0.0%">
                  <c:v>0.39005191705354947</c:v>
                </c:pt>
                <c:pt idx="1451" formatCode="0.0%">
                  <c:v>0.39005191705354947</c:v>
                </c:pt>
                <c:pt idx="1452" formatCode="0.0%">
                  <c:v>0.39005191705354947</c:v>
                </c:pt>
                <c:pt idx="1453" formatCode="0.0%">
                  <c:v>0.40063301891123726</c:v>
                </c:pt>
                <c:pt idx="1454" formatCode="0.0%">
                  <c:v>0.40063301891123726</c:v>
                </c:pt>
                <c:pt idx="1455" formatCode="0.0%">
                  <c:v>0.40063301891123726</c:v>
                </c:pt>
                <c:pt idx="1456" formatCode="0.0%">
                  <c:v>0.40063301891123726</c:v>
                </c:pt>
                <c:pt idx="1457" formatCode="0.0%">
                  <c:v>0.40167354426014584</c:v>
                </c:pt>
                <c:pt idx="1458" formatCode="0.0%">
                  <c:v>0.40167354426014584</c:v>
                </c:pt>
                <c:pt idx="1459" formatCode="0.0%">
                  <c:v>0.40167354426014584</c:v>
                </c:pt>
                <c:pt idx="1460" formatCode="0.0%">
                  <c:v>0.38848380145047345</c:v>
                </c:pt>
                <c:pt idx="1461" formatCode="0.0%">
                  <c:v>0.39601660757340085</c:v>
                </c:pt>
                <c:pt idx="1462" formatCode="0.0%">
                  <c:v>0.39601660757340085</c:v>
                </c:pt>
                <c:pt idx="1463" formatCode="0.0%">
                  <c:v>0.41084773726844193</c:v>
                </c:pt>
                <c:pt idx="1464" formatCode="0.0%">
                  <c:v>0.40661236459051453</c:v>
                </c:pt>
                <c:pt idx="1465" formatCode="0.0%">
                  <c:v>0.40661236459051453</c:v>
                </c:pt>
                <c:pt idx="1466" formatCode="0.0%">
                  <c:v>0.40661236459051453</c:v>
                </c:pt>
                <c:pt idx="1467" formatCode="0.0%">
                  <c:v>0.40441407713212668</c:v>
                </c:pt>
                <c:pt idx="1468" formatCode="0.0%">
                  <c:v>0.40006146317879226</c:v>
                </c:pt>
                <c:pt idx="1469" formatCode="0.0%">
                  <c:v>0.40160026394818005</c:v>
                </c:pt>
                <c:pt idx="1470" formatCode="0.0%">
                  <c:v>0.40099939789688366</c:v>
                </c:pt>
                <c:pt idx="1471" formatCode="0.0%">
                  <c:v>0.39491746610162548</c:v>
                </c:pt>
                <c:pt idx="1472" formatCode="0.0%">
                  <c:v>0.39491746610162548</c:v>
                </c:pt>
                <c:pt idx="1473" formatCode="0.0%">
                  <c:v>0.39491746610162548</c:v>
                </c:pt>
                <c:pt idx="1474" formatCode="0.0%">
                  <c:v>0.3900665722129753</c:v>
                </c:pt>
                <c:pt idx="1475" formatCode="0.0%">
                  <c:v>0.38650534138347353</c:v>
                </c:pt>
                <c:pt idx="1476" formatCode="0.0%">
                  <c:v>0.40225975063718011</c:v>
                </c:pt>
                <c:pt idx="1477" formatCode="0.0%">
                  <c:v>0.41474603676473831</c:v>
                </c:pt>
                <c:pt idx="1478" formatCode="0.0%">
                  <c:v>0.42141418396670416</c:v>
                </c:pt>
                <c:pt idx="1479" formatCode="0.0%">
                  <c:v>0.42141418396670416</c:v>
                </c:pt>
                <c:pt idx="1480" formatCode="0.0%">
                  <c:v>0.42141418396670416</c:v>
                </c:pt>
                <c:pt idx="1481" formatCode="0.0%">
                  <c:v>0.41712019065107286</c:v>
                </c:pt>
                <c:pt idx="1482" formatCode="0.0%">
                  <c:v>0.4254590395720953</c:v>
                </c:pt>
                <c:pt idx="1483" formatCode="0.0%">
                  <c:v>0.4342521984353192</c:v>
                </c:pt>
                <c:pt idx="1484" formatCode="0.0%">
                  <c:v>0.43128195970958982</c:v>
                </c:pt>
                <c:pt idx="1485" formatCode="0.0%">
                  <c:v>0.42982118434537681</c:v>
                </c:pt>
                <c:pt idx="1486" formatCode="0.0%">
                  <c:v>0.42982118434537681</c:v>
                </c:pt>
                <c:pt idx="1487" formatCode="0.0%">
                  <c:v>0.42982118434537681</c:v>
                </c:pt>
                <c:pt idx="1488" formatCode="0.0%">
                  <c:v>0.41654437742776595</c:v>
                </c:pt>
                <c:pt idx="1489" formatCode="0.0%">
                  <c:v>0.43024318611726076</c:v>
                </c:pt>
                <c:pt idx="1490" formatCode="0.0%">
                  <c:v>0.43728736051056954</c:v>
                </c:pt>
                <c:pt idx="1491" formatCode="0.0%">
                  <c:v>0.44342260801059041</c:v>
                </c:pt>
                <c:pt idx="1492" formatCode="0.0%">
                  <c:v>0.45030447403009816</c:v>
                </c:pt>
                <c:pt idx="1493" formatCode="0.0%">
                  <c:v>0.45030447403009816</c:v>
                </c:pt>
                <c:pt idx="1494" formatCode="0.0%">
                  <c:v>0.45030447403009816</c:v>
                </c:pt>
                <c:pt idx="1495" formatCode="0.0%">
                  <c:v>0.4441043031805566</c:v>
                </c:pt>
                <c:pt idx="1496" formatCode="0.0%">
                  <c:v>0.44191314013423721</c:v>
                </c:pt>
                <c:pt idx="1497" formatCode="0.0%">
                  <c:v>0.43741720720961069</c:v>
                </c:pt>
                <c:pt idx="1498" formatCode="0.0%">
                  <c:v>0.45236578586253956</c:v>
                </c:pt>
                <c:pt idx="1499" formatCode="0.0%">
                  <c:v>0.44429907322911844</c:v>
                </c:pt>
                <c:pt idx="1500" formatCode="0.0%">
                  <c:v>0.44429907322911844</c:v>
                </c:pt>
                <c:pt idx="1501" formatCode="0.0%">
                  <c:v>0.44429907322911844</c:v>
                </c:pt>
                <c:pt idx="1502" formatCode="0.0%">
                  <c:v>0.44757769786507084</c:v>
                </c:pt>
                <c:pt idx="1503" formatCode="0.0%">
                  <c:v>0.44465615165148137</c:v>
                </c:pt>
                <c:pt idx="1504" formatCode="0.0%">
                  <c:v>0.43486897025576499</c:v>
                </c:pt>
                <c:pt idx="1505" formatCode="0.0%">
                  <c:v>0.44124768031648787</c:v>
                </c:pt>
                <c:pt idx="1506" formatCode="0.0%">
                  <c:v>0.43720620632366886</c:v>
                </c:pt>
                <c:pt idx="1507" formatCode="0.0%">
                  <c:v>0.43720620632366886</c:v>
                </c:pt>
                <c:pt idx="1508" formatCode="0.0%">
                  <c:v>0.43720620632366886</c:v>
                </c:pt>
                <c:pt idx="1509" formatCode="0.0%">
                  <c:v>0.44639284673632035</c:v>
                </c:pt>
                <c:pt idx="1510" formatCode="0.0%">
                  <c:v>0.44676615599606351</c:v>
                </c:pt>
                <c:pt idx="1511" formatCode="0.0%">
                  <c:v>0.44478599383568596</c:v>
                </c:pt>
                <c:pt idx="1512" formatCode="0.0%">
                  <c:v>0.43913767145706939</c:v>
                </c:pt>
                <c:pt idx="1513" formatCode="0.0%">
                  <c:v>0.44342260801059041</c:v>
                </c:pt>
                <c:pt idx="1514" formatCode="0.0%">
                  <c:v>0.44342260801059041</c:v>
                </c:pt>
                <c:pt idx="1515" formatCode="0.0%">
                  <c:v>0.44342260801059041</c:v>
                </c:pt>
                <c:pt idx="1516" formatCode="0.0%">
                  <c:v>0.43212595873852083</c:v>
                </c:pt>
                <c:pt idx="1517" formatCode="0.0%">
                  <c:v>0.424497478714363</c:v>
                </c:pt>
                <c:pt idx="1518" formatCode="0.0%">
                  <c:v>0.43821251372640091</c:v>
                </c:pt>
                <c:pt idx="1519" formatCode="0.0%">
                  <c:v>0.43905651727016848</c:v>
                </c:pt>
                <c:pt idx="1520" formatCode="0.0%">
                  <c:v>0.4337490424765349</c:v>
                </c:pt>
                <c:pt idx="1521" formatCode="0.0%">
                  <c:v>0.4337490424765349</c:v>
                </c:pt>
                <c:pt idx="1522" formatCode="0.0%">
                  <c:v>0.4337490424765349</c:v>
                </c:pt>
                <c:pt idx="1523" formatCode="0.0%">
                  <c:v>0.4290096424763698</c:v>
                </c:pt>
                <c:pt idx="1524" formatCode="0.0%">
                  <c:v>0.3971323230101339</c:v>
                </c:pt>
                <c:pt idx="1525" formatCode="0.0%">
                  <c:v>0.3891305292113964</c:v>
                </c:pt>
                <c:pt idx="1526" formatCode="0.0%">
                  <c:v>0.38835145353198641</c:v>
                </c:pt>
                <c:pt idx="1527" formatCode="0.0%">
                  <c:v>0.36213868728174731</c:v>
                </c:pt>
                <c:pt idx="1528" formatCode="0.0%">
                  <c:v>0.36213868728174731</c:v>
                </c:pt>
                <c:pt idx="1529" formatCode="0.0%">
                  <c:v>0.36213868728174731</c:v>
                </c:pt>
                <c:pt idx="1530" formatCode="0.0%">
                  <c:v>0.35170227239082491</c:v>
                </c:pt>
                <c:pt idx="1531" formatCode="0.0%">
                  <c:v>0.32638220219649411</c:v>
                </c:pt>
                <c:pt idx="1532" formatCode="0.0%">
                  <c:v>0.3232171934222029</c:v>
                </c:pt>
                <c:pt idx="1533" formatCode="0.0%">
                  <c:v>0.32005218464791169</c:v>
                </c:pt>
                <c:pt idx="1534" formatCode="0.0%">
                  <c:v>0.3277131263468297</c:v>
                </c:pt>
                <c:pt idx="1535" formatCode="0.0%">
                  <c:v>0.3277131263468297</c:v>
                </c:pt>
                <c:pt idx="1536" formatCode="0.0%">
                  <c:v>0.3277131263468297</c:v>
                </c:pt>
                <c:pt idx="1537" formatCode="0.0%">
                  <c:v>0.32576543037604894</c:v>
                </c:pt>
                <c:pt idx="1538" formatCode="0.0%">
                  <c:v>0.32357427184456611</c:v>
                </c:pt>
                <c:pt idx="1539" formatCode="0.0%">
                  <c:v>0.33211167876201186</c:v>
                </c:pt>
                <c:pt idx="1540" formatCode="0.0%">
                  <c:v>0.34115224163824165</c:v>
                </c:pt>
                <c:pt idx="1541" formatCode="0.0%">
                  <c:v>0.32889797747557992</c:v>
                </c:pt>
                <c:pt idx="1542" formatCode="0.0%">
                  <c:v>0.32889797747557992</c:v>
                </c:pt>
                <c:pt idx="1543" formatCode="0.0%">
                  <c:v>0.32889797747557992</c:v>
                </c:pt>
                <c:pt idx="1544" formatCode="0.0%">
                  <c:v>0.34577802577674588</c:v>
                </c:pt>
                <c:pt idx="1545" formatCode="0.0%">
                  <c:v>0.34701156490280027</c:v>
                </c:pt>
                <c:pt idx="1546" formatCode="0.0%">
                  <c:v>0.34383032529112884</c:v>
                </c:pt>
                <c:pt idx="1547" formatCode="0.0%">
                  <c:v>0.33500076330084055</c:v>
                </c:pt>
                <c:pt idx="1548" formatCode="0.0%">
                  <c:v>0.31552378553368809</c:v>
                </c:pt>
                <c:pt idx="1549" formatCode="0.0%">
                  <c:v>0.31552378553368809</c:v>
                </c:pt>
                <c:pt idx="1550" formatCode="0.0%">
                  <c:v>0.31552378553368809</c:v>
                </c:pt>
                <c:pt idx="1551" formatCode="0.0%">
                  <c:v>0.31070323134662203</c:v>
                </c:pt>
                <c:pt idx="1552" formatCode="0.0%">
                  <c:v>0.31328393449006486</c:v>
                </c:pt>
                <c:pt idx="1553" formatCode="0.0%">
                  <c:v>0.30757068424709105</c:v>
                </c:pt>
                <c:pt idx="1554" formatCode="0.0%">
                  <c:v>0.25486923202598777</c:v>
                </c:pt>
                <c:pt idx="1555" formatCode="0.0%">
                  <c:v>0.21972951424634332</c:v>
                </c:pt>
                <c:pt idx="1556" formatCode="0.0%">
                  <c:v>0.21972951424634332</c:v>
                </c:pt>
                <c:pt idx="1557" formatCode="0.0%">
                  <c:v>0.21972951424634332</c:v>
                </c:pt>
                <c:pt idx="1558" formatCode="0.0%">
                  <c:v>0.16931660558100362</c:v>
                </c:pt>
                <c:pt idx="1559" formatCode="0.0%">
                  <c:v>0.2140487301929663</c:v>
                </c:pt>
                <c:pt idx="1560" formatCode="0.0%">
                  <c:v>0.15491987088416281</c:v>
                </c:pt>
                <c:pt idx="1561" formatCode="0.0%">
                  <c:v>0.20695586328751689</c:v>
                </c:pt>
                <c:pt idx="1562" formatCode="0.0%">
                  <c:v>0.17866555436745629</c:v>
                </c:pt>
                <c:pt idx="1563" formatCode="0.0%">
                  <c:v>0.17866555436745629</c:v>
                </c:pt>
                <c:pt idx="1564" formatCode="0.0%">
                  <c:v>0.17866555436745629</c:v>
                </c:pt>
                <c:pt idx="1565" formatCode="0.0%">
                  <c:v>0.20947163856660239</c:v>
                </c:pt>
                <c:pt idx="1566" formatCode="0.0%">
                  <c:v>0.21369165177060309</c:v>
                </c:pt>
                <c:pt idx="1567" formatCode="0.0%">
                  <c:v>0.19500998503507774</c:v>
                </c:pt>
                <c:pt idx="1568" formatCode="0.0%">
                  <c:v>0.19500998503507774</c:v>
                </c:pt>
                <c:pt idx="1569" formatCode="0.0%">
                  <c:v>0.19500998503507774</c:v>
                </c:pt>
                <c:pt idx="1570" formatCode="0.0%">
                  <c:v>0.19500998503507774</c:v>
                </c:pt>
                <c:pt idx="1571" formatCode="0.0%">
                  <c:v>0.19500998503507774</c:v>
                </c:pt>
                <c:pt idx="1572" formatCode="0.0%">
                  <c:v>0.19500998503507774</c:v>
                </c:pt>
                <c:pt idx="1573" formatCode="0.0%">
                  <c:v>0.17540316056888414</c:v>
                </c:pt>
                <c:pt idx="1574" formatCode="0.0%">
                  <c:v>0.22394952745034402</c:v>
                </c:pt>
                <c:pt idx="1575" formatCode="0.0%">
                  <c:v>0.20778363599390431</c:v>
                </c:pt>
                <c:pt idx="1576" formatCode="0.0%">
                  <c:v>0.20916325265637981</c:v>
                </c:pt>
                <c:pt idx="1577" formatCode="0.0%">
                  <c:v>0.20916325265637981</c:v>
                </c:pt>
                <c:pt idx="1578" formatCode="0.0%">
                  <c:v>0.20916325265637981</c:v>
                </c:pt>
                <c:pt idx="1579" formatCode="0.0%">
                  <c:v>0.21783051078770299</c:v>
                </c:pt>
                <c:pt idx="1580" formatCode="0.0%">
                  <c:v>0.21422726940414777</c:v>
                </c:pt>
                <c:pt idx="1581" formatCode="0.0%">
                  <c:v>0.23316862953775569</c:v>
                </c:pt>
                <c:pt idx="1582" formatCode="0.0%">
                  <c:v>0.2517691420863804</c:v>
                </c:pt>
                <c:pt idx="1583" formatCode="0.0%">
                  <c:v>0.26257886623704607</c:v>
                </c:pt>
                <c:pt idx="1584" formatCode="0.0%">
                  <c:v>0.26257886623704607</c:v>
                </c:pt>
                <c:pt idx="1585" formatCode="0.0%">
                  <c:v>0.26257886623704607</c:v>
                </c:pt>
                <c:pt idx="1586" formatCode="0.0%">
                  <c:v>0.26696118781484812</c:v>
                </c:pt>
                <c:pt idx="1587" formatCode="0.0%">
                  <c:v>0.25913793322729206</c:v>
                </c:pt>
                <c:pt idx="1588" formatCode="0.0%">
                  <c:v>0.26042016938032364</c:v>
                </c:pt>
                <c:pt idx="1589" formatCode="0.0%">
                  <c:v>0.2658412600356182</c:v>
                </c:pt>
                <c:pt idx="1590" formatCode="0.0%">
                  <c:v>0.27019111993865991</c:v>
                </c:pt>
                <c:pt idx="1591" formatCode="0.0%">
                  <c:v>0.27019111993865991</c:v>
                </c:pt>
                <c:pt idx="1592" formatCode="0.0%">
                  <c:v>0.27019111993865991</c:v>
                </c:pt>
                <c:pt idx="1593" formatCode="0.0%">
                  <c:v>0.30490883143158415</c:v>
                </c:pt>
                <c:pt idx="1594" formatCode="0.0%">
                  <c:v>0.31198546749965345</c:v>
                </c:pt>
                <c:pt idx="1595" formatCode="0.0%">
                  <c:v>0.3083335336039576</c:v>
                </c:pt>
                <c:pt idx="1596" formatCode="0.0%">
                  <c:v>0.30820368690491651</c:v>
                </c:pt>
                <c:pt idx="1597" formatCode="0.0%">
                  <c:v>0.3145174736161192</c:v>
                </c:pt>
                <c:pt idx="1598" formatCode="0.0%">
                  <c:v>0.3145174736161192</c:v>
                </c:pt>
                <c:pt idx="1599" formatCode="0.0%">
                  <c:v>0.3145174736161192</c:v>
                </c:pt>
                <c:pt idx="1600" formatCode="0.0%">
                  <c:v>0.31420908770589651</c:v>
                </c:pt>
                <c:pt idx="1601" formatCode="0.0%">
                  <c:v>0.31610809567937309</c:v>
                </c:pt>
                <c:pt idx="1602" formatCode="0.0%">
                  <c:v>0.30495752394372461</c:v>
                </c:pt>
                <c:pt idx="1603" formatCode="0.0%">
                  <c:v>0.29129117692899031</c:v>
                </c:pt>
                <c:pt idx="1604" formatCode="0.0%">
                  <c:v>0.28311084843390771</c:v>
                </c:pt>
                <c:pt idx="1605" formatCode="0.0%">
                  <c:v>0.28311084843390771</c:v>
                </c:pt>
                <c:pt idx="1606" formatCode="0.0%">
                  <c:v>0.28311084843390771</c:v>
                </c:pt>
                <c:pt idx="1607" formatCode="0.0%">
                  <c:v>0.29429387732948042</c:v>
                </c:pt>
                <c:pt idx="1608" formatCode="0.0%">
                  <c:v>0.29880604560632323</c:v>
                </c:pt>
                <c:pt idx="1609" formatCode="0.0%">
                  <c:v>0.29799450373731645</c:v>
                </c:pt>
                <c:pt idx="1610" formatCode="0.0%">
                  <c:v>0.29799450373731645</c:v>
                </c:pt>
                <c:pt idx="1611" formatCode="0.0%">
                  <c:v>0.29799450373731645</c:v>
                </c:pt>
                <c:pt idx="1612" formatCode="0.0%">
                  <c:v>0.29843273634658035</c:v>
                </c:pt>
                <c:pt idx="1613" formatCode="0.0%">
                  <c:v>0.29843273634658035</c:v>
                </c:pt>
                <c:pt idx="1614" formatCode="0.0%">
                  <c:v>0.28074115069124334</c:v>
                </c:pt>
                <c:pt idx="1615" formatCode="0.0%">
                  <c:v>0.28786647475661653</c:v>
                </c:pt>
                <c:pt idx="1616" formatCode="0.0%">
                  <c:v>0.29708558135886476</c:v>
                </c:pt>
                <c:pt idx="1617" formatCode="0.0%">
                  <c:v>0.29708558135886476</c:v>
                </c:pt>
                <c:pt idx="1618" formatCode="0.0%">
                  <c:v>0.30632091428365643</c:v>
                </c:pt>
                <c:pt idx="1619" formatCode="0.0%">
                  <c:v>0.30632091428365643</c:v>
                </c:pt>
                <c:pt idx="1620" formatCode="0.0%">
                  <c:v>0.30632091428365643</c:v>
                </c:pt>
                <c:pt idx="1621" formatCode="0.0%">
                  <c:v>0.30632091428365643</c:v>
                </c:pt>
                <c:pt idx="1622" formatCode="0.0%">
                  <c:v>0.31159592740253006</c:v>
                </c:pt>
                <c:pt idx="1623" formatCode="0.0%">
                  <c:v>0.31183938996323207</c:v>
                </c:pt>
                <c:pt idx="1624" formatCode="0.0%">
                  <c:v>0.29841650550919979</c:v>
                </c:pt>
                <c:pt idx="1625" formatCode="0.0%">
                  <c:v>0.28114691711091039</c:v>
                </c:pt>
                <c:pt idx="1626" formatCode="0.0%">
                  <c:v>0.28114691711091039</c:v>
                </c:pt>
                <c:pt idx="1627" formatCode="0.0%">
                  <c:v>0.28114691711091039</c:v>
                </c:pt>
                <c:pt idx="1628" formatCode="0.0%">
                  <c:v>0.28466900430756481</c:v>
                </c:pt>
                <c:pt idx="1629" formatCode="0.0%">
                  <c:v>0.28012437887079783</c:v>
                </c:pt>
                <c:pt idx="1630" formatCode="0.0%">
                  <c:v>0.27786829247495803</c:v>
                </c:pt>
                <c:pt idx="1631" formatCode="0.0%">
                  <c:v>0.26335794643129273</c:v>
                </c:pt>
                <c:pt idx="1632" formatCode="0.0%">
                  <c:v>0.26590618338513877</c:v>
                </c:pt>
                <c:pt idx="1633" formatCode="0.0%">
                  <c:v>0.26590618338513877</c:v>
                </c:pt>
                <c:pt idx="1634" formatCode="0.0%">
                  <c:v>0.26590618338513877</c:v>
                </c:pt>
                <c:pt idx="1635" formatCode="0.0%">
                  <c:v>0.25850493056946661</c:v>
                </c:pt>
                <c:pt idx="1636" formatCode="0.0%">
                  <c:v>0.26775649884647507</c:v>
                </c:pt>
                <c:pt idx="1637" formatCode="0.0%">
                  <c:v>0.26824341945304297</c:v>
                </c:pt>
                <c:pt idx="1638" formatCode="0.0%">
                  <c:v>0.26014424514486095</c:v>
                </c:pt>
                <c:pt idx="1639" formatCode="0.0%">
                  <c:v>0.27359959127365358</c:v>
                </c:pt>
                <c:pt idx="1640" formatCode="0.0%">
                  <c:v>0.27359959127365358</c:v>
                </c:pt>
                <c:pt idx="1641" formatCode="0.0%">
                  <c:v>0.27359959127365358</c:v>
                </c:pt>
                <c:pt idx="1642" formatCode="0.0%">
                  <c:v>0.27098643097028713</c:v>
                </c:pt>
                <c:pt idx="1643" formatCode="0.0%">
                  <c:v>0.26689626446532744</c:v>
                </c:pt>
                <c:pt idx="1644" formatCode="0.0%">
                  <c:v>0.27350220624937277</c:v>
                </c:pt>
                <c:pt idx="1645" formatCode="0.0%">
                  <c:v>0.28174745809397594</c:v>
                </c:pt>
                <c:pt idx="1646" formatCode="0.0%">
                  <c:v>0.27382682299697564</c:v>
                </c:pt>
                <c:pt idx="1647" formatCode="0.0%">
                  <c:v>0.27382682299697564</c:v>
                </c:pt>
                <c:pt idx="1648" formatCode="0.0%">
                  <c:v>0.27382682299697564</c:v>
                </c:pt>
                <c:pt idx="1649" formatCode="0.0%">
                  <c:v>0.27557974891919446</c:v>
                </c:pt>
                <c:pt idx="1650" formatCode="0.0%">
                  <c:v>0.27799813917399918</c:v>
                </c:pt>
                <c:pt idx="1651" formatCode="0.0%">
                  <c:v>0.2820883056789586</c:v>
                </c:pt>
                <c:pt idx="1652" formatCode="0.0%">
                  <c:v>0.2872983999631481</c:v>
                </c:pt>
                <c:pt idx="1653" formatCode="0.0%">
                  <c:v>0.28281869336106524</c:v>
                </c:pt>
                <c:pt idx="1654" formatCode="0.0%">
                  <c:v>0.28281869336106524</c:v>
                </c:pt>
                <c:pt idx="1655" formatCode="0.0%">
                  <c:v>0.28281869336106524</c:v>
                </c:pt>
                <c:pt idx="1656" formatCode="0.0%">
                  <c:v>0.28166630390707498</c:v>
                </c:pt>
                <c:pt idx="1657" formatCode="0.0%">
                  <c:v>0.28750940084908988</c:v>
                </c:pt>
                <c:pt idx="1658" formatCode="0.0%">
                  <c:v>0.28223438321537997</c:v>
                </c:pt>
                <c:pt idx="1659" formatCode="0.0%">
                  <c:v>0.28961940519367202</c:v>
                </c:pt>
                <c:pt idx="1660" formatCode="0.0%">
                  <c:v>0.28338677266937057</c:v>
                </c:pt>
                <c:pt idx="1661" formatCode="0.0%">
                  <c:v>0.28338677266937057</c:v>
                </c:pt>
                <c:pt idx="1662" formatCode="0.0%">
                  <c:v>0.28338677266937057</c:v>
                </c:pt>
                <c:pt idx="1663" formatCode="0.0%">
                  <c:v>0.28557793120085306</c:v>
                </c:pt>
                <c:pt idx="1664" formatCode="0.0%">
                  <c:v>0.28030291808197971</c:v>
                </c:pt>
                <c:pt idx="1665" formatCode="0.0%">
                  <c:v>0.29617665446557678</c:v>
                </c:pt>
                <c:pt idx="1666" formatCode="0.0%">
                  <c:v>0.29950397161366965</c:v>
                </c:pt>
                <c:pt idx="1667" formatCode="0.0%">
                  <c:v>0.30237682531511839</c:v>
                </c:pt>
                <c:pt idx="1668" formatCode="0.0%">
                  <c:v>0.30237682531511839</c:v>
                </c:pt>
                <c:pt idx="1669" formatCode="0.0%">
                  <c:v>0.30237682531511839</c:v>
                </c:pt>
                <c:pt idx="1670" formatCode="0.0%">
                  <c:v>0.31407924100685536</c:v>
                </c:pt>
                <c:pt idx="1671" formatCode="0.0%">
                  <c:v>0.31218023754821528</c:v>
                </c:pt>
                <c:pt idx="1672" formatCode="0.0%">
                  <c:v>0.30930738384676632</c:v>
                </c:pt>
                <c:pt idx="1673" formatCode="0.0%">
                  <c:v>0.30221451694131701</c:v>
                </c:pt>
                <c:pt idx="1674" formatCode="0.0%">
                  <c:v>0.28345169601889098</c:v>
                </c:pt>
                <c:pt idx="1675" formatCode="0.0%">
                  <c:v>0.28345169601889098</c:v>
                </c:pt>
                <c:pt idx="1676" formatCode="0.0%">
                  <c:v>0.28345169601889098</c:v>
                </c:pt>
                <c:pt idx="1677" formatCode="0.0%">
                  <c:v>0.27436244063052029</c:v>
                </c:pt>
                <c:pt idx="1678" formatCode="0.0%">
                  <c:v>0.27658606083676346</c:v>
                </c:pt>
                <c:pt idx="1679" formatCode="0.0%">
                  <c:v>0.26085840198958721</c:v>
                </c:pt>
                <c:pt idx="1680" formatCode="0.0%">
                  <c:v>0.28374385109173345</c:v>
                </c:pt>
                <c:pt idx="1681" formatCode="0.0%">
                  <c:v>0.28387369779077432</c:v>
                </c:pt>
                <c:pt idx="1682" formatCode="0.0%">
                  <c:v>0.28387369779077432</c:v>
                </c:pt>
                <c:pt idx="1683" formatCode="0.0%">
                  <c:v>0.28387369779077432</c:v>
                </c:pt>
                <c:pt idx="1684" formatCode="0.0%">
                  <c:v>0.28750940084908988</c:v>
                </c:pt>
                <c:pt idx="1685" formatCode="0.0%">
                  <c:v>0.28731463080052833</c:v>
                </c:pt>
                <c:pt idx="1686" formatCode="0.0%">
                  <c:v>0.29335249327626856</c:v>
                </c:pt>
                <c:pt idx="1687" formatCode="0.0%">
                  <c:v>0.2990495081670258</c:v>
                </c:pt>
                <c:pt idx="1688" formatCode="0.0%">
                  <c:v>0.29835158215967938</c:v>
                </c:pt>
                <c:pt idx="1689" formatCode="0.0%">
                  <c:v>0.29835158215967938</c:v>
                </c:pt>
                <c:pt idx="1690" formatCode="0.0%">
                  <c:v>0.29835158215967938</c:v>
                </c:pt>
                <c:pt idx="1691" formatCode="0.0%">
                  <c:v>0.30180874600681334</c:v>
                </c:pt>
                <c:pt idx="1692" formatCode="0.0%">
                  <c:v>0.30179251516943312</c:v>
                </c:pt>
                <c:pt idx="1693" formatCode="0.0%">
                  <c:v>0.30257159536367995</c:v>
                </c:pt>
                <c:pt idx="1694" formatCode="0.0%">
                  <c:v>0.30253913368891971</c:v>
                </c:pt>
                <c:pt idx="1695" formatCode="0.0%">
                  <c:v>0.30761937675923151</c:v>
                </c:pt>
                <c:pt idx="1696" formatCode="0.0%">
                  <c:v>0.30761937675923151</c:v>
                </c:pt>
                <c:pt idx="1697" formatCode="0.0%">
                  <c:v>0.30761937675923151</c:v>
                </c:pt>
                <c:pt idx="1698" formatCode="0.0%">
                  <c:v>0.30638583763317712</c:v>
                </c:pt>
                <c:pt idx="1699" formatCode="0.0%">
                  <c:v>0.30265274955058091</c:v>
                </c:pt>
                <c:pt idx="1700" formatCode="0.0%">
                  <c:v>0.31159592740253006</c:v>
                </c:pt>
                <c:pt idx="1701" formatCode="0.0%">
                  <c:v>0.30489260059420414</c:v>
                </c:pt>
                <c:pt idx="1702" formatCode="0.0%">
                  <c:v>0.29896835398012483</c:v>
                </c:pt>
                <c:pt idx="1703" formatCode="0.0%">
                  <c:v>0.29896835398012483</c:v>
                </c:pt>
                <c:pt idx="1704" formatCode="0.0%">
                  <c:v>0.29705311968410458</c:v>
                </c:pt>
                <c:pt idx="1705" formatCode="0.0%">
                  <c:v>0.30015320510887533</c:v>
                </c:pt>
                <c:pt idx="1706" formatCode="0.0%">
                  <c:v>0.29041471622529913</c:v>
                </c:pt>
                <c:pt idx="1707" formatCode="0.0%">
                  <c:v>0.30128935921064881</c:v>
                </c:pt>
                <c:pt idx="1708" formatCode="0.0%">
                  <c:v>0.3068889935919617</c:v>
                </c:pt>
                <c:pt idx="1709" formatCode="0.0%">
                  <c:v>0.30143543674706991</c:v>
                </c:pt>
                <c:pt idx="1710" formatCode="0.0%">
                  <c:v>0.30143543674706991</c:v>
                </c:pt>
                <c:pt idx="1711" formatCode="0.0%">
                  <c:v>0.30143543674706991</c:v>
                </c:pt>
                <c:pt idx="1712" formatCode="0.0%">
                  <c:v>0.30455175300922094</c:v>
                </c:pt>
                <c:pt idx="1713" formatCode="0.0%">
                  <c:v>0.30632091428365643</c:v>
                </c:pt>
                <c:pt idx="1714" formatCode="0.0%">
                  <c:v>0.3126347009948594</c:v>
                </c:pt>
                <c:pt idx="1715" formatCode="0.0%">
                  <c:v>0.31401431765733462</c:v>
                </c:pt>
                <c:pt idx="1716" formatCode="0.0%">
                  <c:v>0.31950033617698664</c:v>
                </c:pt>
                <c:pt idx="1717" formatCode="0.0%">
                  <c:v>0.31950033617698664</c:v>
                </c:pt>
                <c:pt idx="1718" formatCode="0.0%">
                  <c:v>0.31950033617698664</c:v>
                </c:pt>
                <c:pt idx="1719" formatCode="0.0%">
                  <c:v>0.3232171934222029</c:v>
                </c:pt>
                <c:pt idx="1720" formatCode="0.0%">
                  <c:v>0.30908015212344453</c:v>
                </c:pt>
                <c:pt idx="1721" formatCode="0.0%">
                  <c:v>0.30588268167439281</c:v>
                </c:pt>
                <c:pt idx="1722" formatCode="0.0%">
                  <c:v>0.31959772120126756</c:v>
                </c:pt>
                <c:pt idx="1723" formatCode="0.0%">
                  <c:v>0.31703325341004157</c:v>
                </c:pt>
                <c:pt idx="1724" formatCode="0.0%">
                  <c:v>0.31703325341004157</c:v>
                </c:pt>
                <c:pt idx="1725" formatCode="0.0%">
                  <c:v>0.31703325341004157</c:v>
                </c:pt>
                <c:pt idx="1726" formatCode="0.0%">
                  <c:v>0.31612432651675332</c:v>
                </c:pt>
                <c:pt idx="1727" formatCode="0.0%">
                  <c:v>0.31310539527888326</c:v>
                </c:pt>
                <c:pt idx="1728" formatCode="0.0%">
                  <c:v>0.30883668956274218</c:v>
                </c:pt>
                <c:pt idx="1729" formatCode="0.0%">
                  <c:v>0.30287998127390298</c:v>
                </c:pt>
                <c:pt idx="1730" formatCode="0.0%">
                  <c:v>0.3051036014801457</c:v>
                </c:pt>
                <c:pt idx="1731" formatCode="0.0%">
                  <c:v>0.3051036014801457</c:v>
                </c:pt>
                <c:pt idx="1732" formatCode="0.0%">
                  <c:v>0.3051036014801457</c:v>
                </c:pt>
                <c:pt idx="1733" formatCode="0.0%">
                  <c:v>0.31078438553352272</c:v>
                </c:pt>
                <c:pt idx="1734" formatCode="0.0%">
                  <c:v>0.31476093617682127</c:v>
                </c:pt>
                <c:pt idx="1735" formatCode="0.0%">
                  <c:v>0.32686912731789847</c:v>
                </c:pt>
                <c:pt idx="1736" formatCode="0.0%">
                  <c:v>0.34241824695389311</c:v>
                </c:pt>
                <c:pt idx="1737" formatCode="0.0%">
                  <c:v>0.34808280016988991</c:v>
                </c:pt>
                <c:pt idx="1738" formatCode="0.0%">
                  <c:v>0.34808280016988991</c:v>
                </c:pt>
                <c:pt idx="1739" formatCode="0.0%">
                  <c:v>0.34808280016988991</c:v>
                </c:pt>
                <c:pt idx="1740" formatCode="0.0%">
                  <c:v>0.36327484138352106</c:v>
                </c:pt>
                <c:pt idx="1741" formatCode="0.0%">
                  <c:v>0.36945878139568239</c:v>
                </c:pt>
                <c:pt idx="1742" formatCode="0.0%">
                  <c:v>0.36830639645652868</c:v>
                </c:pt>
                <c:pt idx="1743" formatCode="0.0%">
                  <c:v>0.36777077882298415</c:v>
                </c:pt>
                <c:pt idx="1744" formatCode="0.0%">
                  <c:v>0.36622884927187044</c:v>
                </c:pt>
                <c:pt idx="1745" formatCode="0.0%">
                  <c:v>0.36622884927187044</c:v>
                </c:pt>
                <c:pt idx="1746" formatCode="0.0%">
                  <c:v>0.36622884927187044</c:v>
                </c:pt>
                <c:pt idx="1747" formatCode="0.0%">
                  <c:v>0.35223789002436973</c:v>
                </c:pt>
                <c:pt idx="1748" formatCode="0.0%">
                  <c:v>0.34034069976923464</c:v>
                </c:pt>
                <c:pt idx="1749" formatCode="0.0%">
                  <c:v>0.35468874195393485</c:v>
                </c:pt>
                <c:pt idx="1750" formatCode="0.0%">
                  <c:v>0.3553055137743803</c:v>
                </c:pt>
                <c:pt idx="1751" formatCode="0.0%">
                  <c:v>0.3470277957401805</c:v>
                </c:pt>
                <c:pt idx="1752" formatCode="0.0%">
                  <c:v>0.3470277957401805</c:v>
                </c:pt>
                <c:pt idx="1753" formatCode="0.0%">
                  <c:v>0.3470277957401805</c:v>
                </c:pt>
                <c:pt idx="1754" formatCode="0.0%">
                  <c:v>0.36124599122583961</c:v>
                </c:pt>
                <c:pt idx="1755" formatCode="0.0%">
                  <c:v>0.37117925015797765</c:v>
                </c:pt>
                <c:pt idx="1756" formatCode="0.0%">
                  <c:v>0.37100071094679576</c:v>
                </c:pt>
                <c:pt idx="1757" formatCode="0.0%">
                  <c:v>0.36679692858017515</c:v>
                </c:pt>
                <c:pt idx="1758" formatCode="0.0%">
                  <c:v>0.37460395233035115</c:v>
                </c:pt>
                <c:pt idx="1759" formatCode="0.0%">
                  <c:v>0.37460395233035115</c:v>
                </c:pt>
                <c:pt idx="1760" formatCode="0.0%">
                  <c:v>0.37460395233035115</c:v>
                </c:pt>
                <c:pt idx="1761" formatCode="0.0%">
                  <c:v>0.38606290546138611</c:v>
                </c:pt>
                <c:pt idx="1762" formatCode="0.0%">
                  <c:v>0.38359582269444104</c:v>
                </c:pt>
                <c:pt idx="1763" formatCode="0.0%">
                  <c:v>0.38382305441776282</c:v>
                </c:pt>
                <c:pt idx="1764" formatCode="0.0%">
                  <c:v>0.38854622358054797</c:v>
                </c:pt>
                <c:pt idx="1765" formatCode="0.0%">
                  <c:v>0.38406651697846483</c:v>
                </c:pt>
                <c:pt idx="1766" formatCode="0.0%">
                  <c:v>0.38406651697846483</c:v>
                </c:pt>
                <c:pt idx="1767" formatCode="0.0%">
                  <c:v>0.38406651697846483</c:v>
                </c:pt>
                <c:pt idx="1768" formatCode="0.0%">
                  <c:v>0.38935776093471874</c:v>
                </c:pt>
                <c:pt idx="1769" formatCode="0.0%">
                  <c:v>0.39270130892019156</c:v>
                </c:pt>
                <c:pt idx="1770" formatCode="0.0%">
                  <c:v>0.38833522269460619</c:v>
                </c:pt>
                <c:pt idx="1771" formatCode="0.0%">
                  <c:v>0.38315759008517714</c:v>
                </c:pt>
                <c:pt idx="1772" formatCode="0.0%">
                  <c:v>0.36957239725734353</c:v>
                </c:pt>
                <c:pt idx="1773" formatCode="0.0%">
                  <c:v>0.36957239725734353</c:v>
                </c:pt>
                <c:pt idx="1774" formatCode="0.0%">
                  <c:v>0.36957239725734353</c:v>
                </c:pt>
                <c:pt idx="1775" formatCode="0.0%">
                  <c:v>0.391078229697014</c:v>
                </c:pt>
                <c:pt idx="1776" formatCode="0.0%">
                  <c:v>0.3966616287261101</c:v>
                </c:pt>
                <c:pt idx="1777" formatCode="0.0%">
                  <c:v>0.40555611406591879</c:v>
                </c:pt>
                <c:pt idx="1778" formatCode="0.0%">
                  <c:v>0.39085099797369166</c:v>
                </c:pt>
                <c:pt idx="1779" formatCode="0.0%">
                  <c:v>0.37608095401710784</c:v>
                </c:pt>
                <c:pt idx="1780" formatCode="0.0%">
                  <c:v>0.37608095401710784</c:v>
                </c:pt>
                <c:pt idx="1781" formatCode="0.0%">
                  <c:v>0.37608095401710784</c:v>
                </c:pt>
                <c:pt idx="1782" formatCode="0.0%">
                  <c:v>0.3768924958861149</c:v>
                </c:pt>
                <c:pt idx="1783" formatCode="0.0%">
                  <c:v>0.34787179928394779</c:v>
                </c:pt>
                <c:pt idx="1784" formatCode="0.0%">
                  <c:v>0.36665085104375406</c:v>
                </c:pt>
                <c:pt idx="1785" formatCode="0.0%">
                  <c:v>0.37884019637173194</c:v>
                </c:pt>
                <c:pt idx="1786" formatCode="0.0%">
                  <c:v>0.35395835427182848</c:v>
                </c:pt>
                <c:pt idx="1787" formatCode="0.0%">
                  <c:v>0.35395835427182848</c:v>
                </c:pt>
                <c:pt idx="1788" formatCode="0.0%">
                  <c:v>0.35395835427182848</c:v>
                </c:pt>
                <c:pt idx="1789" formatCode="0.0%">
                  <c:v>0.37254264049790947</c:v>
                </c:pt>
                <c:pt idx="1790" formatCode="0.0%">
                  <c:v>0.37119548099535765</c:v>
                </c:pt>
                <c:pt idx="1791" formatCode="0.0%">
                  <c:v>0.38416390200274575</c:v>
                </c:pt>
                <c:pt idx="1792" formatCode="0.0%">
                  <c:v>0.38607913629876606</c:v>
                </c:pt>
                <c:pt idx="1793" formatCode="0.0%">
                  <c:v>0.38783206673582188</c:v>
                </c:pt>
                <c:pt idx="1794" formatCode="0.0%">
                  <c:v>0.38783206673582188</c:v>
                </c:pt>
                <c:pt idx="1795" formatCode="0.0%">
                  <c:v>0.38872476279172929</c:v>
                </c:pt>
                <c:pt idx="1796" formatCode="0.0%">
                  <c:v>0.37797996199058448</c:v>
                </c:pt>
                <c:pt idx="1797" formatCode="0.0%">
                  <c:v>0.37570764927220096</c:v>
                </c:pt>
                <c:pt idx="1798" formatCode="0.0%">
                  <c:v>0.37372748711182341</c:v>
                </c:pt>
                <c:pt idx="1799" formatCode="0.0%">
                  <c:v>0.37518826247603643</c:v>
                </c:pt>
                <c:pt idx="1800" formatCode="0.0%">
                  <c:v>0.38336859097111897</c:v>
                </c:pt>
                <c:pt idx="1801" formatCode="0.0%">
                  <c:v>0.38336859097111897</c:v>
                </c:pt>
                <c:pt idx="1802" formatCode="0.0%">
                  <c:v>0.38336859097111897</c:v>
                </c:pt>
                <c:pt idx="1803" formatCode="0.0%">
                  <c:v>0.37677888002445398</c:v>
                </c:pt>
                <c:pt idx="1804" formatCode="0.0%">
                  <c:v>0.36817654975748754</c:v>
                </c:pt>
                <c:pt idx="1805" formatCode="0.0%">
                  <c:v>0.3668943136044564</c:v>
                </c:pt>
                <c:pt idx="1806" formatCode="0.0%">
                  <c:v>0.37189340700270379</c:v>
                </c:pt>
                <c:pt idx="1807" formatCode="0.0%">
                  <c:v>0.37177979114104287</c:v>
                </c:pt>
                <c:pt idx="1808" formatCode="0.0%">
                  <c:v>0.37177979114104287</c:v>
                </c:pt>
                <c:pt idx="1809" formatCode="0.0%">
                  <c:v>0.37177979114104287</c:v>
                </c:pt>
                <c:pt idx="1810" formatCode="0.0%">
                  <c:v>0.36614769959980636</c:v>
                </c:pt>
                <c:pt idx="1811" formatCode="0.0%">
                  <c:v>0.35681497713589694</c:v>
                </c:pt>
                <c:pt idx="1812" formatCode="0.0%">
                  <c:v>0.3513127322937018</c:v>
                </c:pt>
                <c:pt idx="1813" formatCode="0.0%">
                  <c:v>0.35722074807040061</c:v>
                </c:pt>
                <c:pt idx="1814" formatCode="0.0%">
                  <c:v>0.36564454364102178</c:v>
                </c:pt>
                <c:pt idx="1815" formatCode="0.0%">
                  <c:v>0.36564454364102178</c:v>
                </c:pt>
                <c:pt idx="1816" formatCode="0.0%">
                  <c:v>0.36564454364102178</c:v>
                </c:pt>
                <c:pt idx="1817" formatCode="0.0%">
                  <c:v>0.36515761851961742</c:v>
                </c:pt>
                <c:pt idx="1818" formatCode="0.0%">
                  <c:v>0.37251017882314924</c:v>
                </c:pt>
                <c:pt idx="1819" formatCode="0.0%">
                  <c:v>0.37251017882314924</c:v>
                </c:pt>
                <c:pt idx="1820" formatCode="0.0%">
                  <c:v>0.37251017882314924</c:v>
                </c:pt>
                <c:pt idx="1821" formatCode="0.0%">
                  <c:v>0.37251017882314924</c:v>
                </c:pt>
                <c:pt idx="1822" formatCode="0.0%">
                  <c:v>0.37251017882314924</c:v>
                </c:pt>
                <c:pt idx="1823" formatCode="0.0%">
                  <c:v>0.37251017882314924</c:v>
                </c:pt>
                <c:pt idx="1824" formatCode="0.0%">
                  <c:v>0.37413325804632708</c:v>
                </c:pt>
                <c:pt idx="1825" formatCode="0.0%">
                  <c:v>0.37823965538866672</c:v>
                </c:pt>
                <c:pt idx="1826" formatCode="0.0%">
                  <c:v>0.37445787479393006</c:v>
                </c:pt>
              </c:numCache>
            </c:numRef>
          </c:val>
          <c:smooth val="0"/>
          <c:extLst>
            <c:ext xmlns:c16="http://schemas.microsoft.com/office/drawing/2014/chart" uri="{C3380CC4-5D6E-409C-BE32-E72D297353CC}">
              <c16:uniqueId val="{00000001-C592-43EE-8D08-8400729D0F8F}"/>
            </c:ext>
          </c:extLst>
        </c:ser>
        <c:ser>
          <c:idx val="2"/>
          <c:order val="1"/>
          <c:tx>
            <c:strRef>
              <c:f>Sheet1!$D$1</c:f>
              <c:strCache>
                <c:ptCount val="1"/>
                <c:pt idx="0">
                  <c:v>Peer #2</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D$2:$D$2069</c:f>
              <c:numCache>
                <c:formatCode>0.00%</c:formatCode>
                <c:ptCount val="2068"/>
                <c:pt idx="0">
                  <c:v>0</c:v>
                </c:pt>
                <c:pt idx="1">
                  <c:v>0</c:v>
                </c:pt>
                <c:pt idx="2">
                  <c:v>0</c:v>
                </c:pt>
                <c:pt idx="3">
                  <c:v>0</c:v>
                </c:pt>
                <c:pt idx="4">
                  <c:v>-5.1595655766422509E-3</c:v>
                </c:pt>
                <c:pt idx="5">
                  <c:v>-9.911762588836694E-3</c:v>
                </c:pt>
                <c:pt idx="6">
                  <c:v>5.4310653032987946E-3</c:v>
                </c:pt>
                <c:pt idx="7">
                  <c:v>1.8465729108232836E-2</c:v>
                </c:pt>
                <c:pt idx="8">
                  <c:v>2.2946366906539027E-2</c:v>
                </c:pt>
                <c:pt idx="9">
                  <c:v>2.2946366906539027E-2</c:v>
                </c:pt>
                <c:pt idx="10">
                  <c:v>2.2946366906539027E-2</c:v>
                </c:pt>
                <c:pt idx="11">
                  <c:v>2.5118781130412059E-2</c:v>
                </c:pt>
                <c:pt idx="12">
                  <c:v>2.1452820973770343E-2</c:v>
                </c:pt>
                <c:pt idx="13">
                  <c:v>2.0095024904329649E-2</c:v>
                </c:pt>
                <c:pt idx="14">
                  <c:v>1.941615661322544E-2</c:v>
                </c:pt>
                <c:pt idx="15">
                  <c:v>1.059063087994133E-2</c:v>
                </c:pt>
                <c:pt idx="16">
                  <c:v>1.059063087994133E-2</c:v>
                </c:pt>
                <c:pt idx="17">
                  <c:v>1.059063087994133E-2</c:v>
                </c:pt>
                <c:pt idx="18">
                  <c:v>1.5750136969351586E-2</c:v>
                </c:pt>
                <c:pt idx="19">
                  <c:v>2.131701162321022E-2</c:v>
                </c:pt>
                <c:pt idx="20">
                  <c:v>3.0685655784270693E-2</c:v>
                </c:pt>
                <c:pt idx="21">
                  <c:v>3.2722320144815742E-2</c:v>
                </c:pt>
                <c:pt idx="22">
                  <c:v>2.5526149694860292E-2</c:v>
                </c:pt>
                <c:pt idx="23">
                  <c:v>2.5526149694860292E-2</c:v>
                </c:pt>
                <c:pt idx="24">
                  <c:v>2.5526149694860292E-2</c:v>
                </c:pt>
                <c:pt idx="25">
                  <c:v>2.8105872995949566E-2</c:v>
                </c:pt>
                <c:pt idx="26">
                  <c:v>2.5254590480972183E-2</c:v>
                </c:pt>
                <c:pt idx="27">
                  <c:v>1.588594631991171E-2</c:v>
                </c:pt>
                <c:pt idx="28">
                  <c:v>1.6429064747687933E-2</c:v>
                </c:pt>
                <c:pt idx="29">
                  <c:v>2.0366643605451884E-3</c:v>
                </c:pt>
                <c:pt idx="30">
                  <c:v>2.0366643605451884E-3</c:v>
                </c:pt>
                <c:pt idx="31">
                  <c:v>-8.8947688712832478E-3</c:v>
                </c:pt>
                <c:pt idx="32">
                  <c:v>6.6530520221792242E-3</c:v>
                </c:pt>
                <c:pt idx="33">
                  <c:v>2.6612327063180886E-2</c:v>
                </c:pt>
                <c:pt idx="34">
                  <c:v>2.7427004704845076E-2</c:v>
                </c:pt>
                <c:pt idx="35">
                  <c:v>3.8612745853293828E-2</c:v>
                </c:pt>
                <c:pt idx="36">
                  <c:v>4.0124375904577791E-2</c:v>
                </c:pt>
                <c:pt idx="37">
                  <c:v>4.0124375904577791E-2</c:v>
                </c:pt>
                <c:pt idx="38">
                  <c:v>4.0124375904577791E-2</c:v>
                </c:pt>
                <c:pt idx="39">
                  <c:v>4.2845202919871352E-2</c:v>
                </c:pt>
                <c:pt idx="40">
                  <c:v>3.740348940205223E-2</c:v>
                </c:pt>
                <c:pt idx="41">
                  <c:v>3.1205990602207124E-2</c:v>
                </c:pt>
                <c:pt idx="42">
                  <c:v>3.8915059966104053E-2</c:v>
                </c:pt>
                <c:pt idx="43">
                  <c:v>4.0577847073793409E-2</c:v>
                </c:pt>
                <c:pt idx="44">
                  <c:v>4.0577847073793409E-2</c:v>
                </c:pt>
                <c:pt idx="45">
                  <c:v>4.0577847073793409E-2</c:v>
                </c:pt>
                <c:pt idx="46">
                  <c:v>4.7984602324879971E-2</c:v>
                </c:pt>
                <c:pt idx="47">
                  <c:v>4.7379974099259245E-2</c:v>
                </c:pt>
                <c:pt idx="48">
                  <c:v>4.7833445268474717E-2</c:v>
                </c:pt>
                <c:pt idx="49">
                  <c:v>3.4380288786716451E-2</c:v>
                </c:pt>
                <c:pt idx="50">
                  <c:v>3.8159274684078211E-2</c:v>
                </c:pt>
                <c:pt idx="51">
                  <c:v>3.8159274684078211E-2</c:v>
                </c:pt>
                <c:pt idx="52">
                  <c:v>3.8159274684078211E-2</c:v>
                </c:pt>
                <c:pt idx="53">
                  <c:v>2.4252647033104181E-2</c:v>
                </c:pt>
                <c:pt idx="54">
                  <c:v>1.7903991176853963E-2</c:v>
                </c:pt>
                <c:pt idx="55">
                  <c:v>2.3043390581862583E-2</c:v>
                </c:pt>
                <c:pt idx="56">
                  <c:v>1.956671879731104E-2</c:v>
                </c:pt>
                <c:pt idx="57">
                  <c:v>1.2008806489819222E-2</c:v>
                </c:pt>
                <c:pt idx="58">
                  <c:v>1.2008806489819222E-2</c:v>
                </c:pt>
                <c:pt idx="59">
                  <c:v>9.9273482436097998E-3</c:v>
                </c:pt>
                <c:pt idx="60">
                  <c:v>3.4229131730311196E-2</c:v>
                </c:pt>
                <c:pt idx="61">
                  <c:v>3.0903676489396615E-2</c:v>
                </c:pt>
                <c:pt idx="62">
                  <c:v>2.0473720622974128E-2</c:v>
                </c:pt>
                <c:pt idx="63">
                  <c:v>1.7903991176853963E-2</c:v>
                </c:pt>
                <c:pt idx="64">
                  <c:v>1.4880790561517756E-2</c:v>
                </c:pt>
                <c:pt idx="65">
                  <c:v>1.4880790561517756E-2</c:v>
                </c:pt>
                <c:pt idx="66">
                  <c:v>1.4880790561517756E-2</c:v>
                </c:pt>
                <c:pt idx="67">
                  <c:v>4.3903302314707703E-2</c:v>
                </c:pt>
                <c:pt idx="68">
                  <c:v>5.3577472899104348E-2</c:v>
                </c:pt>
                <c:pt idx="69">
                  <c:v>5.327515878629413E-2</c:v>
                </c:pt>
                <c:pt idx="70">
                  <c:v>5.901918641692333E-2</c:v>
                </c:pt>
                <c:pt idx="71">
                  <c:v>5.2065902335052525E-2</c:v>
                </c:pt>
                <c:pt idx="72">
                  <c:v>5.2065902335052525E-2</c:v>
                </c:pt>
                <c:pt idx="73">
                  <c:v>5.2065902335052525E-2</c:v>
                </c:pt>
                <c:pt idx="74">
                  <c:v>5.9170402960560579E-2</c:v>
                </c:pt>
                <c:pt idx="75">
                  <c:v>6.8391042888509765E-2</c:v>
                </c:pt>
                <c:pt idx="76">
                  <c:v>5.7205301740061144E-2</c:v>
                </c:pt>
                <c:pt idx="77">
                  <c:v>5.8716872304113113E-2</c:v>
                </c:pt>
                <c:pt idx="78">
                  <c:v>5.040317471459517E-2</c:v>
                </c:pt>
                <c:pt idx="79">
                  <c:v>5.040317471459517E-2</c:v>
                </c:pt>
                <c:pt idx="80">
                  <c:v>5.040317471459517E-2</c:v>
                </c:pt>
                <c:pt idx="81">
                  <c:v>5.1612431165836768E-2</c:v>
                </c:pt>
                <c:pt idx="82">
                  <c:v>5.6298359401629909E-2</c:v>
                </c:pt>
                <c:pt idx="83">
                  <c:v>5.3879787011914718E-2</c:v>
                </c:pt>
                <c:pt idx="84">
                  <c:v>4.7379974099259245E-2</c:v>
                </c:pt>
                <c:pt idx="85">
                  <c:v>5.992618824258656E-2</c:v>
                </c:pt>
                <c:pt idx="86">
                  <c:v>5.992618824258656E-2</c:v>
                </c:pt>
                <c:pt idx="87">
                  <c:v>5.992618824258656E-2</c:v>
                </c:pt>
                <c:pt idx="88">
                  <c:v>6.7786414662889025E-2</c:v>
                </c:pt>
                <c:pt idx="89">
                  <c:v>7.3832756406328748E-2</c:v>
                </c:pt>
                <c:pt idx="90">
                  <c:v>7.6759052320805238E-2</c:v>
                </c:pt>
                <c:pt idx="91">
                  <c:v>7.6759052320805238E-2</c:v>
                </c:pt>
                <c:pt idx="92">
                  <c:v>7.6759052320805238E-2</c:v>
                </c:pt>
                <c:pt idx="93">
                  <c:v>7.6759052320805238E-2</c:v>
                </c:pt>
                <c:pt idx="94">
                  <c:v>7.6759052320805238E-2</c:v>
                </c:pt>
                <c:pt idx="95">
                  <c:v>7.6759052320805238E-2</c:v>
                </c:pt>
                <c:pt idx="96">
                  <c:v>9.6657769359673573E-2</c:v>
                </c:pt>
                <c:pt idx="97">
                  <c:v>8.8344012282923781E-2</c:v>
                </c:pt>
                <c:pt idx="98">
                  <c:v>9.5901984077647592E-2</c:v>
                </c:pt>
                <c:pt idx="99">
                  <c:v>9.9680969975009651E-2</c:v>
                </c:pt>
                <c:pt idx="100">
                  <c:v>9.9680969975009651E-2</c:v>
                </c:pt>
                <c:pt idx="101">
                  <c:v>9.9680969975009651E-2</c:v>
                </c:pt>
                <c:pt idx="102">
                  <c:v>9.9227498805794026E-2</c:v>
                </c:pt>
                <c:pt idx="103">
                  <c:v>9.6808926416078689E-2</c:v>
                </c:pt>
                <c:pt idx="104">
                  <c:v>9.6355455246863356E-2</c:v>
                </c:pt>
                <c:pt idx="105">
                  <c:v>0.10255295404670832</c:v>
                </c:pt>
                <c:pt idx="106">
                  <c:v>0.10859935527738003</c:v>
                </c:pt>
                <c:pt idx="107">
                  <c:v>0.10859935527738003</c:v>
                </c:pt>
                <c:pt idx="108">
                  <c:v>0.10859935527738003</c:v>
                </c:pt>
                <c:pt idx="109">
                  <c:v>0.1031575822723292</c:v>
                </c:pt>
                <c:pt idx="110">
                  <c:v>9.000679939061286E-2</c:v>
                </c:pt>
                <c:pt idx="111">
                  <c:v>9.3785785287974904E-2</c:v>
                </c:pt>
                <c:pt idx="112">
                  <c:v>0.10285526815951855</c:v>
                </c:pt>
                <c:pt idx="113">
                  <c:v>0.10300642521592379</c:v>
                </c:pt>
                <c:pt idx="114">
                  <c:v>0.10300642521592379</c:v>
                </c:pt>
                <c:pt idx="115">
                  <c:v>0.10300642521592379</c:v>
                </c:pt>
                <c:pt idx="116">
                  <c:v>0.10648309700047534</c:v>
                </c:pt>
                <c:pt idx="117">
                  <c:v>0.10209948287749256</c:v>
                </c:pt>
                <c:pt idx="118">
                  <c:v>0.10179716876468234</c:v>
                </c:pt>
                <c:pt idx="119">
                  <c:v>9.8471713523767768E-2</c:v>
                </c:pt>
                <c:pt idx="120">
                  <c:v>9.899758065427619E-2</c:v>
                </c:pt>
                <c:pt idx="121">
                  <c:v>9.899758065427619E-2</c:v>
                </c:pt>
                <c:pt idx="122">
                  <c:v>9.899758065427619E-2</c:v>
                </c:pt>
                <c:pt idx="123">
                  <c:v>9.8471713523767768E-2</c:v>
                </c:pt>
                <c:pt idx="124">
                  <c:v>8.8344012282923781E-2</c:v>
                </c:pt>
                <c:pt idx="125">
                  <c:v>9.8925184692983517E-2</c:v>
                </c:pt>
                <c:pt idx="126">
                  <c:v>9.5599669964837097E-2</c:v>
                </c:pt>
                <c:pt idx="127">
                  <c:v>0.10875051233378528</c:v>
                </c:pt>
                <c:pt idx="128">
                  <c:v>0.10875051233378528</c:v>
                </c:pt>
                <c:pt idx="129">
                  <c:v>0.10875051233378528</c:v>
                </c:pt>
                <c:pt idx="130">
                  <c:v>0.10633193994407009</c:v>
                </c:pt>
                <c:pt idx="131">
                  <c:v>8.3204612877915168E-2</c:v>
                </c:pt>
                <c:pt idx="132">
                  <c:v>8.365814353436235E-2</c:v>
                </c:pt>
                <c:pt idx="133">
                  <c:v>8.365814353436235E-2</c:v>
                </c:pt>
                <c:pt idx="134">
                  <c:v>8.365814353436235E-2</c:v>
                </c:pt>
                <c:pt idx="135">
                  <c:v>8.365814353436235E-2</c:v>
                </c:pt>
                <c:pt idx="136">
                  <c:v>8.365814353436235E-2</c:v>
                </c:pt>
                <c:pt idx="137">
                  <c:v>9.4692727626406001E-2</c:v>
                </c:pt>
                <c:pt idx="138">
                  <c:v>9.2727626405906427E-2</c:v>
                </c:pt>
                <c:pt idx="139">
                  <c:v>7.2472342898682027E-2</c:v>
                </c:pt>
                <c:pt idx="140">
                  <c:v>8.6681284662466565E-2</c:v>
                </c:pt>
                <c:pt idx="141">
                  <c:v>9.7564711698104822E-2</c:v>
                </c:pt>
                <c:pt idx="142">
                  <c:v>9.7564711698104822E-2</c:v>
                </c:pt>
                <c:pt idx="143">
                  <c:v>9.7564711698104822E-2</c:v>
                </c:pt>
                <c:pt idx="144">
                  <c:v>9.7564711698104822E-2</c:v>
                </c:pt>
                <c:pt idx="145">
                  <c:v>9.9529812918604244E-2</c:v>
                </c:pt>
                <c:pt idx="146">
                  <c:v>9.8774027636578263E-2</c:v>
                </c:pt>
                <c:pt idx="147">
                  <c:v>0.10134369759546673</c:v>
                </c:pt>
                <c:pt idx="148">
                  <c:v>0.10678541111328571</c:v>
                </c:pt>
                <c:pt idx="149">
                  <c:v>0.10678541111328571</c:v>
                </c:pt>
                <c:pt idx="150">
                  <c:v>0.10678541111328571</c:v>
                </c:pt>
                <c:pt idx="151">
                  <c:v>9.8137038356772302E-2</c:v>
                </c:pt>
                <c:pt idx="152">
                  <c:v>9.8169339923725549E-2</c:v>
                </c:pt>
                <c:pt idx="153">
                  <c:v>0.10013444114422512</c:v>
                </c:pt>
                <c:pt idx="154">
                  <c:v>9.9529812918604244E-2</c:v>
                </c:pt>
                <c:pt idx="155">
                  <c:v>0.1079946675645273</c:v>
                </c:pt>
                <c:pt idx="156">
                  <c:v>0.1079946675645273</c:v>
                </c:pt>
                <c:pt idx="157">
                  <c:v>0.1079946675645273</c:v>
                </c:pt>
                <c:pt idx="158">
                  <c:v>0.10527384054923389</c:v>
                </c:pt>
                <c:pt idx="159">
                  <c:v>0.10482036938001826</c:v>
                </c:pt>
                <c:pt idx="160">
                  <c:v>0.10769235345171695</c:v>
                </c:pt>
                <c:pt idx="161">
                  <c:v>0.10829704116456966</c:v>
                </c:pt>
                <c:pt idx="162">
                  <c:v>0.11600611052846688</c:v>
                </c:pt>
                <c:pt idx="163">
                  <c:v>0.11600611052846688</c:v>
                </c:pt>
                <c:pt idx="164">
                  <c:v>0.11600611052846688</c:v>
                </c:pt>
                <c:pt idx="165">
                  <c:v>0.11404106879519915</c:v>
                </c:pt>
                <c:pt idx="166">
                  <c:v>0.11645958169768235</c:v>
                </c:pt>
                <c:pt idx="167">
                  <c:v>0.11827352586177668</c:v>
                </c:pt>
                <c:pt idx="168">
                  <c:v>0.12220360932831184</c:v>
                </c:pt>
                <c:pt idx="169">
                  <c:v>0.11902931114380251</c:v>
                </c:pt>
                <c:pt idx="170">
                  <c:v>0.11902931114380251</c:v>
                </c:pt>
                <c:pt idx="171">
                  <c:v>0.11902931114380251</c:v>
                </c:pt>
                <c:pt idx="172">
                  <c:v>0.12537796700005302</c:v>
                </c:pt>
                <c:pt idx="173">
                  <c:v>0.12704069462051024</c:v>
                </c:pt>
                <c:pt idx="174">
                  <c:v>0.12356408232319069</c:v>
                </c:pt>
                <c:pt idx="175">
                  <c:v>0.12855232467179406</c:v>
                </c:pt>
                <c:pt idx="176">
                  <c:v>0.13021505229225142</c:v>
                </c:pt>
                <c:pt idx="177">
                  <c:v>0.13021505229225142</c:v>
                </c:pt>
                <c:pt idx="178">
                  <c:v>0.13021505229225142</c:v>
                </c:pt>
                <c:pt idx="179">
                  <c:v>0.1347498234716393</c:v>
                </c:pt>
                <c:pt idx="180">
                  <c:v>0.1435170517176047</c:v>
                </c:pt>
                <c:pt idx="181">
                  <c:v>0.14261944887459094</c:v>
                </c:pt>
                <c:pt idx="182">
                  <c:v>0.14729603761496662</c:v>
                </c:pt>
                <c:pt idx="183">
                  <c:v>0.15379585052762196</c:v>
                </c:pt>
                <c:pt idx="184">
                  <c:v>0.15379585052762196</c:v>
                </c:pt>
                <c:pt idx="185">
                  <c:v>0.15379585052762196</c:v>
                </c:pt>
                <c:pt idx="186">
                  <c:v>0.15697014871213127</c:v>
                </c:pt>
                <c:pt idx="187">
                  <c:v>0.15455163580964806</c:v>
                </c:pt>
                <c:pt idx="188">
                  <c:v>0.16543506284528633</c:v>
                </c:pt>
                <c:pt idx="189">
                  <c:v>0.14941223640463933</c:v>
                </c:pt>
                <c:pt idx="190">
                  <c:v>0.15742367936857873</c:v>
                </c:pt>
                <c:pt idx="191">
                  <c:v>0.15742367936857873</c:v>
                </c:pt>
                <c:pt idx="192">
                  <c:v>0.15742367936857873</c:v>
                </c:pt>
                <c:pt idx="193">
                  <c:v>0.16452812050685522</c:v>
                </c:pt>
                <c:pt idx="194">
                  <c:v>0.17102793341951056</c:v>
                </c:pt>
                <c:pt idx="195">
                  <c:v>0.17284187758360489</c:v>
                </c:pt>
                <c:pt idx="196">
                  <c:v>0.16558621990169128</c:v>
                </c:pt>
                <c:pt idx="197">
                  <c:v>0.16528390578888108</c:v>
                </c:pt>
                <c:pt idx="198">
                  <c:v>0.16528390578888108</c:v>
                </c:pt>
                <c:pt idx="199">
                  <c:v>0.16528390578888108</c:v>
                </c:pt>
                <c:pt idx="200">
                  <c:v>0.14412167994322544</c:v>
                </c:pt>
                <c:pt idx="201">
                  <c:v>0.15999334932746706</c:v>
                </c:pt>
                <c:pt idx="202">
                  <c:v>0.16936520579905334</c:v>
                </c:pt>
                <c:pt idx="203">
                  <c:v>0.1731441916964151</c:v>
                </c:pt>
                <c:pt idx="204">
                  <c:v>0.18569034635251058</c:v>
                </c:pt>
                <c:pt idx="205">
                  <c:v>0.18569034635251058</c:v>
                </c:pt>
                <c:pt idx="206">
                  <c:v>0.18569034635251058</c:v>
                </c:pt>
                <c:pt idx="207">
                  <c:v>0.18145788928593304</c:v>
                </c:pt>
                <c:pt idx="208">
                  <c:v>0.17737664876299292</c:v>
                </c:pt>
                <c:pt idx="209">
                  <c:v>0.18463224695767422</c:v>
                </c:pt>
                <c:pt idx="210">
                  <c:v>0.18432993284486371</c:v>
                </c:pt>
                <c:pt idx="211">
                  <c:v>0.18478340401407947</c:v>
                </c:pt>
                <c:pt idx="212">
                  <c:v>0.18414671217043321</c:v>
                </c:pt>
                <c:pt idx="213">
                  <c:v>0.18414671217043321</c:v>
                </c:pt>
                <c:pt idx="214">
                  <c:v>0.18614381752172618</c:v>
                </c:pt>
                <c:pt idx="215">
                  <c:v>0.18553918929610533</c:v>
                </c:pt>
                <c:pt idx="216">
                  <c:v>0.19264368992161379</c:v>
                </c:pt>
                <c:pt idx="217">
                  <c:v>0.1962715187625706</c:v>
                </c:pt>
                <c:pt idx="218">
                  <c:v>0.20277133167522593</c:v>
                </c:pt>
                <c:pt idx="219">
                  <c:v>0.20277133167522593</c:v>
                </c:pt>
                <c:pt idx="220">
                  <c:v>0.20277133167522593</c:v>
                </c:pt>
                <c:pt idx="221">
                  <c:v>0.2071549457982087</c:v>
                </c:pt>
                <c:pt idx="222">
                  <c:v>0.20851535930585555</c:v>
                </c:pt>
                <c:pt idx="223">
                  <c:v>0.21229434520321733</c:v>
                </c:pt>
                <c:pt idx="224">
                  <c:v>0.21289897342883818</c:v>
                </c:pt>
                <c:pt idx="225">
                  <c:v>0.21365475871086417</c:v>
                </c:pt>
                <c:pt idx="226">
                  <c:v>0.21365475871086417</c:v>
                </c:pt>
                <c:pt idx="227">
                  <c:v>0.21365475871086417</c:v>
                </c:pt>
                <c:pt idx="228">
                  <c:v>0.21289897342883818</c:v>
                </c:pt>
                <c:pt idx="229">
                  <c:v>0.22242198695682958</c:v>
                </c:pt>
                <c:pt idx="230">
                  <c:v>0.22302661518245032</c:v>
                </c:pt>
                <c:pt idx="231">
                  <c:v>0.21909647222868345</c:v>
                </c:pt>
                <c:pt idx="232">
                  <c:v>0.22695675813621746</c:v>
                </c:pt>
                <c:pt idx="233">
                  <c:v>0.22695675813621746</c:v>
                </c:pt>
                <c:pt idx="234">
                  <c:v>0.22695675813621746</c:v>
                </c:pt>
                <c:pt idx="235">
                  <c:v>0.22877064281307979</c:v>
                </c:pt>
                <c:pt idx="236">
                  <c:v>0.23224731459763134</c:v>
                </c:pt>
                <c:pt idx="237">
                  <c:v>0.23285194282325208</c:v>
                </c:pt>
                <c:pt idx="238">
                  <c:v>0.22499165691571804</c:v>
                </c:pt>
                <c:pt idx="239">
                  <c:v>0.22680560107981221</c:v>
                </c:pt>
                <c:pt idx="240">
                  <c:v>0.22680560107981221</c:v>
                </c:pt>
                <c:pt idx="241">
                  <c:v>0.22680560107981221</c:v>
                </c:pt>
                <c:pt idx="242">
                  <c:v>0.2290729569258903</c:v>
                </c:pt>
                <c:pt idx="243">
                  <c:v>0.22318092506214923</c:v>
                </c:pt>
                <c:pt idx="244">
                  <c:v>0.22242198695682958</c:v>
                </c:pt>
                <c:pt idx="245">
                  <c:v>0.22060810227996724</c:v>
                </c:pt>
                <c:pt idx="246">
                  <c:v>0.21909647222868345</c:v>
                </c:pt>
                <c:pt idx="247">
                  <c:v>0.21909647222868345</c:v>
                </c:pt>
                <c:pt idx="248">
                  <c:v>0.21909647222868345</c:v>
                </c:pt>
                <c:pt idx="249">
                  <c:v>0.22438702869009702</c:v>
                </c:pt>
                <c:pt idx="250">
                  <c:v>0.21713143049541572</c:v>
                </c:pt>
                <c:pt idx="251">
                  <c:v>0.21229434520321733</c:v>
                </c:pt>
                <c:pt idx="252">
                  <c:v>0.21637564521338987</c:v>
                </c:pt>
                <c:pt idx="253">
                  <c:v>0.20730610285461396</c:v>
                </c:pt>
                <c:pt idx="254">
                  <c:v>0.20730610285461396</c:v>
                </c:pt>
                <c:pt idx="255">
                  <c:v>0.20730610285461396</c:v>
                </c:pt>
                <c:pt idx="256">
                  <c:v>0.20488753046489877</c:v>
                </c:pt>
                <c:pt idx="257">
                  <c:v>0.20110860405476899</c:v>
                </c:pt>
                <c:pt idx="258">
                  <c:v>0.19672498993178608</c:v>
                </c:pt>
                <c:pt idx="259">
                  <c:v>0.19778308932662256</c:v>
                </c:pt>
                <c:pt idx="260">
                  <c:v>0.19430641754207101</c:v>
                </c:pt>
                <c:pt idx="261">
                  <c:v>0.19430641754207101</c:v>
                </c:pt>
                <c:pt idx="262">
                  <c:v>0.19430641754207101</c:v>
                </c:pt>
                <c:pt idx="263">
                  <c:v>0.17269072052719964</c:v>
                </c:pt>
                <c:pt idx="264">
                  <c:v>0.17767896287580329</c:v>
                </c:pt>
                <c:pt idx="265">
                  <c:v>0.18962048930627787</c:v>
                </c:pt>
                <c:pt idx="266">
                  <c:v>0.20322480284444169</c:v>
                </c:pt>
                <c:pt idx="267">
                  <c:v>0.20050391634191597</c:v>
                </c:pt>
                <c:pt idx="268">
                  <c:v>0.20050391634191597</c:v>
                </c:pt>
                <c:pt idx="269">
                  <c:v>0.20050391634191597</c:v>
                </c:pt>
                <c:pt idx="270">
                  <c:v>0.19672498993178608</c:v>
                </c:pt>
                <c:pt idx="271">
                  <c:v>0.17087677636310544</c:v>
                </c:pt>
                <c:pt idx="272">
                  <c:v>0.18009747577828633</c:v>
                </c:pt>
                <c:pt idx="273">
                  <c:v>0.16662195209731151</c:v>
                </c:pt>
                <c:pt idx="274">
                  <c:v>0.16573737695809684</c:v>
                </c:pt>
                <c:pt idx="275">
                  <c:v>0.16573737695809684</c:v>
                </c:pt>
                <c:pt idx="276">
                  <c:v>0.16573737695809684</c:v>
                </c:pt>
                <c:pt idx="277">
                  <c:v>0.15500510697886355</c:v>
                </c:pt>
                <c:pt idx="278">
                  <c:v>0.17344650580922574</c:v>
                </c:pt>
                <c:pt idx="279">
                  <c:v>0.1716325616451313</c:v>
                </c:pt>
                <c:pt idx="280">
                  <c:v>0.1962715187625706</c:v>
                </c:pt>
                <c:pt idx="281">
                  <c:v>0.18810891874222577</c:v>
                </c:pt>
                <c:pt idx="282">
                  <c:v>0.18810891874222577</c:v>
                </c:pt>
                <c:pt idx="283">
                  <c:v>0.18810891874222577</c:v>
                </c:pt>
                <c:pt idx="284">
                  <c:v>0.18765544757301014</c:v>
                </c:pt>
                <c:pt idx="285">
                  <c:v>0.17737664876299292</c:v>
                </c:pt>
                <c:pt idx="286">
                  <c:v>0.17919053343985511</c:v>
                </c:pt>
                <c:pt idx="287">
                  <c:v>0.19415526048566575</c:v>
                </c:pt>
                <c:pt idx="288">
                  <c:v>0.20398058812646752</c:v>
                </c:pt>
                <c:pt idx="289">
                  <c:v>0.20398058812646752</c:v>
                </c:pt>
                <c:pt idx="290">
                  <c:v>0.20398058812646752</c:v>
                </c:pt>
                <c:pt idx="291">
                  <c:v>0.20186438933679482</c:v>
                </c:pt>
                <c:pt idx="292">
                  <c:v>0.20791073108023453</c:v>
                </c:pt>
                <c:pt idx="293">
                  <c:v>0.21652680226979498</c:v>
                </c:pt>
                <c:pt idx="294">
                  <c:v>0.2192476292850884</c:v>
                </c:pt>
                <c:pt idx="295">
                  <c:v>0.22453818574650228</c:v>
                </c:pt>
                <c:pt idx="296">
                  <c:v>0.22453818574650228</c:v>
                </c:pt>
                <c:pt idx="297">
                  <c:v>0.22453818574650228</c:v>
                </c:pt>
                <c:pt idx="298">
                  <c:v>0.22680560107981221</c:v>
                </c:pt>
                <c:pt idx="299">
                  <c:v>0.23617745755139835</c:v>
                </c:pt>
                <c:pt idx="300">
                  <c:v>0.23285194282325208</c:v>
                </c:pt>
                <c:pt idx="301">
                  <c:v>0.23149152931560552</c:v>
                </c:pt>
                <c:pt idx="302">
                  <c:v>0.24056107167438115</c:v>
                </c:pt>
                <c:pt idx="303">
                  <c:v>0.24056107167438115</c:v>
                </c:pt>
                <c:pt idx="304">
                  <c:v>0.24264020991854424</c:v>
                </c:pt>
                <c:pt idx="305">
                  <c:v>0.24267727046405382</c:v>
                </c:pt>
                <c:pt idx="306">
                  <c:v>0.24736319869984696</c:v>
                </c:pt>
                <c:pt idx="307">
                  <c:v>0.23572398638218289</c:v>
                </c:pt>
                <c:pt idx="308">
                  <c:v>0.25023524225877791</c:v>
                </c:pt>
                <c:pt idx="309">
                  <c:v>0.2546187968945286</c:v>
                </c:pt>
                <c:pt idx="310">
                  <c:v>0.2546187968945286</c:v>
                </c:pt>
                <c:pt idx="311">
                  <c:v>0.2546187968945286</c:v>
                </c:pt>
                <c:pt idx="312">
                  <c:v>0.25537464166378654</c:v>
                </c:pt>
                <c:pt idx="313">
                  <c:v>0.25356069749969223</c:v>
                </c:pt>
                <c:pt idx="314">
                  <c:v>0.255828112833002</c:v>
                </c:pt>
                <c:pt idx="315">
                  <c:v>0.25673505517143341</c:v>
                </c:pt>
                <c:pt idx="316">
                  <c:v>0.26293255397127852</c:v>
                </c:pt>
                <c:pt idx="317">
                  <c:v>0.26293255397127852</c:v>
                </c:pt>
                <c:pt idx="318">
                  <c:v>0.26293255397127852</c:v>
                </c:pt>
                <c:pt idx="319">
                  <c:v>0.2707928398788127</c:v>
                </c:pt>
                <c:pt idx="320">
                  <c:v>0.27956006812477824</c:v>
                </c:pt>
                <c:pt idx="321">
                  <c:v>0.27880422335552041</c:v>
                </c:pt>
                <c:pt idx="322">
                  <c:v>0.27154862516083883</c:v>
                </c:pt>
                <c:pt idx="323">
                  <c:v>0.2801646963503987</c:v>
                </c:pt>
                <c:pt idx="324">
                  <c:v>0.2801646963503987</c:v>
                </c:pt>
                <c:pt idx="325">
                  <c:v>0.2801646963503987</c:v>
                </c:pt>
                <c:pt idx="326">
                  <c:v>0.28817607982710652</c:v>
                </c:pt>
                <c:pt idx="327">
                  <c:v>0.26278139691487312</c:v>
                </c:pt>
                <c:pt idx="328">
                  <c:v>0.26897889571471834</c:v>
                </c:pt>
                <c:pt idx="329">
                  <c:v>0.27729265279146803</c:v>
                </c:pt>
                <c:pt idx="330">
                  <c:v>0.24177032812562274</c:v>
                </c:pt>
                <c:pt idx="331">
                  <c:v>0.24177032812562274</c:v>
                </c:pt>
                <c:pt idx="332">
                  <c:v>0.24177032812562274</c:v>
                </c:pt>
                <c:pt idx="333">
                  <c:v>0.24766551281265778</c:v>
                </c:pt>
                <c:pt idx="334">
                  <c:v>0.22793413335728688</c:v>
                </c:pt>
                <c:pt idx="335">
                  <c:v>0.24222379929483837</c:v>
                </c:pt>
                <c:pt idx="336">
                  <c:v>0.23209615754122609</c:v>
                </c:pt>
                <c:pt idx="337">
                  <c:v>0.22559634462857076</c:v>
                </c:pt>
                <c:pt idx="338">
                  <c:v>0.22559634462857076</c:v>
                </c:pt>
                <c:pt idx="339">
                  <c:v>0.22559634462857076</c:v>
                </c:pt>
                <c:pt idx="340">
                  <c:v>0.24343305574607996</c:v>
                </c:pt>
                <c:pt idx="341">
                  <c:v>0.27487413988898513</c:v>
                </c:pt>
                <c:pt idx="342">
                  <c:v>0.26338602514049397</c:v>
                </c:pt>
                <c:pt idx="343">
                  <c:v>0.26943236688393396</c:v>
                </c:pt>
                <c:pt idx="344">
                  <c:v>0.26776963926347674</c:v>
                </c:pt>
                <c:pt idx="345">
                  <c:v>0.26776963926347674</c:v>
                </c:pt>
                <c:pt idx="346">
                  <c:v>0.26776963926347674</c:v>
                </c:pt>
                <c:pt idx="347">
                  <c:v>0.26943236688393396</c:v>
                </c:pt>
                <c:pt idx="348">
                  <c:v>0.24524699991017429</c:v>
                </c:pt>
                <c:pt idx="349">
                  <c:v>0.24857245515108886</c:v>
                </c:pt>
                <c:pt idx="350">
                  <c:v>0.26459528159173556</c:v>
                </c:pt>
                <c:pt idx="351">
                  <c:v>0.25235144104845064</c:v>
                </c:pt>
                <c:pt idx="352">
                  <c:v>0.25235144104845064</c:v>
                </c:pt>
                <c:pt idx="353">
                  <c:v>0.25235144104845064</c:v>
                </c:pt>
                <c:pt idx="354">
                  <c:v>0.22030572867992476</c:v>
                </c:pt>
                <c:pt idx="355">
                  <c:v>0.23723555694623499</c:v>
                </c:pt>
                <c:pt idx="356">
                  <c:v>0.25008408520237269</c:v>
                </c:pt>
                <c:pt idx="357">
                  <c:v>0.26399065336611471</c:v>
                </c:pt>
                <c:pt idx="358">
                  <c:v>0.26399065336611471</c:v>
                </c:pt>
                <c:pt idx="359">
                  <c:v>0.26399065336611471</c:v>
                </c:pt>
                <c:pt idx="360">
                  <c:v>0.26399065336611471</c:v>
                </c:pt>
                <c:pt idx="361">
                  <c:v>0.27018821165319196</c:v>
                </c:pt>
                <c:pt idx="362">
                  <c:v>0.28061816751961433</c:v>
                </c:pt>
                <c:pt idx="363">
                  <c:v>0.2751764540017953</c:v>
                </c:pt>
                <c:pt idx="364">
                  <c:v>0.27925769452473587</c:v>
                </c:pt>
                <c:pt idx="365">
                  <c:v>0.26927728367021958</c:v>
                </c:pt>
                <c:pt idx="366">
                  <c:v>0.26927728367021958</c:v>
                </c:pt>
                <c:pt idx="367">
                  <c:v>0.26927728367021958</c:v>
                </c:pt>
                <c:pt idx="368">
                  <c:v>0.27094399693521781</c:v>
                </c:pt>
                <c:pt idx="369">
                  <c:v>0.27124631104802832</c:v>
                </c:pt>
                <c:pt idx="370">
                  <c:v>0.26671153986864043</c:v>
                </c:pt>
                <c:pt idx="371">
                  <c:v>0.24766551281265778</c:v>
                </c:pt>
                <c:pt idx="372">
                  <c:v>0.22741022930543295</c:v>
                </c:pt>
                <c:pt idx="373">
                  <c:v>0.22741022930543295</c:v>
                </c:pt>
                <c:pt idx="374">
                  <c:v>0.22741022930543295</c:v>
                </c:pt>
                <c:pt idx="375">
                  <c:v>0.20760841696742433</c:v>
                </c:pt>
                <c:pt idx="376">
                  <c:v>0.22227082990042432</c:v>
                </c:pt>
                <c:pt idx="377">
                  <c:v>0.2308869010899845</c:v>
                </c:pt>
                <c:pt idx="378">
                  <c:v>0.22725907224902797</c:v>
                </c:pt>
                <c:pt idx="379">
                  <c:v>0.20503868752130386</c:v>
                </c:pt>
                <c:pt idx="380">
                  <c:v>0.20503868752130386</c:v>
                </c:pt>
                <c:pt idx="381">
                  <c:v>0.20503868752130386</c:v>
                </c:pt>
                <c:pt idx="382">
                  <c:v>0.21199203109040682</c:v>
                </c:pt>
                <c:pt idx="383">
                  <c:v>0.20186438933679482</c:v>
                </c:pt>
                <c:pt idx="384">
                  <c:v>0.20488753046489877</c:v>
                </c:pt>
                <c:pt idx="385">
                  <c:v>0.21531748633132139</c:v>
                </c:pt>
                <c:pt idx="386">
                  <c:v>0.1878066046294154</c:v>
                </c:pt>
                <c:pt idx="387">
                  <c:v>0.1878066046294154</c:v>
                </c:pt>
                <c:pt idx="388">
                  <c:v>0.1878066046294154</c:v>
                </c:pt>
                <c:pt idx="389">
                  <c:v>0.14684250695851916</c:v>
                </c:pt>
                <c:pt idx="390">
                  <c:v>0.14623787873289842</c:v>
                </c:pt>
                <c:pt idx="391">
                  <c:v>0.16694669289657013</c:v>
                </c:pt>
                <c:pt idx="392">
                  <c:v>0.17843474815782925</c:v>
                </c:pt>
                <c:pt idx="393">
                  <c:v>0.15772599348138924</c:v>
                </c:pt>
                <c:pt idx="394">
                  <c:v>0.15772599348138924</c:v>
                </c:pt>
                <c:pt idx="395">
                  <c:v>0.15772599348138924</c:v>
                </c:pt>
                <c:pt idx="396">
                  <c:v>0.19062493121788804</c:v>
                </c:pt>
                <c:pt idx="397">
                  <c:v>0.18629497457813143</c:v>
                </c:pt>
                <c:pt idx="398">
                  <c:v>0.19974813105989014</c:v>
                </c:pt>
                <c:pt idx="399">
                  <c:v>0.18070210400390721</c:v>
                </c:pt>
                <c:pt idx="400">
                  <c:v>0.15243543701997525</c:v>
                </c:pt>
                <c:pt idx="401">
                  <c:v>0.15243543701997525</c:v>
                </c:pt>
                <c:pt idx="402">
                  <c:v>0.15243543701997525</c:v>
                </c:pt>
                <c:pt idx="403">
                  <c:v>0.16316770699920838</c:v>
                </c:pt>
                <c:pt idx="404">
                  <c:v>0.15597254783219611</c:v>
                </c:pt>
                <c:pt idx="405">
                  <c:v>0.18839648002151052</c:v>
                </c:pt>
                <c:pt idx="406">
                  <c:v>0.17665566351166234</c:v>
                </c:pt>
                <c:pt idx="407">
                  <c:v>0.16780985263228046</c:v>
                </c:pt>
                <c:pt idx="408">
                  <c:v>0.16780985263228046</c:v>
                </c:pt>
                <c:pt idx="409">
                  <c:v>0.16780985263228046</c:v>
                </c:pt>
                <c:pt idx="410">
                  <c:v>0.15124402673832107</c:v>
                </c:pt>
                <c:pt idx="411">
                  <c:v>0.16153734043293638</c:v>
                </c:pt>
                <c:pt idx="412">
                  <c:v>0.15349567795516222</c:v>
                </c:pt>
                <c:pt idx="413">
                  <c:v>0.1486707280582833</c:v>
                </c:pt>
                <c:pt idx="414">
                  <c:v>0.13853820835165068</c:v>
                </c:pt>
                <c:pt idx="415">
                  <c:v>0.13853820835165068</c:v>
                </c:pt>
                <c:pt idx="416">
                  <c:v>0.13853820835165068</c:v>
                </c:pt>
                <c:pt idx="417">
                  <c:v>0.12390238621133548</c:v>
                </c:pt>
                <c:pt idx="418">
                  <c:v>0.13033569239866211</c:v>
                </c:pt>
                <c:pt idx="419">
                  <c:v>0.12293738433451339</c:v>
                </c:pt>
                <c:pt idx="420">
                  <c:v>0.10363740628530209</c:v>
                </c:pt>
                <c:pt idx="421">
                  <c:v>0.14111156651892046</c:v>
                </c:pt>
                <c:pt idx="422">
                  <c:v>0.14111156651892046</c:v>
                </c:pt>
                <c:pt idx="423">
                  <c:v>0.14111156651892046</c:v>
                </c:pt>
                <c:pt idx="424">
                  <c:v>0.15359543804315565</c:v>
                </c:pt>
                <c:pt idx="425">
                  <c:v>0.14464986707578034</c:v>
                </c:pt>
                <c:pt idx="426">
                  <c:v>0.14915322899669434</c:v>
                </c:pt>
                <c:pt idx="427">
                  <c:v>0.14947487645989127</c:v>
                </c:pt>
                <c:pt idx="428" formatCode="0.0%">
                  <c:v>0.14062906558050911</c:v>
                </c:pt>
                <c:pt idx="429" formatCode="0.0%">
                  <c:v>0.14062906558050911</c:v>
                </c:pt>
                <c:pt idx="430" formatCode="0.0%">
                  <c:v>0.14062906558050911</c:v>
                </c:pt>
                <c:pt idx="431" formatCode="0.0%">
                  <c:v>0.13483905431957638</c:v>
                </c:pt>
                <c:pt idx="432" formatCode="0.0%">
                  <c:v>0.12551074250178318</c:v>
                </c:pt>
                <c:pt idx="433" formatCode="0.0%">
                  <c:v>0.13741235299961388</c:v>
                </c:pt>
                <c:pt idx="434" formatCode="0.0%">
                  <c:v>0.12840574813224961</c:v>
                </c:pt>
                <c:pt idx="435" formatCode="0.0%">
                  <c:v>0.1441673661373693</c:v>
                </c:pt>
                <c:pt idx="436" formatCode="0.0%">
                  <c:v>0.1441673661373693</c:v>
                </c:pt>
                <c:pt idx="437" formatCode="0.0%">
                  <c:v>0.1441673661373693</c:v>
                </c:pt>
                <c:pt idx="438" formatCode="0.0%">
                  <c:v>0.1314615477506986</c:v>
                </c:pt>
                <c:pt idx="439" formatCode="0.0%">
                  <c:v>0.13162240122591284</c:v>
                </c:pt>
                <c:pt idx="440" formatCode="0.0%">
                  <c:v>0.15944654269130937</c:v>
                </c:pt>
                <c:pt idx="441" formatCode="0.0%">
                  <c:v>0.16025069109291734</c:v>
                </c:pt>
                <c:pt idx="442" formatCode="0.0%">
                  <c:v>0.17826401980210974</c:v>
                </c:pt>
                <c:pt idx="443" formatCode="0.0%">
                  <c:v>0.17826401980210974</c:v>
                </c:pt>
                <c:pt idx="444" formatCode="0.0%">
                  <c:v>0.17826401980210974</c:v>
                </c:pt>
                <c:pt idx="445" formatCode="0.0%">
                  <c:v>0.1892006879103505</c:v>
                </c:pt>
                <c:pt idx="446" formatCode="0.0%">
                  <c:v>0.20271065469862876</c:v>
                </c:pt>
                <c:pt idx="447" formatCode="0.0%">
                  <c:v>0.19354313686881824</c:v>
                </c:pt>
                <c:pt idx="448" formatCode="0.0%">
                  <c:v>0.19129148565197723</c:v>
                </c:pt>
                <c:pt idx="449" formatCode="0.0%">
                  <c:v>0.18952233537354715</c:v>
                </c:pt>
                <c:pt idx="450" formatCode="0.0%">
                  <c:v>0.18952233537354715</c:v>
                </c:pt>
                <c:pt idx="451" formatCode="0.0%">
                  <c:v>0.18952233537354715</c:v>
                </c:pt>
                <c:pt idx="452" formatCode="0.0%">
                  <c:v>0.20271065469862876</c:v>
                </c:pt>
                <c:pt idx="453" formatCode="0.0%">
                  <c:v>0.20721395713231089</c:v>
                </c:pt>
                <c:pt idx="454" formatCode="0.0%">
                  <c:v>0.20399730403864752</c:v>
                </c:pt>
                <c:pt idx="455" formatCode="0.0%">
                  <c:v>0.19107917572111915</c:v>
                </c:pt>
                <c:pt idx="456" formatCode="0.0%">
                  <c:v>0.20351480310023645</c:v>
                </c:pt>
                <c:pt idx="457" formatCode="0.0%">
                  <c:v>0.20351480310023645</c:v>
                </c:pt>
                <c:pt idx="458" formatCode="0.0%">
                  <c:v>0.20351480310023645</c:v>
                </c:pt>
                <c:pt idx="459" formatCode="0.0%">
                  <c:v>0.21412982374528042</c:v>
                </c:pt>
                <c:pt idx="460" formatCode="0.0%">
                  <c:v>0.22426228396468134</c:v>
                </c:pt>
                <c:pt idx="461" formatCode="0.0%">
                  <c:v>0.20222815376021772</c:v>
                </c:pt>
                <c:pt idx="462" formatCode="0.0%">
                  <c:v>0.20898316689797297</c:v>
                </c:pt>
                <c:pt idx="463" formatCode="0.0%">
                  <c:v>0.21766812430214061</c:v>
                </c:pt>
                <c:pt idx="464" formatCode="0.0%">
                  <c:v>0.21766812430214061</c:v>
                </c:pt>
                <c:pt idx="465" formatCode="0.0%">
                  <c:v>0.21766812430214061</c:v>
                </c:pt>
                <c:pt idx="466" formatCode="0.0%">
                  <c:v>0.21766812430214061</c:v>
                </c:pt>
                <c:pt idx="467" formatCode="0.0%">
                  <c:v>0.18260652824780949</c:v>
                </c:pt>
                <c:pt idx="468" formatCode="0.0%">
                  <c:v>0.18260652824780949</c:v>
                </c:pt>
                <c:pt idx="469" formatCode="0.0%">
                  <c:v>0.18260652824780949</c:v>
                </c:pt>
                <c:pt idx="470" formatCode="0.0%">
                  <c:v>0.18260652824780949</c:v>
                </c:pt>
                <c:pt idx="471" formatCode="0.0%">
                  <c:v>0.18260652824780949</c:v>
                </c:pt>
                <c:pt idx="472" formatCode="0.0%">
                  <c:v>0.18260652824780949</c:v>
                </c:pt>
                <c:pt idx="473" formatCode="0.0%">
                  <c:v>0.18260652824780949</c:v>
                </c:pt>
                <c:pt idx="474" formatCode="0.0%">
                  <c:v>0.19724235038812438</c:v>
                </c:pt>
                <c:pt idx="475" formatCode="0.0%">
                  <c:v>0.20383651005066539</c:v>
                </c:pt>
                <c:pt idx="476" formatCode="0.0%">
                  <c:v>0.19740314437610679</c:v>
                </c:pt>
                <c:pt idx="477" formatCode="0.0%">
                  <c:v>0.16748820516908353</c:v>
                </c:pt>
                <c:pt idx="478" formatCode="0.0%">
                  <c:v>0.16748820516908353</c:v>
                </c:pt>
                <c:pt idx="479" formatCode="0.0%">
                  <c:v>0.16748820516908353</c:v>
                </c:pt>
                <c:pt idx="480" formatCode="0.0%">
                  <c:v>0.15043987833671338</c:v>
                </c:pt>
                <c:pt idx="481" formatCode="0.0%">
                  <c:v>0.14899237552147995</c:v>
                </c:pt>
                <c:pt idx="482" formatCode="0.0%">
                  <c:v>0.16185904738336504</c:v>
                </c:pt>
                <c:pt idx="483" formatCode="0.0%">
                  <c:v>0.16475399352659964</c:v>
                </c:pt>
                <c:pt idx="484" formatCode="0.0%">
                  <c:v>0.16732735169386942</c:v>
                </c:pt>
                <c:pt idx="485" formatCode="0.0%">
                  <c:v>0.15144509358233904</c:v>
                </c:pt>
                <c:pt idx="486" formatCode="0.0%">
                  <c:v>0.15144509358233904</c:v>
                </c:pt>
                <c:pt idx="487" formatCode="0.0%">
                  <c:v>0.14931402298467675</c:v>
                </c:pt>
                <c:pt idx="488" formatCode="0.0%">
                  <c:v>0.1470623717678356</c:v>
                </c:pt>
                <c:pt idx="489" formatCode="0.0%">
                  <c:v>0.13885985581484733</c:v>
                </c:pt>
                <c:pt idx="490" formatCode="0.0%">
                  <c:v>0.14127236050690256</c:v>
                </c:pt>
                <c:pt idx="491" formatCode="0.0%">
                  <c:v>0.12341988527292443</c:v>
                </c:pt>
                <c:pt idx="492" formatCode="0.0%">
                  <c:v>0.12341988527292443</c:v>
                </c:pt>
                <c:pt idx="493" formatCode="0.0%">
                  <c:v>0.12341988527292443</c:v>
                </c:pt>
                <c:pt idx="494" formatCode="0.0%">
                  <c:v>9.5434890332313671E-2</c:v>
                </c:pt>
                <c:pt idx="495" formatCode="0.0%">
                  <c:v>9.4469888455491577E-2</c:v>
                </c:pt>
                <c:pt idx="496" formatCode="0.0%">
                  <c:v>9.5113242869116876E-2</c:v>
                </c:pt>
                <c:pt idx="497" formatCode="0.0%">
                  <c:v>9.414824099229463E-2</c:v>
                </c:pt>
                <c:pt idx="498" formatCode="0.0%">
                  <c:v>9.414824099229463E-2</c:v>
                </c:pt>
                <c:pt idx="499" formatCode="0.0%">
                  <c:v>9.414824099229463E-2</c:v>
                </c:pt>
                <c:pt idx="500" formatCode="0.0%">
                  <c:v>9.414824099229463E-2</c:v>
                </c:pt>
                <c:pt idx="501" formatCode="0.0%">
                  <c:v>0.10765820778057304</c:v>
                </c:pt>
                <c:pt idx="502" formatCode="0.0%">
                  <c:v>0.10990991848464617</c:v>
                </c:pt>
                <c:pt idx="503" formatCode="0.0%">
                  <c:v>0.11216156970148732</c:v>
                </c:pt>
                <c:pt idx="504" formatCode="0.0%">
                  <c:v>9.1092441373845645E-2</c:v>
                </c:pt>
                <c:pt idx="505" formatCode="0.0%">
                  <c:v>9.5113242869116876E-2</c:v>
                </c:pt>
                <c:pt idx="506" formatCode="0.0%">
                  <c:v>9.5113242869116876E-2</c:v>
                </c:pt>
                <c:pt idx="507" formatCode="0.0%">
                  <c:v>9.5113242869116876E-2</c:v>
                </c:pt>
                <c:pt idx="508" formatCode="0.0%">
                  <c:v>9.6721599159564423E-2</c:v>
                </c:pt>
                <c:pt idx="509" formatCode="0.0%">
                  <c:v>7.6617413221513428E-2</c:v>
                </c:pt>
                <c:pt idx="510" formatCode="0.0%">
                  <c:v>9.9134103851619818E-2</c:v>
                </c:pt>
                <c:pt idx="511" formatCode="0.0%">
                  <c:v>9.9134103851619818E-2</c:v>
                </c:pt>
                <c:pt idx="512" formatCode="0.0%">
                  <c:v>9.9134103851619818E-2</c:v>
                </c:pt>
                <c:pt idx="513" formatCode="0.0%">
                  <c:v>9.9134103851619818E-2</c:v>
                </c:pt>
                <c:pt idx="514" formatCode="0.0%">
                  <c:v>9.9134103851619818E-2</c:v>
                </c:pt>
                <c:pt idx="515" formatCode="0.0%">
                  <c:v>0.14078985956849152</c:v>
                </c:pt>
                <c:pt idx="516" formatCode="0.0%">
                  <c:v>0.1345698151077343</c:v>
                </c:pt>
                <c:pt idx="517" formatCode="0.0%">
                  <c:v>0.13194404868910964</c:v>
                </c:pt>
                <c:pt idx="518" formatCode="0.0%">
                  <c:v>0.12937069052183986</c:v>
                </c:pt>
                <c:pt idx="519" formatCode="0.0%">
                  <c:v>0.13371319896753975</c:v>
                </c:pt>
                <c:pt idx="520" formatCode="0.0%">
                  <c:v>0.13371319896753975</c:v>
                </c:pt>
                <c:pt idx="521" formatCode="0.0%">
                  <c:v>0.13371319896753975</c:v>
                </c:pt>
                <c:pt idx="522" formatCode="0.0%">
                  <c:v>0.13371319896753975</c:v>
                </c:pt>
                <c:pt idx="523" formatCode="0.0%">
                  <c:v>0.1372515590116315</c:v>
                </c:pt>
                <c:pt idx="524" formatCode="0.0%">
                  <c:v>0.13097904681228756</c:v>
                </c:pt>
                <c:pt idx="525" formatCode="0.0%">
                  <c:v>0.12711903930499888</c:v>
                </c:pt>
                <c:pt idx="526" formatCode="0.0%">
                  <c:v>9.3826593529097835E-2</c:v>
                </c:pt>
                <c:pt idx="527" formatCode="0.0%">
                  <c:v>9.3826593529097835E-2</c:v>
                </c:pt>
                <c:pt idx="528" formatCode="0.0%">
                  <c:v>9.3826593529097835E-2</c:v>
                </c:pt>
                <c:pt idx="529" formatCode="0.0%">
                  <c:v>6.8254103280542613E-2</c:v>
                </c:pt>
                <c:pt idx="530" formatCode="0.0%">
                  <c:v>6.1820797093215842E-2</c:v>
                </c:pt>
                <c:pt idx="531" formatCode="0.0%">
                  <c:v>7.2918259189438853E-2</c:v>
                </c:pt>
                <c:pt idx="532" formatCode="0.0%">
                  <c:v>3.8499958061501471E-2</c:v>
                </c:pt>
                <c:pt idx="533" formatCode="0.0%">
                  <c:v>4.1555817167182312E-2</c:v>
                </c:pt>
                <c:pt idx="534" formatCode="0.0%">
                  <c:v>4.1555817167182312E-2</c:v>
                </c:pt>
                <c:pt idx="535" formatCode="0.0%">
                  <c:v>4.1555817167182312E-2</c:v>
                </c:pt>
                <c:pt idx="536" formatCode="0.0%">
                  <c:v>4.9758273632938742E-2</c:v>
                </c:pt>
                <c:pt idx="537" formatCode="0.0%">
                  <c:v>6.0855795216393747E-2</c:v>
                </c:pt>
                <c:pt idx="538" formatCode="0.0%">
                  <c:v>5.7478288647516251E-2</c:v>
                </c:pt>
                <c:pt idx="539" formatCode="0.0%">
                  <c:v>6.7771602342131268E-2</c:v>
                </c:pt>
                <c:pt idx="540" formatCode="0.0%">
                  <c:v>9.5113242869116876E-2</c:v>
                </c:pt>
                <c:pt idx="541" formatCode="0.0%">
                  <c:v>9.5113242869116876E-2</c:v>
                </c:pt>
                <c:pt idx="542" formatCode="0.0%">
                  <c:v>9.5113242869116876E-2</c:v>
                </c:pt>
                <c:pt idx="543" formatCode="0.0%">
                  <c:v>9.752574756117241E-2</c:v>
                </c:pt>
                <c:pt idx="544" formatCode="0.0%">
                  <c:v>9.7043246622761356E-2</c:v>
                </c:pt>
                <c:pt idx="545" formatCode="0.0%">
                  <c:v>8.6267431989735008E-2</c:v>
                </c:pt>
                <c:pt idx="546" formatCode="0.0%">
                  <c:v>7.8616600625924626E-2</c:v>
                </c:pt>
                <c:pt idx="547" formatCode="0.0%">
                  <c:v>8.1764070068820735E-2</c:v>
                </c:pt>
                <c:pt idx="548" formatCode="0.0%">
                  <c:v>8.1764070068820735E-2</c:v>
                </c:pt>
                <c:pt idx="549" formatCode="0.0%">
                  <c:v>8.1764070068820735E-2</c:v>
                </c:pt>
                <c:pt idx="550" formatCode="0.0%">
                  <c:v>8.7393227854539499E-2</c:v>
                </c:pt>
                <c:pt idx="551" formatCode="0.0%">
                  <c:v>9.141408883704244E-2</c:v>
                </c:pt>
                <c:pt idx="552" formatCode="0.0%">
                  <c:v>0.11505657533195375</c:v>
                </c:pt>
                <c:pt idx="553" formatCode="0.0%">
                  <c:v>0.12953154399705441</c:v>
                </c:pt>
                <c:pt idx="554" formatCode="0.0%">
                  <c:v>0.13130069427548421</c:v>
                </c:pt>
                <c:pt idx="555" formatCode="0.0%">
                  <c:v>0.13130069427548421</c:v>
                </c:pt>
                <c:pt idx="556" formatCode="0.0%">
                  <c:v>0.13130069427548421</c:v>
                </c:pt>
                <c:pt idx="557" formatCode="0.0%">
                  <c:v>0.13162240122591284</c:v>
                </c:pt>
                <c:pt idx="558" formatCode="0.0%">
                  <c:v>0.13242654962752071</c:v>
                </c:pt>
                <c:pt idx="559" formatCode="0.0%">
                  <c:v>0.11119656782466493</c:v>
                </c:pt>
                <c:pt idx="560" formatCode="0.0%">
                  <c:v>0.10186825600687201</c:v>
                </c:pt>
                <c:pt idx="561" formatCode="0.0%">
                  <c:v>0.12325903179771018</c:v>
                </c:pt>
                <c:pt idx="562" formatCode="0.0%">
                  <c:v>0.12325903179771018</c:v>
                </c:pt>
                <c:pt idx="563" formatCode="0.0%">
                  <c:v>0.12325903179771018</c:v>
                </c:pt>
                <c:pt idx="564" formatCode="0.0%">
                  <c:v>0.1202032321792612</c:v>
                </c:pt>
                <c:pt idx="565" formatCode="0.0%">
                  <c:v>0.12245488339610233</c:v>
                </c:pt>
                <c:pt idx="566" formatCode="0.0%">
                  <c:v>0.13982485769166941</c:v>
                </c:pt>
                <c:pt idx="567" formatCode="0.0%">
                  <c:v>0.14143321398211711</c:v>
                </c:pt>
                <c:pt idx="568" formatCode="0.0%">
                  <c:v>0.15156567420151773</c:v>
                </c:pt>
                <c:pt idx="569" formatCode="0.0%">
                  <c:v>0.15156567420151773</c:v>
                </c:pt>
                <c:pt idx="570" formatCode="0.0%">
                  <c:v>0.15156567420151773</c:v>
                </c:pt>
                <c:pt idx="571" formatCode="0.0%">
                  <c:v>0.14400651266215475</c:v>
                </c:pt>
                <c:pt idx="572" formatCode="0.0%">
                  <c:v>0.14738401923103253</c:v>
                </c:pt>
                <c:pt idx="573" formatCode="0.0%">
                  <c:v>0.16169819390815049</c:v>
                </c:pt>
                <c:pt idx="574" formatCode="0.0%">
                  <c:v>0.17729901792528749</c:v>
                </c:pt>
                <c:pt idx="575" formatCode="0.0%">
                  <c:v>0.19225648752879934</c:v>
                </c:pt>
                <c:pt idx="576" formatCode="0.0%">
                  <c:v>0.19225648752879934</c:v>
                </c:pt>
                <c:pt idx="577" formatCode="0.0%">
                  <c:v>0.19728946427583538</c:v>
                </c:pt>
                <c:pt idx="578" formatCode="0.0%">
                  <c:v>0.18968318884876154</c:v>
                </c:pt>
                <c:pt idx="579" formatCode="0.0%">
                  <c:v>0.18630568227988392</c:v>
                </c:pt>
                <c:pt idx="580" formatCode="0.0%">
                  <c:v>0.1946689922208546</c:v>
                </c:pt>
                <c:pt idx="581" formatCode="0.0%">
                  <c:v>0.19852899972814342</c:v>
                </c:pt>
                <c:pt idx="582" formatCode="0.0%">
                  <c:v>0.19949400160496553</c:v>
                </c:pt>
                <c:pt idx="583" formatCode="0.0%">
                  <c:v>0.19949400160496553</c:v>
                </c:pt>
                <c:pt idx="584" formatCode="0.0%">
                  <c:v>0.19949400160496553</c:v>
                </c:pt>
                <c:pt idx="585" formatCode="0.0%">
                  <c:v>0.20399730403864752</c:v>
                </c:pt>
                <c:pt idx="586" formatCode="0.0%">
                  <c:v>0.19129148565197723</c:v>
                </c:pt>
                <c:pt idx="587" formatCode="0.0%">
                  <c:v>0.19885064719134021</c:v>
                </c:pt>
                <c:pt idx="588" formatCode="0.0%">
                  <c:v>0.20608816126750654</c:v>
                </c:pt>
                <c:pt idx="589" formatCode="0.0%">
                  <c:v>0.21509482562210253</c:v>
                </c:pt>
                <c:pt idx="590" formatCode="0.0%">
                  <c:v>0.21509482562210253</c:v>
                </c:pt>
                <c:pt idx="591" formatCode="0.0%">
                  <c:v>0.21509482562210253</c:v>
                </c:pt>
                <c:pt idx="592" formatCode="0.0%">
                  <c:v>0.22812229147197002</c:v>
                </c:pt>
                <c:pt idx="593" formatCode="0.0%">
                  <c:v>0.23133894456563325</c:v>
                </c:pt>
                <c:pt idx="594" formatCode="0.0%">
                  <c:v>0.22651399466875446</c:v>
                </c:pt>
                <c:pt idx="595" formatCode="0.0%">
                  <c:v>0.23101729710243646</c:v>
                </c:pt>
                <c:pt idx="596" formatCode="0.0%">
                  <c:v>0.22603149373034342</c:v>
                </c:pt>
                <c:pt idx="597" formatCode="0.0%">
                  <c:v>0.22603149373034342</c:v>
                </c:pt>
                <c:pt idx="598" formatCode="0.0%">
                  <c:v>0.22603149373034342</c:v>
                </c:pt>
                <c:pt idx="599" formatCode="0.0%">
                  <c:v>0.21509482562210253</c:v>
                </c:pt>
                <c:pt idx="600" formatCode="0.0%">
                  <c:v>0.20512315939068443</c:v>
                </c:pt>
                <c:pt idx="601" formatCode="0.0%">
                  <c:v>0.20785731154593662</c:v>
                </c:pt>
                <c:pt idx="602" formatCode="0.0%">
                  <c:v>0.22249313368625137</c:v>
                </c:pt>
                <c:pt idx="603" formatCode="0.0%">
                  <c:v>0.2048015119274875</c:v>
                </c:pt>
                <c:pt idx="604" formatCode="0.0%">
                  <c:v>0.2048015119274875</c:v>
                </c:pt>
                <c:pt idx="605" formatCode="0.0%">
                  <c:v>0.2048015119274875</c:v>
                </c:pt>
                <c:pt idx="606" formatCode="0.0%">
                  <c:v>0.18099817195736193</c:v>
                </c:pt>
                <c:pt idx="607" formatCode="0.0%">
                  <c:v>0.17038321079955027</c:v>
                </c:pt>
                <c:pt idx="608" formatCode="0.0%">
                  <c:v>0.15722106585652981</c:v>
                </c:pt>
                <c:pt idx="609" formatCode="0.0%">
                  <c:v>0.15140488021353549</c:v>
                </c:pt>
                <c:pt idx="610" formatCode="0.0%">
                  <c:v>0.16764899915706594</c:v>
                </c:pt>
                <c:pt idx="611" formatCode="0.0%">
                  <c:v>0.16764899915706594</c:v>
                </c:pt>
                <c:pt idx="612" formatCode="0.0%">
                  <c:v>0.16764899915706594</c:v>
                </c:pt>
                <c:pt idx="613" formatCode="0.0%">
                  <c:v>0.161376546444954</c:v>
                </c:pt>
                <c:pt idx="614" formatCode="0.0%">
                  <c:v>0.16748820516908353</c:v>
                </c:pt>
                <c:pt idx="615" formatCode="0.0%">
                  <c:v>0.16523649446501068</c:v>
                </c:pt>
                <c:pt idx="616" formatCode="0.0%">
                  <c:v>0.18308902918622066</c:v>
                </c:pt>
                <c:pt idx="617" formatCode="0.0%">
                  <c:v>0.19499063968405153</c:v>
                </c:pt>
                <c:pt idx="618" formatCode="0.0%">
                  <c:v>0.19499063968405153</c:v>
                </c:pt>
                <c:pt idx="619" formatCode="0.0%">
                  <c:v>0.19499063968405153</c:v>
                </c:pt>
                <c:pt idx="620" formatCode="0.0%">
                  <c:v>0.19402563780722942</c:v>
                </c:pt>
                <c:pt idx="621" formatCode="0.0%">
                  <c:v>0.176977370462091</c:v>
                </c:pt>
                <c:pt idx="622" formatCode="0.0%">
                  <c:v>0.17327815694278456</c:v>
                </c:pt>
                <c:pt idx="623" formatCode="0.0%">
                  <c:v>0.15848154081448754</c:v>
                </c:pt>
                <c:pt idx="624" formatCode="0.0%">
                  <c:v>0.13837735487643626</c:v>
                </c:pt>
                <c:pt idx="625" formatCode="0.0%">
                  <c:v>0.13837735487643626</c:v>
                </c:pt>
                <c:pt idx="626" formatCode="0.0%">
                  <c:v>0.13837735487643626</c:v>
                </c:pt>
                <c:pt idx="627" formatCode="0.0%">
                  <c:v>0.14448901360056582</c:v>
                </c:pt>
                <c:pt idx="628" formatCode="0.0%">
                  <c:v>0.13741235299961388</c:v>
                </c:pt>
                <c:pt idx="629" formatCode="0.0%">
                  <c:v>0.15253067607833998</c:v>
                </c:pt>
                <c:pt idx="630" formatCode="0.0%">
                  <c:v>0.12325903179771018</c:v>
                </c:pt>
                <c:pt idx="631" formatCode="0.0%">
                  <c:v>0.11746908002400928</c:v>
                </c:pt>
                <c:pt idx="632" formatCode="0.0%">
                  <c:v>0.11746908002400928</c:v>
                </c:pt>
                <c:pt idx="633" formatCode="0.0%">
                  <c:v>0.11746908002400928</c:v>
                </c:pt>
                <c:pt idx="634" formatCode="0.0%">
                  <c:v>0.12116823405608358</c:v>
                </c:pt>
                <c:pt idx="635" formatCode="0.0%">
                  <c:v>0.12148988151928024</c:v>
                </c:pt>
                <c:pt idx="636" formatCode="0.0%">
                  <c:v>0.11988158471606454</c:v>
                </c:pt>
                <c:pt idx="637" formatCode="0.0%">
                  <c:v>9.5917391270724725E-2</c:v>
                </c:pt>
                <c:pt idx="638" formatCode="0.0%">
                  <c:v>8.369794049254238E-2</c:v>
                </c:pt>
                <c:pt idx="639" formatCode="0.0%">
                  <c:v>8.369794049254238E-2</c:v>
                </c:pt>
                <c:pt idx="640" formatCode="0.0%">
                  <c:v>8.369794049254238E-2</c:v>
                </c:pt>
                <c:pt idx="641" formatCode="0.0%">
                  <c:v>0.10347655281008755</c:v>
                </c:pt>
                <c:pt idx="642" formatCode="0.0%">
                  <c:v>0.12309823780972763</c:v>
                </c:pt>
                <c:pt idx="643" formatCode="0.0%">
                  <c:v>0.12100738058086918</c:v>
                </c:pt>
                <c:pt idx="644" formatCode="0.0%">
                  <c:v>0.13290905056593189</c:v>
                </c:pt>
                <c:pt idx="645" formatCode="0.0%">
                  <c:v>0.11023156594784282</c:v>
                </c:pt>
                <c:pt idx="646" formatCode="0.0%">
                  <c:v>0.11023156594784282</c:v>
                </c:pt>
                <c:pt idx="647" formatCode="0.0%">
                  <c:v>0.11023156594784282</c:v>
                </c:pt>
                <c:pt idx="648" formatCode="0.0%">
                  <c:v>9.7364894085957873E-2</c:v>
                </c:pt>
                <c:pt idx="649" formatCode="0.0%">
                  <c:v>8.7554081329753758E-2</c:v>
                </c:pt>
                <c:pt idx="650" formatCode="0.0%">
                  <c:v>9.1253235361828333E-2</c:v>
                </c:pt>
                <c:pt idx="651" formatCode="0.0%">
                  <c:v>7.2918259189438853E-2</c:v>
                </c:pt>
                <c:pt idx="652" formatCode="0.0%">
                  <c:v>9.4630741930705822E-2</c:v>
                </c:pt>
                <c:pt idx="653" formatCode="0.0%">
                  <c:v>9.4630741930705822E-2</c:v>
                </c:pt>
                <c:pt idx="654" formatCode="0.0%">
                  <c:v>9.4630741930705822E-2</c:v>
                </c:pt>
                <c:pt idx="655" formatCode="0.0%">
                  <c:v>0.10331575882210543</c:v>
                </c:pt>
                <c:pt idx="656" formatCode="0.0%">
                  <c:v>0.11859487588881351</c:v>
                </c:pt>
                <c:pt idx="657" formatCode="0.0%">
                  <c:v>0.11151821528786172</c:v>
                </c:pt>
                <c:pt idx="658" formatCode="0.0%">
                  <c:v>0.11023156594784282</c:v>
                </c:pt>
                <c:pt idx="659" formatCode="0.0%">
                  <c:v>9.752574756117241E-2</c:v>
                </c:pt>
                <c:pt idx="660" formatCode="0.0%">
                  <c:v>9.752574756117241E-2</c:v>
                </c:pt>
                <c:pt idx="661" formatCode="0.0%">
                  <c:v>9.752574756117241E-2</c:v>
                </c:pt>
                <c:pt idx="662" formatCode="0.0%">
                  <c:v>0.11216156970148732</c:v>
                </c:pt>
                <c:pt idx="663" formatCode="0.0%">
                  <c:v>0.12599324344019422</c:v>
                </c:pt>
                <c:pt idx="664" formatCode="0.0%">
                  <c:v>0.12213323593290554</c:v>
                </c:pt>
                <c:pt idx="665" formatCode="0.0%">
                  <c:v>0.12406323968655002</c:v>
                </c:pt>
                <c:pt idx="666" formatCode="0.0%">
                  <c:v>0.13339155150434295</c:v>
                </c:pt>
                <c:pt idx="667" formatCode="0.0%">
                  <c:v>0.13339155150434295</c:v>
                </c:pt>
                <c:pt idx="668" formatCode="0.0%">
                  <c:v>0.13339155150434295</c:v>
                </c:pt>
                <c:pt idx="669" formatCode="0.0%">
                  <c:v>0.14286893832542247</c:v>
                </c:pt>
                <c:pt idx="670" formatCode="0.0%">
                  <c:v>0.13789485393802509</c:v>
                </c:pt>
                <c:pt idx="671" formatCode="0.0%">
                  <c:v>0.13692985206120284</c:v>
                </c:pt>
                <c:pt idx="672" formatCode="0.0%">
                  <c:v>0.1202032321792612</c:v>
                </c:pt>
                <c:pt idx="673" formatCode="0.0%">
                  <c:v>0.11344821904150607</c:v>
                </c:pt>
                <c:pt idx="674" formatCode="0.0%">
                  <c:v>0.11344821904150607</c:v>
                </c:pt>
                <c:pt idx="675" formatCode="0.0%">
                  <c:v>0.11344821904150607</c:v>
                </c:pt>
                <c:pt idx="676" formatCode="0.0%">
                  <c:v>0.12116823405608358</c:v>
                </c:pt>
                <c:pt idx="677" formatCode="0.0%">
                  <c:v>0.13371319896753975</c:v>
                </c:pt>
                <c:pt idx="678" formatCode="0.0%">
                  <c:v>0.12760154024340992</c:v>
                </c:pt>
                <c:pt idx="679" formatCode="0.0%">
                  <c:v>0.15767733292564756</c:v>
                </c:pt>
                <c:pt idx="680" formatCode="0.0%">
                  <c:v>0.16684485075545838</c:v>
                </c:pt>
                <c:pt idx="681" formatCode="0.0%">
                  <c:v>0.16684485075545838</c:v>
                </c:pt>
                <c:pt idx="682" formatCode="0.0%">
                  <c:v>0.16684485075545838</c:v>
                </c:pt>
                <c:pt idx="683" formatCode="0.0%">
                  <c:v>0.16282404926018715</c:v>
                </c:pt>
                <c:pt idx="684" formatCode="0.0%">
                  <c:v>0.16845320704590577</c:v>
                </c:pt>
                <c:pt idx="685" formatCode="0.0%">
                  <c:v>0.15285238302876863</c:v>
                </c:pt>
                <c:pt idx="686" formatCode="0.0%">
                  <c:v>0.1441673661373693</c:v>
                </c:pt>
                <c:pt idx="687" formatCode="0.0%">
                  <c:v>0.15188738115194653</c:v>
                </c:pt>
                <c:pt idx="688" formatCode="0.0%">
                  <c:v>0.15188738115194653</c:v>
                </c:pt>
                <c:pt idx="689" formatCode="0.0%">
                  <c:v>0.15188738115194653</c:v>
                </c:pt>
                <c:pt idx="690" formatCode="0.0%">
                  <c:v>0.16169819390815049</c:v>
                </c:pt>
                <c:pt idx="691" formatCode="0.0%">
                  <c:v>0.16539734794022493</c:v>
                </c:pt>
                <c:pt idx="692" formatCode="0.0%">
                  <c:v>0.17456486577003547</c:v>
                </c:pt>
                <c:pt idx="693" formatCode="0.0%">
                  <c:v>0.17456486577003547</c:v>
                </c:pt>
                <c:pt idx="694" formatCode="0.0%">
                  <c:v>0.17247400854117673</c:v>
                </c:pt>
                <c:pt idx="695" formatCode="0.0%">
                  <c:v>0.17247400854117673</c:v>
                </c:pt>
                <c:pt idx="696" formatCode="0.0%">
                  <c:v>0.17247400854117673</c:v>
                </c:pt>
                <c:pt idx="697" formatCode="0.0%">
                  <c:v>0.16330655019859819</c:v>
                </c:pt>
                <c:pt idx="698" formatCode="0.0%">
                  <c:v>0.15799903987607622</c:v>
                </c:pt>
                <c:pt idx="699" formatCode="0.0%">
                  <c:v>0.191763040939708</c:v>
                </c:pt>
                <c:pt idx="700" formatCode="0.0%">
                  <c:v>0.18437567852623957</c:v>
                </c:pt>
                <c:pt idx="701" formatCode="0.0%">
                  <c:v>0.17762066538848445</c:v>
                </c:pt>
                <c:pt idx="702" formatCode="0.0%">
                  <c:v>0.17762066538848445</c:v>
                </c:pt>
                <c:pt idx="703" formatCode="0.0%">
                  <c:v>0.17762066538848445</c:v>
                </c:pt>
                <c:pt idx="704" formatCode="0.0%">
                  <c:v>0.1735998638932135</c:v>
                </c:pt>
                <c:pt idx="705" formatCode="0.0%">
                  <c:v>0.16025069109291734</c:v>
                </c:pt>
                <c:pt idx="706" formatCode="0.0%">
                  <c:v>0.15719483198723652</c:v>
                </c:pt>
                <c:pt idx="707" formatCode="0.0%">
                  <c:v>0.15751653893766515</c:v>
                </c:pt>
                <c:pt idx="708" formatCode="0.0%">
                  <c:v>0.16169819390815049</c:v>
                </c:pt>
                <c:pt idx="709" formatCode="0.0%">
                  <c:v>0.16169819390815049</c:v>
                </c:pt>
                <c:pt idx="710" formatCode="0.0%">
                  <c:v>0.16169819390815049</c:v>
                </c:pt>
                <c:pt idx="711" formatCode="0.0%">
                  <c:v>0.15671239053605746</c:v>
                </c:pt>
                <c:pt idx="712" formatCode="0.0%">
                  <c:v>0.1756906616348401</c:v>
                </c:pt>
                <c:pt idx="713" formatCode="0.0%">
                  <c:v>0.1735998638932135</c:v>
                </c:pt>
                <c:pt idx="714" formatCode="0.0%">
                  <c:v>0.13483905431957638</c:v>
                </c:pt>
                <c:pt idx="715" formatCode="0.0%">
                  <c:v>0.12325903179771018</c:v>
                </c:pt>
                <c:pt idx="716" formatCode="0.0%">
                  <c:v>0.12325903179771018</c:v>
                </c:pt>
                <c:pt idx="717" formatCode="0.0%">
                  <c:v>0.12325903179771018</c:v>
                </c:pt>
                <c:pt idx="718" formatCode="0.0%">
                  <c:v>0.11907737682722469</c:v>
                </c:pt>
                <c:pt idx="719" formatCode="0.0%">
                  <c:v>0.11473486838152497</c:v>
                </c:pt>
                <c:pt idx="720" formatCode="0.0%">
                  <c:v>0.12711903930499888</c:v>
                </c:pt>
                <c:pt idx="721" formatCode="0.0%">
                  <c:v>0.11183992223829037</c:v>
                </c:pt>
                <c:pt idx="722" formatCode="0.0%">
                  <c:v>0.11634322467197265</c:v>
                </c:pt>
                <c:pt idx="723" formatCode="0.0%">
                  <c:v>0.11634322467197265</c:v>
                </c:pt>
                <c:pt idx="724" formatCode="0.0%">
                  <c:v>0.11634322467197265</c:v>
                </c:pt>
                <c:pt idx="725" formatCode="0.0%">
                  <c:v>0.11634322467197265</c:v>
                </c:pt>
                <c:pt idx="726" formatCode="0.0%">
                  <c:v>0.11537822279515055</c:v>
                </c:pt>
                <c:pt idx="727" formatCode="0.0%">
                  <c:v>0.1148957218567395</c:v>
                </c:pt>
                <c:pt idx="728" formatCode="0.0%">
                  <c:v>0.12036408565447559</c:v>
                </c:pt>
                <c:pt idx="729" formatCode="0.0%">
                  <c:v>0.11248321716468396</c:v>
                </c:pt>
                <c:pt idx="730" formatCode="0.0%">
                  <c:v>0.11375749316045571</c:v>
                </c:pt>
                <c:pt idx="731" formatCode="0.0%">
                  <c:v>0.11375749316045571</c:v>
                </c:pt>
                <c:pt idx="732" formatCode="0.0%">
                  <c:v>0.11375749316045571</c:v>
                </c:pt>
                <c:pt idx="733" formatCode="0.0%">
                  <c:v>0.13339155150434295</c:v>
                </c:pt>
                <c:pt idx="734" formatCode="0.0%">
                  <c:v>0.13403490591796838</c:v>
                </c:pt>
                <c:pt idx="735" formatCode="0.0%">
                  <c:v>0.12888818958342882</c:v>
                </c:pt>
                <c:pt idx="736" formatCode="0.0%">
                  <c:v>0.12760154024340992</c:v>
                </c:pt>
                <c:pt idx="737" formatCode="0.0%">
                  <c:v>0.12760154024340992</c:v>
                </c:pt>
                <c:pt idx="738" formatCode="0.0%">
                  <c:v>0.12760154024340992</c:v>
                </c:pt>
                <c:pt idx="739" formatCode="0.0%">
                  <c:v>0.14464986707578034</c:v>
                </c:pt>
                <c:pt idx="740" formatCode="0.0%">
                  <c:v>0.14030735863008048</c:v>
                </c:pt>
                <c:pt idx="741" formatCode="0.0%">
                  <c:v>0.14448901360056582</c:v>
                </c:pt>
                <c:pt idx="742" formatCode="0.0%">
                  <c:v>0.15285238302876863</c:v>
                </c:pt>
                <c:pt idx="743" formatCode="0.0%">
                  <c:v>0.15027902486149883</c:v>
                </c:pt>
                <c:pt idx="744" formatCode="0.0%">
                  <c:v>0.15027902486149883</c:v>
                </c:pt>
                <c:pt idx="745" formatCode="0.0%">
                  <c:v>0.15027902486149883</c:v>
                </c:pt>
                <c:pt idx="746" formatCode="0.0%">
                  <c:v>0.15928568921609526</c:v>
                </c:pt>
                <c:pt idx="747" formatCode="0.0%">
                  <c:v>0.16089404550654265</c:v>
                </c:pt>
                <c:pt idx="748" formatCode="0.0%">
                  <c:v>0.16008983761770296</c:v>
                </c:pt>
                <c:pt idx="749" formatCode="0.0%">
                  <c:v>0.13869906182686492</c:v>
                </c:pt>
                <c:pt idx="750" formatCode="0.0%">
                  <c:v>0.14320236426054692</c:v>
                </c:pt>
                <c:pt idx="751" formatCode="0.0%">
                  <c:v>0.14320236426054692</c:v>
                </c:pt>
                <c:pt idx="752" formatCode="0.0%">
                  <c:v>0.14320236426054692</c:v>
                </c:pt>
                <c:pt idx="753" formatCode="0.0%">
                  <c:v>0.15687318452403956</c:v>
                </c:pt>
                <c:pt idx="754" formatCode="0.0%">
                  <c:v>0.15655153706084307</c:v>
                </c:pt>
                <c:pt idx="755" formatCode="0.0%">
                  <c:v>0.13371319896753975</c:v>
                </c:pt>
                <c:pt idx="756" formatCode="0.0%">
                  <c:v>0.14722322524305015</c:v>
                </c:pt>
                <c:pt idx="757" formatCode="0.0%">
                  <c:v>0.15671239053605746</c:v>
                </c:pt>
                <c:pt idx="758" formatCode="0.0%">
                  <c:v>0.15671239053605746</c:v>
                </c:pt>
                <c:pt idx="759" formatCode="0.0%">
                  <c:v>0.15671239053605746</c:v>
                </c:pt>
                <c:pt idx="760" formatCode="0.0%">
                  <c:v>0.15124402673832107</c:v>
                </c:pt>
                <c:pt idx="761" formatCode="0.0%">
                  <c:v>0.15961072745151356</c:v>
                </c:pt>
                <c:pt idx="762" formatCode="0.0%">
                  <c:v>0.14931402298467675</c:v>
                </c:pt>
                <c:pt idx="763" formatCode="0.0%">
                  <c:v>0.17585151511005465</c:v>
                </c:pt>
                <c:pt idx="764" formatCode="0.0%">
                  <c:v>0.18019402355575423</c:v>
                </c:pt>
                <c:pt idx="765" formatCode="0.0%">
                  <c:v>0.18019402355575423</c:v>
                </c:pt>
                <c:pt idx="766" formatCode="0.0%">
                  <c:v>0.18019402355575423</c:v>
                </c:pt>
                <c:pt idx="767" formatCode="0.0%">
                  <c:v>0.17729901792528749</c:v>
                </c:pt>
                <c:pt idx="768" formatCode="0.0%">
                  <c:v>0.18099817195736193</c:v>
                </c:pt>
                <c:pt idx="769" formatCode="0.0%">
                  <c:v>0.19480087541410568</c:v>
                </c:pt>
                <c:pt idx="770" formatCode="0.0%">
                  <c:v>0.18064452036337172</c:v>
                </c:pt>
                <c:pt idx="771" formatCode="0.0%">
                  <c:v>0.17163196677281164</c:v>
                </c:pt>
                <c:pt idx="772" formatCode="0.0%">
                  <c:v>0.17163196677281164</c:v>
                </c:pt>
                <c:pt idx="773" formatCode="0.0%">
                  <c:v>0.17163196677281164</c:v>
                </c:pt>
                <c:pt idx="774" formatCode="0.0%">
                  <c:v>0.18348176389160728</c:v>
                </c:pt>
                <c:pt idx="775" formatCode="0.0%">
                  <c:v>0.18147900725327845</c:v>
                </c:pt>
                <c:pt idx="776" formatCode="0.0%">
                  <c:v>0.18214657297031039</c:v>
                </c:pt>
                <c:pt idx="777" formatCode="0.0%">
                  <c:v>0.17914240826920122</c:v>
                </c:pt>
                <c:pt idx="778" formatCode="0.0%">
                  <c:v>0.16779325569456405</c:v>
                </c:pt>
                <c:pt idx="779" formatCode="0.0%">
                  <c:v>0.16779325569456405</c:v>
                </c:pt>
                <c:pt idx="780" formatCode="0.0%">
                  <c:v>0.16779325569456405</c:v>
                </c:pt>
                <c:pt idx="781" formatCode="0.0%">
                  <c:v>0.16879466375734453</c:v>
                </c:pt>
                <c:pt idx="782" formatCode="0.0%">
                  <c:v>0.15761243235558139</c:v>
                </c:pt>
                <c:pt idx="783" formatCode="0.0%">
                  <c:v>0.15861378093112991</c:v>
                </c:pt>
                <c:pt idx="784" formatCode="0.0%">
                  <c:v>0.15961518899391039</c:v>
                </c:pt>
                <c:pt idx="785" formatCode="0.0%">
                  <c:v>0.14442738482825759</c:v>
                </c:pt>
                <c:pt idx="786" formatCode="0.0%">
                  <c:v>0.14442738482825759</c:v>
                </c:pt>
                <c:pt idx="787" formatCode="0.0%">
                  <c:v>0.14442738482825759</c:v>
                </c:pt>
                <c:pt idx="788" formatCode="0.0%">
                  <c:v>0.1531061555603013</c:v>
                </c:pt>
                <c:pt idx="789" formatCode="0.0%">
                  <c:v>0.14723964371907045</c:v>
                </c:pt>
                <c:pt idx="790" formatCode="0.0%">
                  <c:v>0.13775143022177447</c:v>
                </c:pt>
                <c:pt idx="791" formatCode="0.0%">
                  <c:v>0.1415900818127902</c:v>
                </c:pt>
                <c:pt idx="792" formatCode="0.0%">
                  <c:v>0.16011589302530055</c:v>
                </c:pt>
                <c:pt idx="793" formatCode="0.0%">
                  <c:v>0.16011589302530055</c:v>
                </c:pt>
                <c:pt idx="794" formatCode="0.0%">
                  <c:v>0.16011589302530055</c:v>
                </c:pt>
                <c:pt idx="795" formatCode="0.0%">
                  <c:v>0.16846088089882841</c:v>
                </c:pt>
                <c:pt idx="796" formatCode="0.0%">
                  <c:v>0.16095037991520697</c:v>
                </c:pt>
                <c:pt idx="797" formatCode="0.0%">
                  <c:v>0.15811313638697172</c:v>
                </c:pt>
                <c:pt idx="798" formatCode="0.0%">
                  <c:v>0.16528979502484489</c:v>
                </c:pt>
                <c:pt idx="799" formatCode="0.0%">
                  <c:v>0.12807125142695</c:v>
                </c:pt>
                <c:pt idx="800" formatCode="0.0%">
                  <c:v>0.12807125142695</c:v>
                </c:pt>
                <c:pt idx="801" formatCode="0.0%">
                  <c:v>0.12807125142695</c:v>
                </c:pt>
                <c:pt idx="802" formatCode="0.0%">
                  <c:v>0.12006010589917039</c:v>
                </c:pt>
                <c:pt idx="803" formatCode="0.0%">
                  <c:v>0.13274444939510416</c:v>
                </c:pt>
                <c:pt idx="804" formatCode="0.0%">
                  <c:v>0.13040785041102709</c:v>
                </c:pt>
                <c:pt idx="805" formatCode="0.0%">
                  <c:v>0.14175700298566427</c:v>
                </c:pt>
                <c:pt idx="806" formatCode="0.0%">
                  <c:v>0.12974028469399485</c:v>
                </c:pt>
                <c:pt idx="807" formatCode="0.0%">
                  <c:v>0.12974028469399485</c:v>
                </c:pt>
                <c:pt idx="808" formatCode="0.0%">
                  <c:v>0.12974028469399485</c:v>
                </c:pt>
                <c:pt idx="809" formatCode="0.0%">
                  <c:v>0.13090855444241739</c:v>
                </c:pt>
                <c:pt idx="810" formatCode="0.0%">
                  <c:v>0.13591553526908767</c:v>
                </c:pt>
                <c:pt idx="811" formatCode="0.0%">
                  <c:v>0.14626327978094422</c:v>
                </c:pt>
                <c:pt idx="812" formatCode="0.0%">
                  <c:v>0.14225770701705456</c:v>
                </c:pt>
                <c:pt idx="813" formatCode="0.0%">
                  <c:v>0.13958732517446124</c:v>
                </c:pt>
                <c:pt idx="814" formatCode="0.0%">
                  <c:v>0.13958732517446124</c:v>
                </c:pt>
                <c:pt idx="815" formatCode="0.0%">
                  <c:v>0.13958732517446124</c:v>
                </c:pt>
                <c:pt idx="816" formatCode="0.0%">
                  <c:v>0.14576257574955392</c:v>
                </c:pt>
                <c:pt idx="817" formatCode="0.0%">
                  <c:v>0.13174304133232367</c:v>
                </c:pt>
                <c:pt idx="818" formatCode="0.0%">
                  <c:v>0.14659706263946035</c:v>
                </c:pt>
                <c:pt idx="819" formatCode="0.0%">
                  <c:v>0.1531061555603013</c:v>
                </c:pt>
                <c:pt idx="820" formatCode="0.0%">
                  <c:v>0.17334513956596936</c:v>
                </c:pt>
                <c:pt idx="821" formatCode="0.0%">
                  <c:v>0.17334513956596936</c:v>
                </c:pt>
                <c:pt idx="822" formatCode="0.0%">
                  <c:v>0.17334513956596936</c:v>
                </c:pt>
                <c:pt idx="823" formatCode="0.0%">
                  <c:v>0.16562357788336102</c:v>
                </c:pt>
                <c:pt idx="824" formatCode="0.0%">
                  <c:v>0.16228557083650358</c:v>
                </c:pt>
                <c:pt idx="825" formatCode="0.0%">
                  <c:v>0.15677794546567497</c:v>
                </c:pt>
                <c:pt idx="826" formatCode="0.0%">
                  <c:v>0.15677794546567497</c:v>
                </c:pt>
                <c:pt idx="827" formatCode="0.0%">
                  <c:v>0.15677794546567497</c:v>
                </c:pt>
                <c:pt idx="828" formatCode="0.0%">
                  <c:v>0.15677794546567497</c:v>
                </c:pt>
                <c:pt idx="829" formatCode="0.0%">
                  <c:v>0.15677794546567497</c:v>
                </c:pt>
                <c:pt idx="830" formatCode="0.0%">
                  <c:v>0.15677794546567497</c:v>
                </c:pt>
                <c:pt idx="831" formatCode="0.0%">
                  <c:v>0.16328697889928406</c:v>
                </c:pt>
                <c:pt idx="832" formatCode="0.0%">
                  <c:v>0.16328697889928406</c:v>
                </c:pt>
                <c:pt idx="833" formatCode="0.0%">
                  <c:v>0.15928140613539427</c:v>
                </c:pt>
                <c:pt idx="834" formatCode="0.0%">
                  <c:v>0.16946222947437689</c:v>
                </c:pt>
                <c:pt idx="835" formatCode="0.0%">
                  <c:v>0.16946222947437689</c:v>
                </c:pt>
                <c:pt idx="836" formatCode="0.0%">
                  <c:v>0.16946222947437689</c:v>
                </c:pt>
                <c:pt idx="837" formatCode="0.0%">
                  <c:v>0.1746361314739211</c:v>
                </c:pt>
                <c:pt idx="838" formatCode="0.0%">
                  <c:v>0.17296715769410853</c:v>
                </c:pt>
                <c:pt idx="839" formatCode="0.0%">
                  <c:v>0.16745947283604792</c:v>
                </c:pt>
                <c:pt idx="840" formatCode="0.0%">
                  <c:v>0.16879466375734453</c:v>
                </c:pt>
                <c:pt idx="841" formatCode="0.0%">
                  <c:v>0.16812703855308014</c:v>
                </c:pt>
                <c:pt idx="842" formatCode="0.0%">
                  <c:v>0.16812703855308014</c:v>
                </c:pt>
                <c:pt idx="843" formatCode="0.0%">
                  <c:v>0.16812703855308014</c:v>
                </c:pt>
                <c:pt idx="844" formatCode="0.0%">
                  <c:v>0.16295319604076794</c:v>
                </c:pt>
                <c:pt idx="845" formatCode="0.0%">
                  <c:v>0.16111730108808089</c:v>
                </c:pt>
                <c:pt idx="846" formatCode="0.0%">
                  <c:v>0.1450949505452897</c:v>
                </c:pt>
                <c:pt idx="847" formatCode="0.0%">
                  <c:v>0.14993506968631792</c:v>
                </c:pt>
                <c:pt idx="848" formatCode="0.0%">
                  <c:v>0.16195178797798745</c:v>
                </c:pt>
                <c:pt idx="849" formatCode="0.0%">
                  <c:v>0.16195178797798745</c:v>
                </c:pt>
                <c:pt idx="850" formatCode="0.0%">
                  <c:v>0.1685212604392656</c:v>
                </c:pt>
                <c:pt idx="851" formatCode="0.0%">
                  <c:v>0.17814100020642074</c:v>
                </c:pt>
                <c:pt idx="852" formatCode="0.0%">
                  <c:v>0.16378768293067408</c:v>
                </c:pt>
                <c:pt idx="853" formatCode="0.0%">
                  <c:v>0.16028281419817475</c:v>
                </c:pt>
                <c:pt idx="854" formatCode="0.0%">
                  <c:v>0.15577653740289449</c:v>
                </c:pt>
                <c:pt idx="855" formatCode="0.0%">
                  <c:v>0.15577653740289449</c:v>
                </c:pt>
                <c:pt idx="856" formatCode="0.0%">
                  <c:v>0.15577653740289449</c:v>
                </c:pt>
                <c:pt idx="857" formatCode="0.0%">
                  <c:v>0.15577653740289449</c:v>
                </c:pt>
                <c:pt idx="858" formatCode="0.0%">
                  <c:v>0.16829395972595435</c:v>
                </c:pt>
                <c:pt idx="859" formatCode="0.0%">
                  <c:v>0.16862774258447047</c:v>
                </c:pt>
                <c:pt idx="860" formatCode="0.0%">
                  <c:v>0.1669587688046576</c:v>
                </c:pt>
                <c:pt idx="861" formatCode="0.0%">
                  <c:v>0.17430234861540497</c:v>
                </c:pt>
                <c:pt idx="862" formatCode="0.0%">
                  <c:v>0.1804775991904978</c:v>
                </c:pt>
                <c:pt idx="863" formatCode="0.0%">
                  <c:v>0.1804775991904978</c:v>
                </c:pt>
                <c:pt idx="864" formatCode="0.0%">
                  <c:v>0.1804775991904978</c:v>
                </c:pt>
                <c:pt idx="865" formatCode="0.0%">
                  <c:v>0.18331490220596508</c:v>
                </c:pt>
                <c:pt idx="866" formatCode="0.0%">
                  <c:v>0.18214657297031039</c:v>
                </c:pt>
                <c:pt idx="867" formatCode="0.0%">
                  <c:v>0.18581836287568421</c:v>
                </c:pt>
                <c:pt idx="868" formatCode="0.0%">
                  <c:v>0.18581836287568421</c:v>
                </c:pt>
                <c:pt idx="869" formatCode="0.0%">
                  <c:v>0.18581836287568421</c:v>
                </c:pt>
                <c:pt idx="870" formatCode="0.0%">
                  <c:v>0.18581836287568421</c:v>
                </c:pt>
                <c:pt idx="871" formatCode="0.0%">
                  <c:v>0.18581836287568421</c:v>
                </c:pt>
                <c:pt idx="872" formatCode="0.0%">
                  <c:v>0.21118704986755163</c:v>
                </c:pt>
                <c:pt idx="873" formatCode="0.0%">
                  <c:v>0.20234135796263358</c:v>
                </c:pt>
                <c:pt idx="874" formatCode="0.0%">
                  <c:v>0.17830792137929477</c:v>
                </c:pt>
                <c:pt idx="875" formatCode="0.0%">
                  <c:v>0.19549854167050867</c:v>
                </c:pt>
                <c:pt idx="876" formatCode="0.0%">
                  <c:v>0.21369051053727106</c:v>
                </c:pt>
                <c:pt idx="877" formatCode="0.0%">
                  <c:v>0.21369051053727106</c:v>
                </c:pt>
                <c:pt idx="878" formatCode="0.0%">
                  <c:v>0.21369051053727106</c:v>
                </c:pt>
                <c:pt idx="879" formatCode="0.0%">
                  <c:v>0.21369051053727106</c:v>
                </c:pt>
                <c:pt idx="880" formatCode="0.0%">
                  <c:v>0.20734833878930403</c:v>
                </c:pt>
                <c:pt idx="881" formatCode="0.0%">
                  <c:v>0.20186724472392867</c:v>
                </c:pt>
                <c:pt idx="882" formatCode="0.0%">
                  <c:v>0.20117308821421104</c:v>
                </c:pt>
                <c:pt idx="883" formatCode="0.0%">
                  <c:v>0.2173623004426446</c:v>
                </c:pt>
                <c:pt idx="884" formatCode="0.0%">
                  <c:v>0.2173623004426446</c:v>
                </c:pt>
                <c:pt idx="885" formatCode="0.0%">
                  <c:v>0.2173623004426446</c:v>
                </c:pt>
                <c:pt idx="886" formatCode="0.0%">
                  <c:v>0.2173623004426446</c:v>
                </c:pt>
                <c:pt idx="887" formatCode="0.0%">
                  <c:v>0.22737626209598516</c:v>
                </c:pt>
                <c:pt idx="888" formatCode="0.0%">
                  <c:v>0.21586018834847379</c:v>
                </c:pt>
                <c:pt idx="889" formatCode="0.0%">
                  <c:v>0.20985185894625502</c:v>
                </c:pt>
                <c:pt idx="890" formatCode="0.0%">
                  <c:v>0.21519262263144157</c:v>
                </c:pt>
                <c:pt idx="891" formatCode="0.0%">
                  <c:v>0.21519262263144157</c:v>
                </c:pt>
                <c:pt idx="892" formatCode="0.0%">
                  <c:v>0.21519262263144157</c:v>
                </c:pt>
                <c:pt idx="893" formatCode="0.0%">
                  <c:v>0.2173623004426446</c:v>
                </c:pt>
                <c:pt idx="894" formatCode="0.0%">
                  <c:v>0.22570728831617232</c:v>
                </c:pt>
                <c:pt idx="895" formatCode="0.0%">
                  <c:v>0.22320376815922147</c:v>
                </c:pt>
                <c:pt idx="896" formatCode="0.0%">
                  <c:v>0.22286998530070506</c:v>
                </c:pt>
                <c:pt idx="897" formatCode="0.0%">
                  <c:v>0.23338465098543579</c:v>
                </c:pt>
                <c:pt idx="898" formatCode="0.0%">
                  <c:v>0.23338465098543579</c:v>
                </c:pt>
                <c:pt idx="899" formatCode="0.0%">
                  <c:v>0.23338465098543579</c:v>
                </c:pt>
                <c:pt idx="900" formatCode="0.0%">
                  <c:v>0.22403825504912761</c:v>
                </c:pt>
                <c:pt idx="901" formatCode="0.0%">
                  <c:v>0.21586018834847379</c:v>
                </c:pt>
                <c:pt idx="902" formatCode="0.0%">
                  <c:v>0.20701455593078791</c:v>
                </c:pt>
                <c:pt idx="903" formatCode="0.0%">
                  <c:v>0.20517866097810128</c:v>
                </c:pt>
                <c:pt idx="904" formatCode="0.0%">
                  <c:v>0.20834974685208452</c:v>
                </c:pt>
                <c:pt idx="905" formatCode="0.0%">
                  <c:v>0.20834974685208452</c:v>
                </c:pt>
                <c:pt idx="906" formatCode="0.0%">
                  <c:v>0.20834974685208452</c:v>
                </c:pt>
                <c:pt idx="907" formatCode="0.0%">
                  <c:v>0.20534558215097504</c:v>
                </c:pt>
                <c:pt idx="908" formatCode="0.0%">
                  <c:v>0.19449713360772819</c:v>
                </c:pt>
                <c:pt idx="909" formatCode="0.0%">
                  <c:v>0.20601314786800742</c:v>
                </c:pt>
                <c:pt idx="910" formatCode="0.0%">
                  <c:v>0.20651385189939758</c:v>
                </c:pt>
                <c:pt idx="911" formatCode="0.0%">
                  <c:v>0.22077436909328982</c:v>
                </c:pt>
                <c:pt idx="912" formatCode="0.0%">
                  <c:v>0.22077436909328982</c:v>
                </c:pt>
                <c:pt idx="913" formatCode="0.0%">
                  <c:v>0.22077436909328982</c:v>
                </c:pt>
                <c:pt idx="914" formatCode="0.0%">
                  <c:v>0.2173623004426446</c:v>
                </c:pt>
                <c:pt idx="915" formatCode="0.0%">
                  <c:v>0.21953197825384763</c:v>
                </c:pt>
                <c:pt idx="916" formatCode="0.0%">
                  <c:v>0.21986582059959558</c:v>
                </c:pt>
                <c:pt idx="917" formatCode="0.0%">
                  <c:v>0.20017168015143086</c:v>
                </c:pt>
                <c:pt idx="918" formatCode="0.0%">
                  <c:v>0.19683373259180528</c:v>
                </c:pt>
                <c:pt idx="919" formatCode="0.0%">
                  <c:v>0.19683373259180528</c:v>
                </c:pt>
                <c:pt idx="920" formatCode="0.0%">
                  <c:v>0.19683373259180528</c:v>
                </c:pt>
                <c:pt idx="921" formatCode="0.0%">
                  <c:v>0.19483091646624431</c:v>
                </c:pt>
                <c:pt idx="922" formatCode="0.0%">
                  <c:v>0.19533162049763447</c:v>
                </c:pt>
                <c:pt idx="923" formatCode="0.0%">
                  <c:v>0.20434417408819455</c:v>
                </c:pt>
                <c:pt idx="924" formatCode="0.0%">
                  <c:v>0.20484487811958488</c:v>
                </c:pt>
                <c:pt idx="925" formatCode="0.0%">
                  <c:v>0.20684763475791385</c:v>
                </c:pt>
                <c:pt idx="926" formatCode="0.0%">
                  <c:v>0.20684763475791385</c:v>
                </c:pt>
                <c:pt idx="927" formatCode="0.0%">
                  <c:v>0.20684763475791385</c:v>
                </c:pt>
                <c:pt idx="928" formatCode="0.0%">
                  <c:v>0.20651385189939758</c:v>
                </c:pt>
                <c:pt idx="929" formatCode="0.0%">
                  <c:v>0.20684763475791385</c:v>
                </c:pt>
                <c:pt idx="930" formatCode="0.0%">
                  <c:v>0.21769608330116072</c:v>
                </c:pt>
                <c:pt idx="931" formatCode="0.0%">
                  <c:v>0.21485883977292544</c:v>
                </c:pt>
                <c:pt idx="932" formatCode="0.0%">
                  <c:v>0.22103409034801844</c:v>
                </c:pt>
                <c:pt idx="933" formatCode="0.0%">
                  <c:v>0.22103409034801844</c:v>
                </c:pt>
                <c:pt idx="934" formatCode="0.0%">
                  <c:v>0.22103409034801844</c:v>
                </c:pt>
                <c:pt idx="935" formatCode="0.0%">
                  <c:v>0.22570728831617232</c:v>
                </c:pt>
                <c:pt idx="936" formatCode="0.0%">
                  <c:v>0.23405221670246817</c:v>
                </c:pt>
                <c:pt idx="937" formatCode="0.0%">
                  <c:v>0.22320376815922147</c:v>
                </c:pt>
                <c:pt idx="938" formatCode="0.0%">
                  <c:v>0.23672259854506136</c:v>
                </c:pt>
                <c:pt idx="939" formatCode="0.0%">
                  <c:v>0.22737626209598516</c:v>
                </c:pt>
                <c:pt idx="940" formatCode="0.0%">
                  <c:v>0.22737626209598516</c:v>
                </c:pt>
                <c:pt idx="941" formatCode="0.0%">
                  <c:v>0.22737626209598516</c:v>
                </c:pt>
                <c:pt idx="942" formatCode="0.0%">
                  <c:v>0.22866154322966906</c:v>
                </c:pt>
                <c:pt idx="943" formatCode="0.0%">
                  <c:v>0.22720934092311112</c:v>
                </c:pt>
                <c:pt idx="944" formatCode="0.0%">
                  <c:v>0.22019960345811199</c:v>
                </c:pt>
                <c:pt idx="945" formatCode="0.0%">
                  <c:v>0.20868352971060061</c:v>
                </c:pt>
                <c:pt idx="946" formatCode="0.0%">
                  <c:v>0.20651385189939758</c:v>
                </c:pt>
                <c:pt idx="947" formatCode="0.0%">
                  <c:v>0.20651385189939758</c:v>
                </c:pt>
                <c:pt idx="948" formatCode="0.0%">
                  <c:v>0.20651385189939758</c:v>
                </c:pt>
                <c:pt idx="949" formatCode="0.0%">
                  <c:v>0.21035256297764535</c:v>
                </c:pt>
                <c:pt idx="950" formatCode="0.0%">
                  <c:v>0.21586018834847379</c:v>
                </c:pt>
                <c:pt idx="951" formatCode="0.0%">
                  <c:v>0.21719537926977053</c:v>
                </c:pt>
                <c:pt idx="952" formatCode="0.0%">
                  <c:v>0.22170165606505066</c:v>
                </c:pt>
                <c:pt idx="953" formatCode="0.0%">
                  <c:v>0.21152083272606803</c:v>
                </c:pt>
                <c:pt idx="954" formatCode="0.0%">
                  <c:v>0.21152083272606803</c:v>
                </c:pt>
                <c:pt idx="955" formatCode="0.0%">
                  <c:v>0.21152083272606803</c:v>
                </c:pt>
                <c:pt idx="956" formatCode="0.0%">
                  <c:v>0.22286998530070506</c:v>
                </c:pt>
                <c:pt idx="957" formatCode="0.0%">
                  <c:v>0.20901737205634888</c:v>
                </c:pt>
                <c:pt idx="958" formatCode="0.0%">
                  <c:v>0.21402429339578702</c:v>
                </c:pt>
                <c:pt idx="959" formatCode="0.0%">
                  <c:v>0.20768218113505199</c:v>
                </c:pt>
                <c:pt idx="960" formatCode="0.0%">
                  <c:v>0.19349572554494784</c:v>
                </c:pt>
                <c:pt idx="961" formatCode="0.0%">
                  <c:v>0.19349572554494784</c:v>
                </c:pt>
                <c:pt idx="962" formatCode="0.0%">
                  <c:v>0.19349572554494784</c:v>
                </c:pt>
                <c:pt idx="963" formatCode="0.0%">
                  <c:v>0.19366264671782177</c:v>
                </c:pt>
                <c:pt idx="964" formatCode="0.0%">
                  <c:v>0.20634699021375552</c:v>
                </c:pt>
                <c:pt idx="965" formatCode="0.0%">
                  <c:v>0.2191981953953315</c:v>
                </c:pt>
                <c:pt idx="966" formatCode="0.0%">
                  <c:v>0.21669473472561207</c:v>
                </c:pt>
                <c:pt idx="967" formatCode="0.0%">
                  <c:v>0.20851666802495855</c:v>
                </c:pt>
                <c:pt idx="968" formatCode="0.0%">
                  <c:v>0.20851666802495855</c:v>
                </c:pt>
                <c:pt idx="969" formatCode="0.0%">
                  <c:v>0.20851666802495855</c:v>
                </c:pt>
                <c:pt idx="970" formatCode="0.0%">
                  <c:v>0.22554036714329825</c:v>
                </c:pt>
                <c:pt idx="971" formatCode="0.0%">
                  <c:v>0.23505362476524866</c:v>
                </c:pt>
                <c:pt idx="972" formatCode="0.0%">
                  <c:v>0.23088113082848466</c:v>
                </c:pt>
                <c:pt idx="973" formatCode="0.0%">
                  <c:v>0.23376596414228629</c:v>
                </c:pt>
                <c:pt idx="974" formatCode="0.0%">
                  <c:v>0.24122887534034149</c:v>
                </c:pt>
                <c:pt idx="975" formatCode="0.0%">
                  <c:v>0.24122887534034149</c:v>
                </c:pt>
                <c:pt idx="976" formatCode="0.0%">
                  <c:v>0.24122887534034149</c:v>
                </c:pt>
                <c:pt idx="977" formatCode="0.0%">
                  <c:v>0.24439996121432486</c:v>
                </c:pt>
                <c:pt idx="978" formatCode="0.0%">
                  <c:v>0.24640277733988555</c:v>
                </c:pt>
                <c:pt idx="979" formatCode="0.0%">
                  <c:v>0.23972676324617084</c:v>
                </c:pt>
                <c:pt idx="980" formatCode="0.0%">
                  <c:v>0.23655567737218733</c:v>
                </c:pt>
                <c:pt idx="981" formatCode="0.0%">
                  <c:v>0.23839157232487396</c:v>
                </c:pt>
                <c:pt idx="982" formatCode="0.0%">
                  <c:v>0.23839157232487396</c:v>
                </c:pt>
                <c:pt idx="983" formatCode="0.0%">
                  <c:v>0.23839157232487396</c:v>
                </c:pt>
                <c:pt idx="984" formatCode="0.0%">
                  <c:v>0.23421913787534224</c:v>
                </c:pt>
                <c:pt idx="985" formatCode="0.0%">
                  <c:v>0.23555432879663882</c:v>
                </c:pt>
                <c:pt idx="986" formatCode="0.0%">
                  <c:v>0.23371843384395191</c:v>
                </c:pt>
                <c:pt idx="987" formatCode="0.0%">
                  <c:v>0.24556823096274741</c:v>
                </c:pt>
                <c:pt idx="988" formatCode="0.0%">
                  <c:v>0.23688951971793529</c:v>
                </c:pt>
                <c:pt idx="989" formatCode="0.0%">
                  <c:v>0.23688951971793529</c:v>
                </c:pt>
                <c:pt idx="990" formatCode="0.0%">
                  <c:v>0.23688951971793529</c:v>
                </c:pt>
                <c:pt idx="991" formatCode="0.0%">
                  <c:v>0.23038042679709433</c:v>
                </c:pt>
                <c:pt idx="992" formatCode="0.0%">
                  <c:v>0.21936511656820529</c:v>
                </c:pt>
                <c:pt idx="993" formatCode="0.0%">
                  <c:v>0.22554036714329825</c:v>
                </c:pt>
                <c:pt idx="994" formatCode="0.0%">
                  <c:v>0.20367654888393047</c:v>
                </c:pt>
                <c:pt idx="995" formatCode="0.0%">
                  <c:v>0.20367654888393047</c:v>
                </c:pt>
                <c:pt idx="996" formatCode="0.0%">
                  <c:v>0.20367654888393047</c:v>
                </c:pt>
                <c:pt idx="997" formatCode="0.0%">
                  <c:v>0.20367654888393047</c:v>
                </c:pt>
                <c:pt idx="998" formatCode="0.0%">
                  <c:v>0.19766821948171143</c:v>
                </c:pt>
                <c:pt idx="999" formatCode="0.0%">
                  <c:v>0.19132604773374468</c:v>
                </c:pt>
                <c:pt idx="1000" formatCode="0.0%">
                  <c:v>0.19499783763911835</c:v>
                </c:pt>
                <c:pt idx="1001" formatCode="0.0%">
                  <c:v>0.19866962754449191</c:v>
                </c:pt>
                <c:pt idx="1002" formatCode="0.0%">
                  <c:v>0.20501173980522694</c:v>
                </c:pt>
                <c:pt idx="1003" formatCode="0.0%">
                  <c:v>0.19794644126557898</c:v>
                </c:pt>
                <c:pt idx="1004" formatCode="0.0%">
                  <c:v>0.19794644126557898</c:v>
                </c:pt>
                <c:pt idx="1005" formatCode="0.0%">
                  <c:v>0.20083930535569494</c:v>
                </c:pt>
                <c:pt idx="1006" formatCode="0.0%">
                  <c:v>0.19282815982791532</c:v>
                </c:pt>
                <c:pt idx="1007" formatCode="0.0%">
                  <c:v>0.19299502151355769</c:v>
                </c:pt>
                <c:pt idx="1008" formatCode="0.0%">
                  <c:v>0.19366264671782177</c:v>
                </c:pt>
                <c:pt idx="1009" formatCode="0.0%">
                  <c:v>0.20384347005680439</c:v>
                </c:pt>
                <c:pt idx="1010" formatCode="0.0%">
                  <c:v>0.20384347005680439</c:v>
                </c:pt>
                <c:pt idx="1011" formatCode="0.0%">
                  <c:v>0.20384347005680439</c:v>
                </c:pt>
                <c:pt idx="1012" formatCode="0.0%">
                  <c:v>0.20918423374199094</c:v>
                </c:pt>
                <c:pt idx="1013" formatCode="0.0%">
                  <c:v>0.22620793286033064</c:v>
                </c:pt>
                <c:pt idx="1014" formatCode="0.0%">
                  <c:v>0.23288394695404563</c:v>
                </c:pt>
                <c:pt idx="1015" formatCode="0.0%">
                  <c:v>0.24239720457599589</c:v>
                </c:pt>
                <c:pt idx="1016" formatCode="0.0%">
                  <c:v>0.23371843384395191</c:v>
                </c:pt>
                <c:pt idx="1017" formatCode="0.0%">
                  <c:v>0.23371843384395191</c:v>
                </c:pt>
                <c:pt idx="1018" formatCode="0.0%">
                  <c:v>0.23371843384395191</c:v>
                </c:pt>
                <c:pt idx="1019" formatCode="0.0%">
                  <c:v>0.24056130962330896</c:v>
                </c:pt>
                <c:pt idx="1020" formatCode="0.0%">
                  <c:v>0.23572119048228088</c:v>
                </c:pt>
                <c:pt idx="1021" formatCode="0.0%">
                  <c:v>0.22720934092311112</c:v>
                </c:pt>
                <c:pt idx="1022" formatCode="0.0%">
                  <c:v>0.21402429339578702</c:v>
                </c:pt>
                <c:pt idx="1023" formatCode="0.0%">
                  <c:v>0.1958323245290248</c:v>
                </c:pt>
                <c:pt idx="1024" formatCode="0.0%">
                  <c:v>0.1958323245290248</c:v>
                </c:pt>
                <c:pt idx="1025" formatCode="0.0%">
                  <c:v>0.1958323245290248</c:v>
                </c:pt>
                <c:pt idx="1026" formatCode="0.0%">
                  <c:v>0.19065842252948031</c:v>
                </c:pt>
                <c:pt idx="1027" formatCode="0.0%">
                  <c:v>0.19883648923013425</c:v>
                </c:pt>
                <c:pt idx="1028" formatCode="0.0%">
                  <c:v>0.18798804068688724</c:v>
                </c:pt>
                <c:pt idx="1029" formatCode="0.0%">
                  <c:v>0.18581836287568421</c:v>
                </c:pt>
                <c:pt idx="1030" formatCode="0.0%">
                  <c:v>0.17129812442706366</c:v>
                </c:pt>
                <c:pt idx="1031" formatCode="0.0%">
                  <c:v>0.17129812442706366</c:v>
                </c:pt>
                <c:pt idx="1032" formatCode="0.0%">
                  <c:v>0.17129812442706366</c:v>
                </c:pt>
                <c:pt idx="1033" formatCode="0.0%">
                  <c:v>0.17246645366271834</c:v>
                </c:pt>
                <c:pt idx="1034" formatCode="0.0%">
                  <c:v>0.18525460237841856</c:v>
                </c:pt>
                <c:pt idx="1035" formatCode="0.0%">
                  <c:v>0.19599918621466686</c:v>
                </c:pt>
                <c:pt idx="1036" formatCode="0.0%">
                  <c:v>0.21102012869467784</c:v>
                </c:pt>
                <c:pt idx="1037" formatCode="0.0%">
                  <c:v>0.21385743171014496</c:v>
                </c:pt>
                <c:pt idx="1038" formatCode="0.0%">
                  <c:v>0.21385743171014496</c:v>
                </c:pt>
                <c:pt idx="1039" formatCode="0.0%">
                  <c:v>0.21385743171014496</c:v>
                </c:pt>
                <c:pt idx="1040" formatCode="0.0%">
                  <c:v>0.21385743171014496</c:v>
                </c:pt>
                <c:pt idx="1041" formatCode="0.0%">
                  <c:v>0.22704247923746906</c:v>
                </c:pt>
                <c:pt idx="1042" formatCode="0.0%">
                  <c:v>0.22420517622200165</c:v>
                </c:pt>
                <c:pt idx="1043" formatCode="0.0%">
                  <c:v>0.22620793286033064</c:v>
                </c:pt>
                <c:pt idx="1044" formatCode="0.0%">
                  <c:v>0.22687555806459486</c:v>
                </c:pt>
                <c:pt idx="1045" formatCode="0.0%">
                  <c:v>0.22687555806459486</c:v>
                </c:pt>
                <c:pt idx="1046" formatCode="0.0%">
                  <c:v>0.22687555806459486</c:v>
                </c:pt>
                <c:pt idx="1047" formatCode="0.0%">
                  <c:v>0.23672259854506136</c:v>
                </c:pt>
                <c:pt idx="1048" formatCode="0.0%">
                  <c:v>0.24773796826118244</c:v>
                </c:pt>
                <c:pt idx="1049" formatCode="0.0%">
                  <c:v>0.24823867229257274</c:v>
                </c:pt>
                <c:pt idx="1050" formatCode="0.0%">
                  <c:v>0.24623585616701177</c:v>
                </c:pt>
                <c:pt idx="1051" formatCode="0.0%">
                  <c:v>0.24673656019840196</c:v>
                </c:pt>
                <c:pt idx="1052" formatCode="0.0%">
                  <c:v>0.24673656019840196</c:v>
                </c:pt>
                <c:pt idx="1053" formatCode="0.0%">
                  <c:v>0.24673656019840196</c:v>
                </c:pt>
                <c:pt idx="1054" formatCode="0.0%">
                  <c:v>0.24690348137127585</c:v>
                </c:pt>
                <c:pt idx="1055" formatCode="0.0%">
                  <c:v>0.25191040271071413</c:v>
                </c:pt>
                <c:pt idx="1056" formatCode="0.0%">
                  <c:v>0.26359333814386759</c:v>
                </c:pt>
                <c:pt idx="1057" formatCode="0.0%">
                  <c:v>0.26175750267841269</c:v>
                </c:pt>
                <c:pt idx="1058" formatCode="0.0%">
                  <c:v>0.25841949563155509</c:v>
                </c:pt>
                <c:pt idx="1059" formatCode="0.0%">
                  <c:v>0.25841949563155509</c:v>
                </c:pt>
                <c:pt idx="1060" formatCode="0.0%">
                  <c:v>0.25841949563155509</c:v>
                </c:pt>
                <c:pt idx="1061" formatCode="0.0%">
                  <c:v>0.25892019966294527</c:v>
                </c:pt>
                <c:pt idx="1062" formatCode="0.0%">
                  <c:v>0.25257802791497852</c:v>
                </c:pt>
                <c:pt idx="1063" formatCode="0.0%">
                  <c:v>0.26058917344275812</c:v>
                </c:pt>
                <c:pt idx="1064" formatCode="0.0%">
                  <c:v>0.26383069219937982</c:v>
                </c:pt>
                <c:pt idx="1065" formatCode="0.0%">
                  <c:v>0.27077005626897277</c:v>
                </c:pt>
                <c:pt idx="1066" formatCode="0.0%">
                  <c:v>0.27077005626897277</c:v>
                </c:pt>
                <c:pt idx="1067" formatCode="0.0%">
                  <c:v>0.27077005626897277</c:v>
                </c:pt>
                <c:pt idx="1068" formatCode="0.0%">
                  <c:v>0.2652623714109123</c:v>
                </c:pt>
                <c:pt idx="1069" formatCode="0.0%">
                  <c:v>0.27277281290730171</c:v>
                </c:pt>
                <c:pt idx="1070" formatCode="0.0%">
                  <c:v>0.27561011592276913</c:v>
                </c:pt>
                <c:pt idx="1071" formatCode="0.0%">
                  <c:v>0.27677838567119167</c:v>
                </c:pt>
                <c:pt idx="1072" formatCode="0.0%">
                  <c:v>0.27828049776536234</c:v>
                </c:pt>
                <c:pt idx="1073" formatCode="0.0%">
                  <c:v>0.27828049776536234</c:v>
                </c:pt>
                <c:pt idx="1074" formatCode="0.0%">
                  <c:v>0.27828049776536234</c:v>
                </c:pt>
                <c:pt idx="1075" formatCode="0.0%">
                  <c:v>0.29046413722990566</c:v>
                </c:pt>
                <c:pt idx="1076" formatCode="0.0%">
                  <c:v>0.29029721605703174</c:v>
                </c:pt>
                <c:pt idx="1077" formatCode="0.0%">
                  <c:v>0.29697317066351475</c:v>
                </c:pt>
                <c:pt idx="1078" formatCode="0.0%">
                  <c:v>0.29063099891554772</c:v>
                </c:pt>
                <c:pt idx="1079" formatCode="0.0%">
                  <c:v>0.30147944745879474</c:v>
                </c:pt>
                <c:pt idx="1080" formatCode="0.0%">
                  <c:v>0.30147944745879474</c:v>
                </c:pt>
                <c:pt idx="1081" formatCode="0.0%">
                  <c:v>0.30147944745879474</c:v>
                </c:pt>
                <c:pt idx="1082" formatCode="0.0%">
                  <c:v>0.29897598678907572</c:v>
                </c:pt>
                <c:pt idx="1083" formatCode="0.0%">
                  <c:v>0.29930976964759171</c:v>
                </c:pt>
                <c:pt idx="1084" formatCode="0.0%">
                  <c:v>0.30531815853704247</c:v>
                </c:pt>
                <c:pt idx="1085" formatCode="0.0%">
                  <c:v>0.29714009183638868</c:v>
                </c:pt>
                <c:pt idx="1086" formatCode="0.0%">
                  <c:v>0.30131258577315267</c:v>
                </c:pt>
                <c:pt idx="1087" formatCode="0.0%">
                  <c:v>0.30131258577315267</c:v>
                </c:pt>
                <c:pt idx="1088" formatCode="0.0%">
                  <c:v>0.30131258577315267</c:v>
                </c:pt>
                <c:pt idx="1089" formatCode="0.0%">
                  <c:v>0.30131258577315267</c:v>
                </c:pt>
                <c:pt idx="1090" formatCode="0.0%">
                  <c:v>0.30131258577315267</c:v>
                </c:pt>
                <c:pt idx="1091" formatCode="0.0%">
                  <c:v>0.29380208478953135</c:v>
                </c:pt>
                <c:pt idx="1092" formatCode="0.0%">
                  <c:v>0.29847528275768553</c:v>
                </c:pt>
                <c:pt idx="1093" formatCode="0.0%">
                  <c:v>0.30248085552157533</c:v>
                </c:pt>
                <c:pt idx="1094" formatCode="0.0%">
                  <c:v>0.30248085552157533</c:v>
                </c:pt>
                <c:pt idx="1095" formatCode="0.0%">
                  <c:v>0.30152703724436092</c:v>
                </c:pt>
                <c:pt idx="1096" formatCode="0.0%">
                  <c:v>0.30152703724436092</c:v>
                </c:pt>
                <c:pt idx="1097" formatCode="0.0%">
                  <c:v>0.29580490091509232</c:v>
                </c:pt>
                <c:pt idx="1098" formatCode="0.0%">
                  <c:v>0.29346830193101509</c:v>
                </c:pt>
                <c:pt idx="1099" formatCode="0.0%">
                  <c:v>0.29263381504110869</c:v>
                </c:pt>
                <c:pt idx="1100" formatCode="0.0%">
                  <c:v>0.28796061707295478</c:v>
                </c:pt>
                <c:pt idx="1101" formatCode="0.0%">
                  <c:v>0.28796061707295478</c:v>
                </c:pt>
                <c:pt idx="1102" formatCode="0.0%">
                  <c:v>0.28796061707295478</c:v>
                </c:pt>
                <c:pt idx="1103" formatCode="0.0%">
                  <c:v>0.28829445941870263</c:v>
                </c:pt>
                <c:pt idx="1104" formatCode="0.0%">
                  <c:v>0.30147944745879474</c:v>
                </c:pt>
                <c:pt idx="1105" formatCode="0.0%">
                  <c:v>0.29897598678907572</c:v>
                </c:pt>
                <c:pt idx="1106" formatCode="0.0%">
                  <c:v>0.29780771704065301</c:v>
                </c:pt>
                <c:pt idx="1107" formatCode="0.0%">
                  <c:v>0.3034822635843557</c:v>
                </c:pt>
                <c:pt idx="1108" formatCode="0.0%">
                  <c:v>0.3034822635843557</c:v>
                </c:pt>
                <c:pt idx="1109" formatCode="0.0%">
                  <c:v>0.3034822635843557</c:v>
                </c:pt>
                <c:pt idx="1110" formatCode="0.0%">
                  <c:v>0.30631956659982279</c:v>
                </c:pt>
                <c:pt idx="1111" formatCode="0.0%">
                  <c:v>0.3124948171749159</c:v>
                </c:pt>
                <c:pt idx="1112" formatCode="0.0%">
                  <c:v>0.29747387469490488</c:v>
                </c:pt>
                <c:pt idx="1113" formatCode="0.0%">
                  <c:v>0.30732091517537158</c:v>
                </c:pt>
                <c:pt idx="1114" formatCode="0.0%">
                  <c:v>0.31533212019038304</c:v>
                </c:pt>
                <c:pt idx="1115" formatCode="0.0%">
                  <c:v>0.31533212019038304</c:v>
                </c:pt>
                <c:pt idx="1116" formatCode="0.0%">
                  <c:v>0.31533212019038304</c:v>
                </c:pt>
                <c:pt idx="1117" formatCode="0.0%">
                  <c:v>0.32651435159214626</c:v>
                </c:pt>
                <c:pt idx="1118" formatCode="0.0%">
                  <c:v>0.3311874900730683</c:v>
                </c:pt>
                <c:pt idx="1119" formatCode="0.0%">
                  <c:v>0.33936555677372182</c:v>
                </c:pt>
                <c:pt idx="1120" formatCode="0.0%">
                  <c:v>0.34720984061585936</c:v>
                </c:pt>
                <c:pt idx="1121" formatCode="0.0%">
                  <c:v>0.34737676178873356</c:v>
                </c:pt>
                <c:pt idx="1122" formatCode="0.0%">
                  <c:v>0.34737676178873356</c:v>
                </c:pt>
                <c:pt idx="1123" formatCode="0.0%">
                  <c:v>0.34737676178873356</c:v>
                </c:pt>
                <c:pt idx="1124" formatCode="0.0%">
                  <c:v>0.35355201236382638</c:v>
                </c:pt>
                <c:pt idx="1125" formatCode="0.0%">
                  <c:v>0.35572169017502941</c:v>
                </c:pt>
                <c:pt idx="1126" formatCode="0.0%">
                  <c:v>0.33050772947348461</c:v>
                </c:pt>
                <c:pt idx="1127" formatCode="0.0%">
                  <c:v>0.33702895778964487</c:v>
                </c:pt>
                <c:pt idx="1128" formatCode="0.0%">
                  <c:v>0.34737676178873356</c:v>
                </c:pt>
                <c:pt idx="1129" formatCode="0.0%">
                  <c:v>0.34737676178873356</c:v>
                </c:pt>
                <c:pt idx="1130" formatCode="0.0%">
                  <c:v>0.34737676178873356</c:v>
                </c:pt>
                <c:pt idx="1131" formatCode="0.0%">
                  <c:v>0.36256456595438663</c:v>
                </c:pt>
                <c:pt idx="1132" formatCode="0.0%">
                  <c:v>0.36924052056086937</c:v>
                </c:pt>
                <c:pt idx="1133" formatCode="0.0%">
                  <c:v>0.37163720164922409</c:v>
                </c:pt>
                <c:pt idx="1134" formatCode="0.0%">
                  <c:v>0.38300562808701555</c:v>
                </c:pt>
                <c:pt idx="1135" formatCode="0.0%">
                  <c:v>0.39283065829165764</c:v>
                </c:pt>
                <c:pt idx="1136" formatCode="0.0%">
                  <c:v>0.39283065829165764</c:v>
                </c:pt>
                <c:pt idx="1137" formatCode="0.0%">
                  <c:v>0.39283065829165764</c:v>
                </c:pt>
                <c:pt idx="1138" formatCode="0.0%">
                  <c:v>0.39372385907950647</c:v>
                </c:pt>
                <c:pt idx="1139" formatCode="0.0%">
                  <c:v>0.38336290840215498</c:v>
                </c:pt>
                <c:pt idx="1140" formatCode="0.0%">
                  <c:v>0.38747157253902798</c:v>
                </c:pt>
                <c:pt idx="1141" formatCode="0.0%">
                  <c:v>0.39318793860679707</c:v>
                </c:pt>
                <c:pt idx="1142" formatCode="0.0%">
                  <c:v>0.39693932242853036</c:v>
                </c:pt>
                <c:pt idx="1143" formatCode="0.0%">
                  <c:v>0.39693932242853036</c:v>
                </c:pt>
                <c:pt idx="1144" formatCode="0.0%">
                  <c:v>0.39693932242853036</c:v>
                </c:pt>
                <c:pt idx="1145" formatCode="0.0%">
                  <c:v>0.39443836022255396</c:v>
                </c:pt>
                <c:pt idx="1146" formatCode="0.0%">
                  <c:v>0.38300562808701555</c:v>
                </c:pt>
                <c:pt idx="1147" formatCode="0.0%">
                  <c:v>0.37496699945807166</c:v>
                </c:pt>
                <c:pt idx="1148" formatCode="0.0%">
                  <c:v>0.40337024912657882</c:v>
                </c:pt>
                <c:pt idx="1149" formatCode="0.0%">
                  <c:v>0.40640707231803302</c:v>
                </c:pt>
                <c:pt idx="1150" formatCode="0.0%">
                  <c:v>0.40640707231803302</c:v>
                </c:pt>
                <c:pt idx="1151" formatCode="0.0%">
                  <c:v>0.40640707231803302</c:v>
                </c:pt>
                <c:pt idx="1152" formatCode="0.0%">
                  <c:v>0.39926158498970582</c:v>
                </c:pt>
                <c:pt idx="1153" formatCode="0.0%">
                  <c:v>0.39854702435942668</c:v>
                </c:pt>
                <c:pt idx="1154" formatCode="0.0%">
                  <c:v>0.39229473781894825</c:v>
                </c:pt>
                <c:pt idx="1155" formatCode="0.0%">
                  <c:v>0.39698179631214858</c:v>
                </c:pt>
                <c:pt idx="1156" formatCode="0.0%">
                  <c:v>0.40801477424892935</c:v>
                </c:pt>
                <c:pt idx="1157" formatCode="0.0%">
                  <c:v>0.40801477424892935</c:v>
                </c:pt>
                <c:pt idx="1158" formatCode="0.0%">
                  <c:v>0.40801477424892935</c:v>
                </c:pt>
                <c:pt idx="1159" formatCode="0.0%">
                  <c:v>0.41283793952884934</c:v>
                </c:pt>
                <c:pt idx="1160" formatCode="0.0%">
                  <c:v>0.39568884132554216</c:v>
                </c:pt>
                <c:pt idx="1161" formatCode="0.0%">
                  <c:v>0.40122656723574152</c:v>
                </c:pt>
                <c:pt idx="1162" formatCode="0.0%">
                  <c:v>0.4199834268571766</c:v>
                </c:pt>
                <c:pt idx="1163" formatCode="0.0%">
                  <c:v>0.42802211497335263</c:v>
                </c:pt>
                <c:pt idx="1164" formatCode="0.0%">
                  <c:v>0.42802211497335263</c:v>
                </c:pt>
                <c:pt idx="1165" formatCode="0.0%">
                  <c:v>0.42802211497335263</c:v>
                </c:pt>
                <c:pt idx="1166" formatCode="0.0%">
                  <c:v>0.40622843216046334</c:v>
                </c:pt>
                <c:pt idx="1167" formatCode="0.0%">
                  <c:v>0.42516393193946811</c:v>
                </c:pt>
                <c:pt idx="1168" formatCode="0.0%">
                  <c:v>0.42159118827530451</c:v>
                </c:pt>
                <c:pt idx="1169" formatCode="0.0%">
                  <c:v>0.42391345083647991</c:v>
                </c:pt>
                <c:pt idx="1170" formatCode="0.0%">
                  <c:v>0.40301296881143911</c:v>
                </c:pt>
                <c:pt idx="1171" formatCode="0.0%">
                  <c:v>0.40301296881143911</c:v>
                </c:pt>
                <c:pt idx="1172" formatCode="0.0%">
                  <c:v>0.40301296881143911</c:v>
                </c:pt>
                <c:pt idx="1173" formatCode="0.0%">
                  <c:v>0.41498162141968664</c:v>
                </c:pt>
                <c:pt idx="1174" formatCode="0.0%">
                  <c:v>0.40622843216046334</c:v>
                </c:pt>
                <c:pt idx="1175" formatCode="0.0%">
                  <c:v>0.41301657968641903</c:v>
                </c:pt>
                <c:pt idx="1176" formatCode="0.0%">
                  <c:v>0.4319520794654238</c:v>
                </c:pt>
                <c:pt idx="1177" formatCode="0.0%">
                  <c:v>0.42855797595883016</c:v>
                </c:pt>
                <c:pt idx="1178" formatCode="0.0%">
                  <c:v>0.42855797595883016</c:v>
                </c:pt>
                <c:pt idx="1179" formatCode="0.0%">
                  <c:v>0.42855797595883016</c:v>
                </c:pt>
                <c:pt idx="1180" formatCode="0.0%">
                  <c:v>0.41855436508385024</c:v>
                </c:pt>
                <c:pt idx="1181" formatCode="0.0%">
                  <c:v>0.41891164539898995</c:v>
                </c:pt>
                <c:pt idx="1182" formatCode="0.0%">
                  <c:v>0.41283793952884934</c:v>
                </c:pt>
                <c:pt idx="1183" formatCode="0.0%">
                  <c:v>0.41283793952884934</c:v>
                </c:pt>
                <c:pt idx="1184" formatCode="0.0%">
                  <c:v>0.41283793952884934</c:v>
                </c:pt>
                <c:pt idx="1185" formatCode="0.0%">
                  <c:v>0.41283793952884934</c:v>
                </c:pt>
                <c:pt idx="1186" formatCode="0.0%">
                  <c:v>0.42081785425985119</c:v>
                </c:pt>
                <c:pt idx="1187" formatCode="0.0%">
                  <c:v>0.42081785425985119</c:v>
                </c:pt>
                <c:pt idx="1188" formatCode="0.0%">
                  <c:v>0.41015839665253451</c:v>
                </c:pt>
                <c:pt idx="1189" formatCode="0.0%">
                  <c:v>0.41176615807066269</c:v>
                </c:pt>
                <c:pt idx="1190" formatCode="0.0%">
                  <c:v>0.41373114031669844</c:v>
                </c:pt>
                <c:pt idx="1191" formatCode="0.0%">
                  <c:v>0.40783613409135938</c:v>
                </c:pt>
                <c:pt idx="1192" formatCode="0.0%">
                  <c:v>0.40783613409135938</c:v>
                </c:pt>
                <c:pt idx="1193" formatCode="0.0%">
                  <c:v>0.40783613409135938</c:v>
                </c:pt>
                <c:pt idx="1194" formatCode="0.0%">
                  <c:v>0.41283793952884934</c:v>
                </c:pt>
                <c:pt idx="1195" formatCode="0.0%">
                  <c:v>0.40515659121504455</c:v>
                </c:pt>
                <c:pt idx="1196" formatCode="0.0%">
                  <c:v>0.41283793952884934</c:v>
                </c:pt>
                <c:pt idx="1197" formatCode="0.0%">
                  <c:v>0.41337386000155874</c:v>
                </c:pt>
                <c:pt idx="1198" formatCode="0.0%">
                  <c:v>0.41837572492628056</c:v>
                </c:pt>
                <c:pt idx="1199" formatCode="0.0%">
                  <c:v>0.41837572492628056</c:v>
                </c:pt>
                <c:pt idx="1200" formatCode="0.0%">
                  <c:v>0.41837572492628056</c:v>
                </c:pt>
                <c:pt idx="1201" formatCode="0.0%">
                  <c:v>0.41819708476871059</c:v>
                </c:pt>
                <c:pt idx="1202" formatCode="0.0%">
                  <c:v>0.39443836022255396</c:v>
                </c:pt>
                <c:pt idx="1203" formatCode="0.0%">
                  <c:v>0.38943655478506373</c:v>
                </c:pt>
                <c:pt idx="1204" formatCode="0.0%">
                  <c:v>0.38121928599854982</c:v>
                </c:pt>
                <c:pt idx="1205" formatCode="0.0%">
                  <c:v>0.37032241484848893</c:v>
                </c:pt>
                <c:pt idx="1206" formatCode="0.0%">
                  <c:v>0.37032241484848893</c:v>
                </c:pt>
                <c:pt idx="1207" formatCode="0.0%">
                  <c:v>0.37032241484848893</c:v>
                </c:pt>
                <c:pt idx="1208" formatCode="0.0%">
                  <c:v>0.36871471291759322</c:v>
                </c:pt>
                <c:pt idx="1209" formatCode="0.0%">
                  <c:v>0.38961519494263341</c:v>
                </c:pt>
                <c:pt idx="1210" formatCode="0.0%">
                  <c:v>0.39318793860679707</c:v>
                </c:pt>
                <c:pt idx="1211" formatCode="0.0%">
                  <c:v>0.37514563961564107</c:v>
                </c:pt>
                <c:pt idx="1212" formatCode="0.0%">
                  <c:v>0.41766116429600147</c:v>
                </c:pt>
                <c:pt idx="1213" formatCode="0.0%">
                  <c:v>0.41766116429600147</c:v>
                </c:pt>
                <c:pt idx="1214" formatCode="0.0%">
                  <c:v>0.41766116429600147</c:v>
                </c:pt>
                <c:pt idx="1215" formatCode="0.0%">
                  <c:v>0.41390978047426785</c:v>
                </c:pt>
                <c:pt idx="1216" formatCode="0.0%">
                  <c:v>0.40416446316044985</c:v>
                </c:pt>
                <c:pt idx="1217" formatCode="0.0%">
                  <c:v>0.40479931089990517</c:v>
                </c:pt>
                <c:pt idx="1218" formatCode="0.0%">
                  <c:v>0.39961886530484547</c:v>
                </c:pt>
                <c:pt idx="1219" formatCode="0.0%">
                  <c:v>0.40390611011205635</c:v>
                </c:pt>
                <c:pt idx="1220" formatCode="0.0%">
                  <c:v>0.40390611011205635</c:v>
                </c:pt>
                <c:pt idx="1221" formatCode="0.0%">
                  <c:v>0.40390611011205635</c:v>
                </c:pt>
                <c:pt idx="1222" formatCode="0.0%">
                  <c:v>0.41694660366572234</c:v>
                </c:pt>
                <c:pt idx="1223" formatCode="0.0%">
                  <c:v>0.43088029800723715</c:v>
                </c:pt>
                <c:pt idx="1224" formatCode="0.0%">
                  <c:v>0.42980845706181869</c:v>
                </c:pt>
                <c:pt idx="1225" formatCode="0.0%">
                  <c:v>0.42980845706181869</c:v>
                </c:pt>
                <c:pt idx="1226" formatCode="0.0%">
                  <c:v>0.44231303014277529</c:v>
                </c:pt>
                <c:pt idx="1227" formatCode="0.0%">
                  <c:v>0.44231303014277529</c:v>
                </c:pt>
                <c:pt idx="1228" formatCode="0.0%">
                  <c:v>0.44231303014277529</c:v>
                </c:pt>
                <c:pt idx="1229" formatCode="0.0%">
                  <c:v>0.43588210344472744</c:v>
                </c:pt>
                <c:pt idx="1230" formatCode="0.0%">
                  <c:v>0.43177343930785439</c:v>
                </c:pt>
                <c:pt idx="1231" formatCode="0.0%">
                  <c:v>0.44427801238881104</c:v>
                </c:pt>
                <c:pt idx="1232" formatCode="0.0%">
                  <c:v>0.45303126113526643</c:v>
                </c:pt>
                <c:pt idx="1233" formatCode="0.0%">
                  <c:v>0.44820803636811435</c:v>
                </c:pt>
                <c:pt idx="1234" formatCode="0.0%">
                  <c:v>0.44820803636811435</c:v>
                </c:pt>
                <c:pt idx="1235" formatCode="0.0%">
                  <c:v>0.44820803636811435</c:v>
                </c:pt>
                <c:pt idx="1236" formatCode="0.0%">
                  <c:v>0.44820803636811435</c:v>
                </c:pt>
                <c:pt idx="1237" formatCode="0.0%">
                  <c:v>0.44713619542269556</c:v>
                </c:pt>
                <c:pt idx="1238" formatCode="0.0%">
                  <c:v>0.45463896306616219</c:v>
                </c:pt>
                <c:pt idx="1239" formatCode="0.0%">
                  <c:v>0.45249534066255703</c:v>
                </c:pt>
                <c:pt idx="1240" formatCode="0.0%">
                  <c:v>0.44374215140333378</c:v>
                </c:pt>
                <c:pt idx="1241" formatCode="0.0%">
                  <c:v>0.44374215140333378</c:v>
                </c:pt>
                <c:pt idx="1242" formatCode="0.0%">
                  <c:v>0.44374215140333378</c:v>
                </c:pt>
                <c:pt idx="1243" formatCode="0.0%">
                  <c:v>0.44534985333422983</c:v>
                </c:pt>
                <c:pt idx="1244" formatCode="0.0%">
                  <c:v>0.4333812007259823</c:v>
                </c:pt>
                <c:pt idx="1245" formatCode="0.0%">
                  <c:v>0.42659299371279447</c:v>
                </c:pt>
                <c:pt idx="1246" formatCode="0.0%">
                  <c:v>0.41194479822823238</c:v>
                </c:pt>
                <c:pt idx="1247" formatCode="0.0%">
                  <c:v>0.42060703150979206</c:v>
                </c:pt>
                <c:pt idx="1248" formatCode="0.0%">
                  <c:v>0.42060703150979206</c:v>
                </c:pt>
                <c:pt idx="1249" formatCode="0.0%">
                  <c:v>0.42060703150979206</c:v>
                </c:pt>
                <c:pt idx="1250" formatCode="0.0%">
                  <c:v>0.41909022606932778</c:v>
                </c:pt>
                <c:pt idx="1251" formatCode="0.0%">
                  <c:v>0.41658932335058296</c:v>
                </c:pt>
                <c:pt idx="1252" formatCode="0.0%">
                  <c:v>0.41658932335058296</c:v>
                </c:pt>
                <c:pt idx="1253" formatCode="0.0%">
                  <c:v>0.44070532821187924</c:v>
                </c:pt>
                <c:pt idx="1254" formatCode="0.0%">
                  <c:v>0.44838667652568376</c:v>
                </c:pt>
                <c:pt idx="1255" formatCode="0.0%">
                  <c:v>0.44838667652568376</c:v>
                </c:pt>
                <c:pt idx="1256" formatCode="0.0%">
                  <c:v>0.44838667652568376</c:v>
                </c:pt>
                <c:pt idx="1257" formatCode="0.0%">
                  <c:v>0.44963715762867251</c:v>
                </c:pt>
                <c:pt idx="1258" formatCode="0.0%">
                  <c:v>0.44999443794381222</c:v>
                </c:pt>
                <c:pt idx="1259" formatCode="0.0%">
                  <c:v>0.4555321638540113</c:v>
                </c:pt>
                <c:pt idx="1260" formatCode="0.0%">
                  <c:v>0.45303126113526643</c:v>
                </c:pt>
                <c:pt idx="1261" formatCode="0.0%">
                  <c:v>0.46285623185267638</c:v>
                </c:pt>
                <c:pt idx="1262" formatCode="0.0%">
                  <c:v>0.46285623185267638</c:v>
                </c:pt>
                <c:pt idx="1263" formatCode="0.0%">
                  <c:v>0.46285623185267638</c:v>
                </c:pt>
                <c:pt idx="1264" formatCode="0.0%">
                  <c:v>0.45803306657275611</c:v>
                </c:pt>
                <c:pt idx="1265" formatCode="0.0%">
                  <c:v>0.46750081646225877</c:v>
                </c:pt>
                <c:pt idx="1266" formatCode="0.0%">
                  <c:v>0.46910851839315482</c:v>
                </c:pt>
                <c:pt idx="1267" formatCode="0.0%">
                  <c:v>0.47339582268759756</c:v>
                </c:pt>
                <c:pt idx="1268" formatCode="0.0%">
                  <c:v>0.4785762682826572</c:v>
                </c:pt>
                <c:pt idx="1269" formatCode="0.0%">
                  <c:v>0.4785762682826572</c:v>
                </c:pt>
                <c:pt idx="1270" formatCode="0.0%">
                  <c:v>0.4785762682826572</c:v>
                </c:pt>
                <c:pt idx="1271" formatCode="0.0%">
                  <c:v>0.4785762682826572</c:v>
                </c:pt>
                <c:pt idx="1272" formatCode="0.0%">
                  <c:v>0.47482494394815578</c:v>
                </c:pt>
                <c:pt idx="1273" formatCode="0.0%">
                  <c:v>0.47946946907050603</c:v>
                </c:pt>
                <c:pt idx="1274" formatCode="0.0%">
                  <c:v>0.48554311545341478</c:v>
                </c:pt>
                <c:pt idx="1275" formatCode="0.0%">
                  <c:v>0.48554311545341478</c:v>
                </c:pt>
                <c:pt idx="1276" formatCode="0.0%">
                  <c:v>0.48554311545341478</c:v>
                </c:pt>
                <c:pt idx="1277" formatCode="0.0%">
                  <c:v>0.47939731105814104</c:v>
                </c:pt>
                <c:pt idx="1278" formatCode="0.0%">
                  <c:v>0.47250262189974845</c:v>
                </c:pt>
                <c:pt idx="1279" formatCode="0.0%">
                  <c:v>0.4714308404415618</c:v>
                </c:pt>
                <c:pt idx="1280" formatCode="0.0%">
                  <c:v>0.47464630379058603</c:v>
                </c:pt>
                <c:pt idx="1281" formatCode="0.0%">
                  <c:v>0.4785762682826572</c:v>
                </c:pt>
                <c:pt idx="1282" formatCode="0.0%">
                  <c:v>0.4807199501734945</c:v>
                </c:pt>
                <c:pt idx="1283" formatCode="0.0%">
                  <c:v>0.4807199501734945</c:v>
                </c:pt>
                <c:pt idx="1284" formatCode="0.0%">
                  <c:v>0.4807199501734945</c:v>
                </c:pt>
                <c:pt idx="1285" formatCode="0.0%">
                  <c:v>0.48393541352251873</c:v>
                </c:pt>
                <c:pt idx="1286" formatCode="0.0%">
                  <c:v>0.47964810922807599</c:v>
                </c:pt>
                <c:pt idx="1287" formatCode="0.0%">
                  <c:v>0.48161309147411174</c:v>
                </c:pt>
                <c:pt idx="1288" formatCode="0.0%">
                  <c:v>0.48965177959028777</c:v>
                </c:pt>
                <c:pt idx="1289" formatCode="0.0%">
                  <c:v>0.49643998660347533</c:v>
                </c:pt>
                <c:pt idx="1290" formatCode="0.0%">
                  <c:v>0.49643998660347533</c:v>
                </c:pt>
                <c:pt idx="1291" formatCode="0.0%">
                  <c:v>0.49643998660347533</c:v>
                </c:pt>
                <c:pt idx="1292" formatCode="0.0%">
                  <c:v>0.49608270628833595</c:v>
                </c:pt>
                <c:pt idx="1293" formatCode="0.0%">
                  <c:v>0.49965544995249955</c:v>
                </c:pt>
                <c:pt idx="1294" formatCode="0.0%">
                  <c:v>0.4807199501734945</c:v>
                </c:pt>
                <c:pt idx="1295" formatCode="0.0%">
                  <c:v>0.47375310300273699</c:v>
                </c:pt>
                <c:pt idx="1296" formatCode="0.0%">
                  <c:v>0.46303487201024607</c:v>
                </c:pt>
                <c:pt idx="1297" formatCode="0.0%">
                  <c:v>0.46303487201024607</c:v>
                </c:pt>
                <c:pt idx="1298" formatCode="0.0%">
                  <c:v>0.46303487201024607</c:v>
                </c:pt>
                <c:pt idx="1299" formatCode="0.0%">
                  <c:v>0.47500358410572546</c:v>
                </c:pt>
                <c:pt idx="1300" formatCode="0.0%">
                  <c:v>0.48625767608369386</c:v>
                </c:pt>
                <c:pt idx="1301" formatCode="0.0%">
                  <c:v>0.46821537709253763</c:v>
                </c:pt>
                <c:pt idx="1302" formatCode="0.0%">
                  <c:v>0.45624672448429038</c:v>
                </c:pt>
                <c:pt idx="1303" formatCode="0.0%">
                  <c:v>0.46392807279809489</c:v>
                </c:pt>
                <c:pt idx="1304" formatCode="0.0%">
                  <c:v>0.46392807279809489</c:v>
                </c:pt>
                <c:pt idx="1305" formatCode="0.0%">
                  <c:v>0.46392807279809489</c:v>
                </c:pt>
                <c:pt idx="1306" formatCode="0.0%">
                  <c:v>0.46803673693496817</c:v>
                </c:pt>
                <c:pt idx="1307" formatCode="0.0%">
                  <c:v>0.47464630379058603</c:v>
                </c:pt>
                <c:pt idx="1308" formatCode="0.0%">
                  <c:v>0.48572889407881947</c:v>
                </c:pt>
                <c:pt idx="1309" formatCode="0.0%">
                  <c:v>0.48161309147411174</c:v>
                </c:pt>
                <c:pt idx="1310" formatCode="0.0%">
                  <c:v>0.42605707324008535</c:v>
                </c:pt>
                <c:pt idx="1311" formatCode="0.0%">
                  <c:v>0.42605707324008535</c:v>
                </c:pt>
                <c:pt idx="1312" formatCode="0.0%">
                  <c:v>0.42605707324008535</c:v>
                </c:pt>
                <c:pt idx="1313" formatCode="0.0%">
                  <c:v>0.39086567604562189</c:v>
                </c:pt>
                <c:pt idx="1314" formatCode="0.0%">
                  <c:v>0.42141254811773476</c:v>
                </c:pt>
                <c:pt idx="1315" formatCode="0.0%">
                  <c:v>0.43927620695132108</c:v>
                </c:pt>
                <c:pt idx="1316" formatCode="0.0%">
                  <c:v>0.43516754281444803</c:v>
                </c:pt>
                <c:pt idx="1317" formatCode="0.0%">
                  <c:v>0.43659666407500652</c:v>
                </c:pt>
                <c:pt idx="1318" formatCode="0.0%">
                  <c:v>0.43659666407500652</c:v>
                </c:pt>
                <c:pt idx="1319" formatCode="0.0%">
                  <c:v>0.43659666407500652</c:v>
                </c:pt>
                <c:pt idx="1320" formatCode="0.0%">
                  <c:v>0.44284895061548496</c:v>
                </c:pt>
                <c:pt idx="1321" formatCode="0.0%">
                  <c:v>0.45017301861415004</c:v>
                </c:pt>
                <c:pt idx="1322" formatCode="0.0%">
                  <c:v>0.44802939621054433</c:v>
                </c:pt>
                <c:pt idx="1323" formatCode="0.0%">
                  <c:v>0.46857265740767728</c:v>
                </c:pt>
                <c:pt idx="1324" formatCode="0.0%">
                  <c:v>0.47518216477606356</c:v>
                </c:pt>
                <c:pt idx="1325" formatCode="0.0%">
                  <c:v>0.47518216477606356</c:v>
                </c:pt>
                <c:pt idx="1326" formatCode="0.0%">
                  <c:v>0.47518216477606356</c:v>
                </c:pt>
                <c:pt idx="1327" formatCode="0.0%">
                  <c:v>0.47678992619419147</c:v>
                </c:pt>
                <c:pt idx="1328" formatCode="0.0%">
                  <c:v>0.47893354859779691</c:v>
                </c:pt>
                <c:pt idx="1329" formatCode="0.0%">
                  <c:v>0.4785762682826572</c:v>
                </c:pt>
                <c:pt idx="1330" formatCode="0.0%">
                  <c:v>0.48500719498070566</c:v>
                </c:pt>
                <c:pt idx="1331" formatCode="0.0%">
                  <c:v>0.47464630379058603</c:v>
                </c:pt>
                <c:pt idx="1332" formatCode="0.0%">
                  <c:v>0.47464630379058603</c:v>
                </c:pt>
                <c:pt idx="1333" formatCode="0.0%">
                  <c:v>0.47464630379058603</c:v>
                </c:pt>
                <c:pt idx="1334" formatCode="0.0%">
                  <c:v>0.47661128603662151</c:v>
                </c:pt>
                <c:pt idx="1335" formatCode="0.0%">
                  <c:v>0.4791121887553666</c:v>
                </c:pt>
                <c:pt idx="1336" formatCode="0.0%">
                  <c:v>0.48518583513827507</c:v>
                </c:pt>
                <c:pt idx="1337" formatCode="0.0%">
                  <c:v>0.49840496884951108</c:v>
                </c:pt>
                <c:pt idx="1338" formatCode="0.0%">
                  <c:v>0.49501086534291716</c:v>
                </c:pt>
                <c:pt idx="1339" formatCode="0.0%">
                  <c:v>0.50006948108692706</c:v>
                </c:pt>
                <c:pt idx="1340" formatCode="0.0%">
                  <c:v>0.50006948108692706</c:v>
                </c:pt>
                <c:pt idx="1341" formatCode="0.0%">
                  <c:v>0.5007272314106862</c:v>
                </c:pt>
                <c:pt idx="1342" formatCode="0.0%">
                  <c:v>0.48893721896000869</c:v>
                </c:pt>
                <c:pt idx="1343" formatCode="0.0%">
                  <c:v>0.47303854237245785</c:v>
                </c:pt>
                <c:pt idx="1344" formatCode="0.0%">
                  <c:v>0.4642853531132346</c:v>
                </c:pt>
                <c:pt idx="1345" formatCode="0.0%">
                  <c:v>0.44695761475235768</c:v>
                </c:pt>
                <c:pt idx="1346" formatCode="0.0%">
                  <c:v>0.44695761475235768</c:v>
                </c:pt>
                <c:pt idx="1347" formatCode="0.0%">
                  <c:v>0.44695761475235768</c:v>
                </c:pt>
                <c:pt idx="1348" formatCode="0.0%">
                  <c:v>0.45981940866122217</c:v>
                </c:pt>
                <c:pt idx="1349" formatCode="0.0%">
                  <c:v>0.46714353614711912</c:v>
                </c:pt>
                <c:pt idx="1350" formatCode="0.0%">
                  <c:v>0.45535352369644161</c:v>
                </c:pt>
                <c:pt idx="1351" formatCode="0.0%">
                  <c:v>0.48143445131654178</c:v>
                </c:pt>
                <c:pt idx="1352" formatCode="0.0%">
                  <c:v>0.4900090599054272</c:v>
                </c:pt>
                <c:pt idx="1353" formatCode="0.0%">
                  <c:v>0.4900090599054272</c:v>
                </c:pt>
                <c:pt idx="1354" formatCode="0.0%">
                  <c:v>0.4900090599054272</c:v>
                </c:pt>
                <c:pt idx="1355" formatCode="0.0%">
                  <c:v>0.48625767608369386</c:v>
                </c:pt>
                <c:pt idx="1356" formatCode="0.0%">
                  <c:v>0.48929449927514812</c:v>
                </c:pt>
                <c:pt idx="1357" formatCode="0.0%">
                  <c:v>0.47875490844022722</c:v>
                </c:pt>
                <c:pt idx="1358" formatCode="0.0%">
                  <c:v>0.49554678581562656</c:v>
                </c:pt>
                <c:pt idx="1359" formatCode="0.0%">
                  <c:v>0.48572175561098446</c:v>
                </c:pt>
                <c:pt idx="1360" formatCode="0.0%">
                  <c:v>0.48572175561098446</c:v>
                </c:pt>
                <c:pt idx="1361" formatCode="0.0%">
                  <c:v>0.48572175561098446</c:v>
                </c:pt>
                <c:pt idx="1362" formatCode="0.0%">
                  <c:v>0.49572542597319652</c:v>
                </c:pt>
                <c:pt idx="1363" formatCode="0.0%">
                  <c:v>0.49215268230903264</c:v>
                </c:pt>
                <c:pt idx="1364" formatCode="0.0%">
                  <c:v>0.49268860278174204</c:v>
                </c:pt>
                <c:pt idx="1365" formatCode="0.0%">
                  <c:v>0.4998340901100693</c:v>
                </c:pt>
                <c:pt idx="1366" formatCode="0.0%">
                  <c:v>0.50805135889658348</c:v>
                </c:pt>
                <c:pt idx="1367" formatCode="0.0%">
                  <c:v>0.50805135889658348</c:v>
                </c:pt>
                <c:pt idx="1368" formatCode="0.0%">
                  <c:v>0.50805135889658348</c:v>
                </c:pt>
                <c:pt idx="1369" formatCode="0.0%">
                  <c:v>0.50114846050018058</c:v>
                </c:pt>
                <c:pt idx="1370" formatCode="0.0%">
                  <c:v>0.50162043219853503</c:v>
                </c:pt>
                <c:pt idx="1371" formatCode="0.0%">
                  <c:v>0.50412133491728017</c:v>
                </c:pt>
                <c:pt idx="1372" formatCode="0.0%">
                  <c:v>0.50144179204096562</c:v>
                </c:pt>
                <c:pt idx="1373" formatCode="0.0%">
                  <c:v>0.50733679826630407</c:v>
                </c:pt>
                <c:pt idx="1374" formatCode="0.0%">
                  <c:v>0.50733679826630407</c:v>
                </c:pt>
                <c:pt idx="1375" formatCode="0.0%">
                  <c:v>0.50733679826630407</c:v>
                </c:pt>
                <c:pt idx="1376" formatCode="0.0%">
                  <c:v>0.50537181602026859</c:v>
                </c:pt>
                <c:pt idx="1377" formatCode="0.0%">
                  <c:v>0.50680087779359495</c:v>
                </c:pt>
                <c:pt idx="1378" formatCode="0.0%">
                  <c:v>0.51787638910122558</c:v>
                </c:pt>
                <c:pt idx="1379" formatCode="0.0%">
                  <c:v>0.51876953040184215</c:v>
                </c:pt>
                <c:pt idx="1380" formatCode="0.0%">
                  <c:v>0.52770141930586734</c:v>
                </c:pt>
                <c:pt idx="1381" formatCode="0.0%">
                  <c:v>0.52770141930586734</c:v>
                </c:pt>
                <c:pt idx="1382" formatCode="0.0%">
                  <c:v>0.52770141930586734</c:v>
                </c:pt>
                <c:pt idx="1383" formatCode="0.0%">
                  <c:v>0.53931279159897516</c:v>
                </c:pt>
                <c:pt idx="1384" formatCode="0.0%">
                  <c:v>0.53288186490092704</c:v>
                </c:pt>
                <c:pt idx="1385" formatCode="0.0%">
                  <c:v>0.52359275516899428</c:v>
                </c:pt>
                <c:pt idx="1386" formatCode="0.0%">
                  <c:v>0.53377506568877608</c:v>
                </c:pt>
                <c:pt idx="1387" formatCode="0.0%">
                  <c:v>0.53413228651668365</c:v>
                </c:pt>
                <c:pt idx="1388" formatCode="0.0%">
                  <c:v>0.53413228651668365</c:v>
                </c:pt>
                <c:pt idx="1389" formatCode="0.0%">
                  <c:v>0.53413228651668365</c:v>
                </c:pt>
                <c:pt idx="1390" formatCode="0.0%">
                  <c:v>0.53216730427064818</c:v>
                </c:pt>
                <c:pt idx="1391" formatCode="0.0%">
                  <c:v>0.53091688265489123</c:v>
                </c:pt>
                <c:pt idx="1392" formatCode="0.0%">
                  <c:v>0.52537909725746035</c:v>
                </c:pt>
                <c:pt idx="1393" formatCode="0.0%">
                  <c:v>0.51787638910122558</c:v>
                </c:pt>
                <c:pt idx="1394" formatCode="0.0%">
                  <c:v>0.51948409103212156</c:v>
                </c:pt>
                <c:pt idx="1395" formatCode="0.0%">
                  <c:v>0.51948409103212156</c:v>
                </c:pt>
                <c:pt idx="1396" formatCode="0.0%">
                  <c:v>0.51948409103212156</c:v>
                </c:pt>
                <c:pt idx="1397" formatCode="0.0%">
                  <c:v>0.51716182847094616</c:v>
                </c:pt>
                <c:pt idx="1398" formatCode="0.0%">
                  <c:v>0.52341411501142465</c:v>
                </c:pt>
                <c:pt idx="1399" formatCode="0.0%">
                  <c:v>0.5193054508745516</c:v>
                </c:pt>
                <c:pt idx="1400" formatCode="0.0%">
                  <c:v>0.48799274017821204</c:v>
                </c:pt>
                <c:pt idx="1401" formatCode="0.0%">
                  <c:v>0.5007272314106862</c:v>
                </c:pt>
                <c:pt idx="1402" formatCode="0.0%">
                  <c:v>0.5007272314106862</c:v>
                </c:pt>
                <c:pt idx="1403" formatCode="0.0%">
                  <c:v>0.5007272314106862</c:v>
                </c:pt>
                <c:pt idx="1404" formatCode="0.0%">
                  <c:v>0.48911585911757838</c:v>
                </c:pt>
                <c:pt idx="1405" formatCode="0.0%">
                  <c:v>0.49661862676104535</c:v>
                </c:pt>
                <c:pt idx="1406" formatCode="0.0%">
                  <c:v>0.53163138379793851</c:v>
                </c:pt>
                <c:pt idx="1407" formatCode="0.0%">
                  <c:v>0.53770503018084725</c:v>
                </c:pt>
                <c:pt idx="1408" formatCode="0.0%">
                  <c:v>0.55592596932957294</c:v>
                </c:pt>
                <c:pt idx="1409" formatCode="0.0%">
                  <c:v>0.55592596932957294</c:v>
                </c:pt>
                <c:pt idx="1410" formatCode="0.0%">
                  <c:v>0.55592596932957294</c:v>
                </c:pt>
                <c:pt idx="1411" formatCode="0.0%">
                  <c:v>0.57825557261517191</c:v>
                </c:pt>
                <c:pt idx="1412" formatCode="0.0%">
                  <c:v>0.57593331005399673</c:v>
                </c:pt>
                <c:pt idx="1413" formatCode="0.0%">
                  <c:v>0.57396832780796103</c:v>
                </c:pt>
                <c:pt idx="1414" formatCode="0.0%">
                  <c:v>0.57593331005399673</c:v>
                </c:pt>
                <c:pt idx="1415" formatCode="0.0%">
                  <c:v>0.55467554771381655</c:v>
                </c:pt>
                <c:pt idx="1416" formatCode="0.0%">
                  <c:v>0.55467554771381655</c:v>
                </c:pt>
                <c:pt idx="1417" formatCode="0.0%">
                  <c:v>0.55467554771381655</c:v>
                </c:pt>
                <c:pt idx="1418" formatCode="0.0%">
                  <c:v>0.55003096310423416</c:v>
                </c:pt>
                <c:pt idx="1419" formatCode="0.0%">
                  <c:v>0.54324281557827847</c:v>
                </c:pt>
                <c:pt idx="1420" formatCode="0.0%">
                  <c:v>0.55253192531021111</c:v>
                </c:pt>
                <c:pt idx="1421" formatCode="0.0%">
                  <c:v>0.56503649839116799</c:v>
                </c:pt>
                <c:pt idx="1422" formatCode="0.0%">
                  <c:v>0.5843292189980801</c:v>
                </c:pt>
                <c:pt idx="1423" formatCode="0.0%">
                  <c:v>0.5843292189980801</c:v>
                </c:pt>
                <c:pt idx="1424" formatCode="0.0%">
                  <c:v>0.5843292189980801</c:v>
                </c:pt>
                <c:pt idx="1425" formatCode="0.0%">
                  <c:v>0.58075647533391705</c:v>
                </c:pt>
                <c:pt idx="1426" formatCode="0.0%">
                  <c:v>0.5843292189980801</c:v>
                </c:pt>
                <c:pt idx="1427" formatCode="0.0%">
                  <c:v>0.57361104749282132</c:v>
                </c:pt>
                <c:pt idx="1428" formatCode="0.0%">
                  <c:v>0.58129239580662617</c:v>
                </c:pt>
                <c:pt idx="1429" formatCode="0.0%">
                  <c:v>0.58379335801260279</c:v>
                </c:pt>
                <c:pt idx="1430" formatCode="0.0%">
                  <c:v>0.58388693142847303</c:v>
                </c:pt>
                <c:pt idx="1431" formatCode="0.0%">
                  <c:v>0.58388693142847303</c:v>
                </c:pt>
                <c:pt idx="1432" formatCode="0.0%">
                  <c:v>0.5964765117638976</c:v>
                </c:pt>
                <c:pt idx="1433" formatCode="0.0%">
                  <c:v>0.5964765117638976</c:v>
                </c:pt>
                <c:pt idx="1434" formatCode="0.0%">
                  <c:v>0.60808794354423756</c:v>
                </c:pt>
                <c:pt idx="1435" formatCode="0.0%">
                  <c:v>0.59701243223660694</c:v>
                </c:pt>
                <c:pt idx="1436" formatCode="0.0%">
                  <c:v>0.60255015814680635</c:v>
                </c:pt>
                <c:pt idx="1437" formatCode="0.0%">
                  <c:v>0.60255015814680635</c:v>
                </c:pt>
                <c:pt idx="1438" formatCode="0.0%">
                  <c:v>0.60255015814680635</c:v>
                </c:pt>
                <c:pt idx="1439" formatCode="0.0%">
                  <c:v>0.58772332250467396</c:v>
                </c:pt>
                <c:pt idx="1440" formatCode="0.0%">
                  <c:v>0.59629787160632786</c:v>
                </c:pt>
                <c:pt idx="1441" formatCode="0.0%">
                  <c:v>0.59987061527049146</c:v>
                </c:pt>
                <c:pt idx="1442" formatCode="0.0%">
                  <c:v>0.59594065077842029</c:v>
                </c:pt>
                <c:pt idx="1443" formatCode="0.0%">
                  <c:v>0.57879149308788125</c:v>
                </c:pt>
                <c:pt idx="1444" formatCode="0.0%">
                  <c:v>0.57879149308788125</c:v>
                </c:pt>
                <c:pt idx="1445" formatCode="0.0%">
                  <c:v>0.57879149308788125</c:v>
                </c:pt>
                <c:pt idx="1446" formatCode="0.0%">
                  <c:v>0.58039925450600893</c:v>
                </c:pt>
                <c:pt idx="1447" formatCode="0.0%">
                  <c:v>0.57200328607469342</c:v>
                </c:pt>
                <c:pt idx="1448" formatCode="0.0%">
                  <c:v>0.57807693245760217</c:v>
                </c:pt>
                <c:pt idx="1449" formatCode="0.0%">
                  <c:v>0.55342506661082813</c:v>
                </c:pt>
                <c:pt idx="1450" formatCode="0.0%">
                  <c:v>0.54913782180361748</c:v>
                </c:pt>
                <c:pt idx="1451" formatCode="0.0%">
                  <c:v>0.54913782180361748</c:v>
                </c:pt>
                <c:pt idx="1452" formatCode="0.0%">
                  <c:v>0.54913782180361748</c:v>
                </c:pt>
                <c:pt idx="1453" formatCode="0.0%">
                  <c:v>0.54806598085819869</c:v>
                </c:pt>
                <c:pt idx="1454" formatCode="0.0%">
                  <c:v>0.54806598085819869</c:v>
                </c:pt>
                <c:pt idx="1455" formatCode="0.0%">
                  <c:v>0.54806598085819869</c:v>
                </c:pt>
                <c:pt idx="1456" formatCode="0.0%">
                  <c:v>0.54806598085819869</c:v>
                </c:pt>
                <c:pt idx="1457" formatCode="0.0%">
                  <c:v>0.5571764504325617</c:v>
                </c:pt>
                <c:pt idx="1458" formatCode="0.0%">
                  <c:v>0.5571764504325617</c:v>
                </c:pt>
                <c:pt idx="1459" formatCode="0.0%">
                  <c:v>0.5571764504325617</c:v>
                </c:pt>
                <c:pt idx="1460" formatCode="0.0%">
                  <c:v>0.54610099861216266</c:v>
                </c:pt>
                <c:pt idx="1461" formatCode="0.0%">
                  <c:v>0.5498780809181022</c:v>
                </c:pt>
                <c:pt idx="1462" formatCode="0.0%">
                  <c:v>0.5498780809181022</c:v>
                </c:pt>
                <c:pt idx="1463" formatCode="0.0%">
                  <c:v>0.56646556016449434</c:v>
                </c:pt>
                <c:pt idx="1464" formatCode="0.0%">
                  <c:v>0.56592963969178467</c:v>
                </c:pt>
                <c:pt idx="1465" formatCode="0.0%">
                  <c:v>0.56592963969178467</c:v>
                </c:pt>
                <c:pt idx="1466" formatCode="0.0%">
                  <c:v>0.56592963969178467</c:v>
                </c:pt>
                <c:pt idx="1467" formatCode="0.0%">
                  <c:v>0.57486146910857794</c:v>
                </c:pt>
                <c:pt idx="1468" formatCode="0.0%">
                  <c:v>0.57378968765039107</c:v>
                </c:pt>
                <c:pt idx="1469" formatCode="0.0%">
                  <c:v>0.57486146910857794</c:v>
                </c:pt>
                <c:pt idx="1470" formatCode="0.0%">
                  <c:v>0.57504010926614768</c:v>
                </c:pt>
                <c:pt idx="1471" formatCode="0.0%">
                  <c:v>0.57111014477407618</c:v>
                </c:pt>
                <c:pt idx="1472" formatCode="0.0%">
                  <c:v>0.57111014477407618</c:v>
                </c:pt>
                <c:pt idx="1473" formatCode="0.0%">
                  <c:v>0.57111014477407618</c:v>
                </c:pt>
                <c:pt idx="1474" formatCode="0.0%">
                  <c:v>0.5691451030408089</c:v>
                </c:pt>
                <c:pt idx="1475" formatCode="0.0%">
                  <c:v>0.56092783425429471</c:v>
                </c:pt>
                <c:pt idx="1476" formatCode="0.0%">
                  <c:v>0.58486513947078977</c:v>
                </c:pt>
                <c:pt idx="1477" formatCode="0.0%">
                  <c:v>0.59451152951786213</c:v>
                </c:pt>
                <c:pt idx="1478" formatCode="0.0%">
                  <c:v>0.60415791956493425</c:v>
                </c:pt>
                <c:pt idx="1479" formatCode="0.0%">
                  <c:v>0.60415791956493425</c:v>
                </c:pt>
                <c:pt idx="1480" formatCode="0.0%">
                  <c:v>0.60415791956493425</c:v>
                </c:pt>
                <c:pt idx="1481" formatCode="0.0%">
                  <c:v>0.59433288936029238</c:v>
                </c:pt>
                <c:pt idx="1482" formatCode="0.0%">
                  <c:v>0.60004925542806153</c:v>
                </c:pt>
                <c:pt idx="1483" formatCode="0.0%">
                  <c:v>0.61487615055742506</c:v>
                </c:pt>
                <c:pt idx="1484" formatCode="0.0%">
                  <c:v>0.61326838913929715</c:v>
                </c:pt>
                <c:pt idx="1485" formatCode="0.0%">
                  <c:v>0.6036219990922248</c:v>
                </c:pt>
                <c:pt idx="1486" formatCode="0.0%">
                  <c:v>0.6036219990922248</c:v>
                </c:pt>
                <c:pt idx="1487" formatCode="0.0%">
                  <c:v>0.6036219990922248</c:v>
                </c:pt>
                <c:pt idx="1488" formatCode="0.0%">
                  <c:v>0.58665154104648765</c:v>
                </c:pt>
                <c:pt idx="1489" formatCode="0.0%">
                  <c:v>0.60129973653104973</c:v>
                </c:pt>
                <c:pt idx="1490" formatCode="0.0%">
                  <c:v>0.60004925542806153</c:v>
                </c:pt>
                <c:pt idx="1491" formatCode="0.0%">
                  <c:v>0.59915611412744452</c:v>
                </c:pt>
                <c:pt idx="1492" formatCode="0.0%">
                  <c:v>0.60671973720920447</c:v>
                </c:pt>
                <c:pt idx="1493" formatCode="0.0%">
                  <c:v>0.60671973720920447</c:v>
                </c:pt>
                <c:pt idx="1494" formatCode="0.0%">
                  <c:v>0.60671973720920447</c:v>
                </c:pt>
                <c:pt idx="1495" formatCode="0.0%">
                  <c:v>0.6050511203527833</c:v>
                </c:pt>
                <c:pt idx="1496" formatCode="0.0%">
                  <c:v>0.59897747396987455</c:v>
                </c:pt>
                <c:pt idx="1497" formatCode="0.0%">
                  <c:v>0.5916533464839776</c:v>
                </c:pt>
                <c:pt idx="1498" formatCode="0.0%">
                  <c:v>0.61315649365598435</c:v>
                </c:pt>
                <c:pt idx="1499" formatCode="0.0%">
                  <c:v>0.60224469121070223</c:v>
                </c:pt>
                <c:pt idx="1500" formatCode="0.0%">
                  <c:v>0.60224469121070223</c:v>
                </c:pt>
                <c:pt idx="1501" formatCode="0.0%">
                  <c:v>0.60224469121070223</c:v>
                </c:pt>
                <c:pt idx="1502" formatCode="0.0%">
                  <c:v>0.62074581522194994</c:v>
                </c:pt>
                <c:pt idx="1503" formatCode="0.0%">
                  <c:v>0.62011334697177289</c:v>
                </c:pt>
                <c:pt idx="1504" formatCode="0.0%">
                  <c:v>0.60830774886632211</c:v>
                </c:pt>
                <c:pt idx="1505" formatCode="0.0%">
                  <c:v>0.61442137066910674</c:v>
                </c:pt>
                <c:pt idx="1506" formatCode="0.0%">
                  <c:v>0.60725363511602692</c:v>
                </c:pt>
                <c:pt idx="1507" formatCode="0.0%">
                  <c:v>0.60725363511602692</c:v>
                </c:pt>
                <c:pt idx="1508" formatCode="0.0%">
                  <c:v>0.60725363511602692</c:v>
                </c:pt>
                <c:pt idx="1509" formatCode="0.0%">
                  <c:v>0.61294567090592522</c:v>
                </c:pt>
                <c:pt idx="1510" formatCode="0.0%">
                  <c:v>0.6182160611957056</c:v>
                </c:pt>
                <c:pt idx="1511" formatCode="0.0%">
                  <c:v>0.62095663797200873</c:v>
                </c:pt>
                <c:pt idx="1512" formatCode="0.0%">
                  <c:v>0.61674030194529228</c:v>
                </c:pt>
                <c:pt idx="1513" formatCode="0.0%">
                  <c:v>0.61842682445853225</c:v>
                </c:pt>
                <c:pt idx="1514" formatCode="0.0%">
                  <c:v>0.61842682445853225</c:v>
                </c:pt>
                <c:pt idx="1515" formatCode="0.0%">
                  <c:v>0.61842682445853225</c:v>
                </c:pt>
                <c:pt idx="1516" formatCode="0.0%">
                  <c:v>0.6005076045502975</c:v>
                </c:pt>
                <c:pt idx="1517" formatCode="0.0%">
                  <c:v>0.58427484766807081</c:v>
                </c:pt>
                <c:pt idx="1518" formatCode="0.0%">
                  <c:v>0.6005076045502975</c:v>
                </c:pt>
                <c:pt idx="1519" formatCode="0.0%">
                  <c:v>0.60535634933995963</c:v>
                </c:pt>
                <c:pt idx="1520" formatCode="0.0%">
                  <c:v>0.60533969291501133</c:v>
                </c:pt>
                <c:pt idx="1521" formatCode="0.0%">
                  <c:v>0.60533969291501133</c:v>
                </c:pt>
                <c:pt idx="1522" formatCode="0.0%">
                  <c:v>0.60533969291501133</c:v>
                </c:pt>
                <c:pt idx="1523" formatCode="0.0%">
                  <c:v>0.59924266804994319</c:v>
                </c:pt>
                <c:pt idx="1524" formatCode="0.0%">
                  <c:v>0.55813377845646128</c:v>
                </c:pt>
                <c:pt idx="1525" formatCode="0.0%">
                  <c:v>0.54485242110059717</c:v>
                </c:pt>
                <c:pt idx="1526" formatCode="0.0%">
                  <c:v>0.54169019882417535</c:v>
                </c:pt>
                <c:pt idx="1527" formatCode="0.0%">
                  <c:v>0.51575995236262462</c:v>
                </c:pt>
                <c:pt idx="1528" formatCode="0.0%">
                  <c:v>0.51575995236262462</c:v>
                </c:pt>
                <c:pt idx="1529" formatCode="0.0%">
                  <c:v>0.51575995236262462</c:v>
                </c:pt>
                <c:pt idx="1530" formatCode="0.0%">
                  <c:v>0.49847308173010274</c:v>
                </c:pt>
                <c:pt idx="1531" formatCode="0.0%">
                  <c:v>0.47106713550537083</c:v>
                </c:pt>
                <c:pt idx="1532" formatCode="0.0%">
                  <c:v>0.47612670304509208</c:v>
                </c:pt>
                <c:pt idx="1533" formatCode="0.0%">
                  <c:v>0.47169960375554809</c:v>
                </c:pt>
                <c:pt idx="1534" formatCode="0.0%">
                  <c:v>0.4913054056642554</c:v>
                </c:pt>
                <c:pt idx="1535" formatCode="0.0%">
                  <c:v>0.4913054056642554</c:v>
                </c:pt>
                <c:pt idx="1536" formatCode="0.0%">
                  <c:v>0.4913054056642554</c:v>
                </c:pt>
                <c:pt idx="1537" formatCode="0.0%">
                  <c:v>0.49320275092755478</c:v>
                </c:pt>
                <c:pt idx="1538" formatCode="0.0%">
                  <c:v>0.48772153788771561</c:v>
                </c:pt>
                <c:pt idx="1539" formatCode="0.0%">
                  <c:v>0.50985709382266753</c:v>
                </c:pt>
                <c:pt idx="1540" formatCode="0.0%">
                  <c:v>0.51512748411244791</c:v>
                </c:pt>
                <c:pt idx="1541" formatCode="0.0%">
                  <c:v>0.50121371799363856</c:v>
                </c:pt>
                <c:pt idx="1542" formatCode="0.0%">
                  <c:v>0.50121371799363856</c:v>
                </c:pt>
                <c:pt idx="1543" formatCode="0.0%">
                  <c:v>0.50121371799363856</c:v>
                </c:pt>
                <c:pt idx="1544" formatCode="0.0%">
                  <c:v>0.52735478720524809</c:v>
                </c:pt>
                <c:pt idx="1545" formatCode="0.0%">
                  <c:v>0.5300953639815521</c:v>
                </c:pt>
                <c:pt idx="1546" formatCode="0.0%">
                  <c:v>0.52229521966552739</c:v>
                </c:pt>
                <c:pt idx="1547" formatCode="0.0%">
                  <c:v>0.51091120757296271</c:v>
                </c:pt>
                <c:pt idx="1548" formatCode="0.0%">
                  <c:v>0.48877559215077893</c:v>
                </c:pt>
                <c:pt idx="1549" formatCode="0.0%">
                  <c:v>0.48877559215077893</c:v>
                </c:pt>
                <c:pt idx="1550" formatCode="0.0%">
                  <c:v>0.48877559215077893</c:v>
                </c:pt>
                <c:pt idx="1551" formatCode="0.0%">
                  <c:v>0.4822688192319845</c:v>
                </c:pt>
                <c:pt idx="1552" formatCode="0.0%">
                  <c:v>0.48729989238759741</c:v>
                </c:pt>
                <c:pt idx="1553" formatCode="0.0%">
                  <c:v>0.48034303907180886</c:v>
                </c:pt>
                <c:pt idx="1554" formatCode="0.0%">
                  <c:v>0.41773094281908812</c:v>
                </c:pt>
                <c:pt idx="1555" formatCode="0.0%">
                  <c:v>0.36840026340946308</c:v>
                </c:pt>
                <c:pt idx="1556" formatCode="0.0%">
                  <c:v>0.36840026340946308</c:v>
                </c:pt>
                <c:pt idx="1557" formatCode="0.0%">
                  <c:v>0.36840026340946308</c:v>
                </c:pt>
                <c:pt idx="1558" formatCode="0.0%">
                  <c:v>0.33382658163165163</c:v>
                </c:pt>
                <c:pt idx="1559" formatCode="0.0%">
                  <c:v>0.36629209539610486</c:v>
                </c:pt>
                <c:pt idx="1560" formatCode="0.0%">
                  <c:v>0.29904213659101286</c:v>
                </c:pt>
                <c:pt idx="1561" formatCode="0.0%">
                  <c:v>0.36481639563292334</c:v>
                </c:pt>
                <c:pt idx="1562" formatCode="0.0%">
                  <c:v>0.33846450367125469</c:v>
                </c:pt>
                <c:pt idx="1563" formatCode="0.0%">
                  <c:v>0.33846450367125469</c:v>
                </c:pt>
                <c:pt idx="1564" formatCode="0.0%">
                  <c:v>0.33846450367125469</c:v>
                </c:pt>
                <c:pt idx="1565" formatCode="0.0%">
                  <c:v>0.38020586151491387</c:v>
                </c:pt>
                <c:pt idx="1566" formatCode="0.0%">
                  <c:v>0.38463302029169</c:v>
                </c:pt>
                <c:pt idx="1567" formatCode="0.0%">
                  <c:v>0.36102170510632448</c:v>
                </c:pt>
                <c:pt idx="1568" formatCode="0.0%">
                  <c:v>0.36102170510632448</c:v>
                </c:pt>
                <c:pt idx="1569" formatCode="0.0%">
                  <c:v>0.36102170510632448</c:v>
                </c:pt>
                <c:pt idx="1570" formatCode="0.0%">
                  <c:v>0.36102170510632448</c:v>
                </c:pt>
                <c:pt idx="1571" formatCode="0.0%">
                  <c:v>0.36102170510632448</c:v>
                </c:pt>
                <c:pt idx="1572" formatCode="0.0%">
                  <c:v>0.36102170510632448</c:v>
                </c:pt>
                <c:pt idx="1573" formatCode="0.0%">
                  <c:v>0.33045353660517096</c:v>
                </c:pt>
                <c:pt idx="1574" formatCode="0.0%">
                  <c:v>0.38526542905463484</c:v>
                </c:pt>
                <c:pt idx="1575" formatCode="0.0%">
                  <c:v>0.38294649777844936</c:v>
                </c:pt>
                <c:pt idx="1576" formatCode="0.0%">
                  <c:v>0.39158987360747832</c:v>
                </c:pt>
                <c:pt idx="1577" formatCode="0.0%">
                  <c:v>0.39158987360747832</c:v>
                </c:pt>
                <c:pt idx="1578" formatCode="0.0%">
                  <c:v>0.39158987360747832</c:v>
                </c:pt>
                <c:pt idx="1579" formatCode="0.0%">
                  <c:v>0.40255229968715694</c:v>
                </c:pt>
                <c:pt idx="1580" formatCode="0.0%">
                  <c:v>0.399179254660676</c:v>
                </c:pt>
                <c:pt idx="1581" formatCode="0.0%">
                  <c:v>0.4143846670469884</c:v>
                </c:pt>
                <c:pt idx="1582" formatCode="0.0%">
                  <c:v>0.43185559117518835</c:v>
                </c:pt>
                <c:pt idx="1583" formatCode="0.0%">
                  <c:v>0.44134225800445337</c:v>
                </c:pt>
                <c:pt idx="1584" formatCode="0.0%">
                  <c:v>0.44134225800445337</c:v>
                </c:pt>
                <c:pt idx="1585" formatCode="0.0%">
                  <c:v>0.44134225800445337</c:v>
                </c:pt>
                <c:pt idx="1586" formatCode="0.0%">
                  <c:v>0.44872075682035983</c:v>
                </c:pt>
                <c:pt idx="1587" formatCode="0.0%">
                  <c:v>0.43733674472779538</c:v>
                </c:pt>
                <c:pt idx="1588" formatCode="0.0%">
                  <c:v>0.43016906866194804</c:v>
                </c:pt>
                <c:pt idx="1589" formatCode="0.0%">
                  <c:v>0.44682341155706068</c:v>
                </c:pt>
                <c:pt idx="1590" formatCode="0.0%">
                  <c:v>0.45652090113638477</c:v>
                </c:pt>
                <c:pt idx="1591" formatCode="0.0%">
                  <c:v>0.45652090113638477</c:v>
                </c:pt>
                <c:pt idx="1592" formatCode="0.0%">
                  <c:v>0.45652090113638477</c:v>
                </c:pt>
                <c:pt idx="1593" formatCode="0.0%">
                  <c:v>0.48982970590107411</c:v>
                </c:pt>
                <c:pt idx="1594" formatCode="0.0%">
                  <c:v>0.49235945992731872</c:v>
                </c:pt>
                <c:pt idx="1595" formatCode="0.0%">
                  <c:v>0.48772153788771561</c:v>
                </c:pt>
                <c:pt idx="1596" formatCode="0.0%">
                  <c:v>0.48814318338783352</c:v>
                </c:pt>
                <c:pt idx="1597" formatCode="0.0%">
                  <c:v>0.50205694950664281</c:v>
                </c:pt>
                <c:pt idx="1598" formatCode="0.0%">
                  <c:v>0.50205694950664281</c:v>
                </c:pt>
                <c:pt idx="1599" formatCode="0.0%">
                  <c:v>0.50205694950664281</c:v>
                </c:pt>
                <c:pt idx="1600" formatCode="0.0%">
                  <c:v>0.4999488409805164</c:v>
                </c:pt>
                <c:pt idx="1601" formatCode="0.0%">
                  <c:v>0.50416511752000137</c:v>
                </c:pt>
                <c:pt idx="1602" formatCode="0.0%">
                  <c:v>0.49299192817749571</c:v>
                </c:pt>
                <c:pt idx="1603" formatCode="0.0%">
                  <c:v>0.48413767011117559</c:v>
                </c:pt>
                <c:pt idx="1604" formatCode="0.0%">
                  <c:v>0.47043472674242592</c:v>
                </c:pt>
                <c:pt idx="1605" formatCode="0.0%">
                  <c:v>0.47043472674242592</c:v>
                </c:pt>
                <c:pt idx="1606" formatCode="0.0%">
                  <c:v>0.47043472674242592</c:v>
                </c:pt>
                <c:pt idx="1607" formatCode="0.0%">
                  <c:v>0.48455931561129406</c:v>
                </c:pt>
                <c:pt idx="1608" formatCode="0.0%">
                  <c:v>0.49383515969049996</c:v>
                </c:pt>
                <c:pt idx="1609" formatCode="0.0%">
                  <c:v>0.49615415045391759</c:v>
                </c:pt>
                <c:pt idx="1610" formatCode="0.0%">
                  <c:v>0.49615415045391759</c:v>
                </c:pt>
                <c:pt idx="1611" formatCode="0.0%">
                  <c:v>0.49784067296715762</c:v>
                </c:pt>
                <c:pt idx="1612" formatCode="0.0%">
                  <c:v>0.49774388724076229</c:v>
                </c:pt>
                <c:pt idx="1613" formatCode="0.0%">
                  <c:v>0.49774388724076229</c:v>
                </c:pt>
                <c:pt idx="1614" formatCode="0.0%">
                  <c:v>0.48477013836135285</c:v>
                </c:pt>
                <c:pt idx="1615" formatCode="0.0%">
                  <c:v>0.49425680519061788</c:v>
                </c:pt>
                <c:pt idx="1616" formatCode="0.0%">
                  <c:v>0.50142454074369736</c:v>
                </c:pt>
                <c:pt idx="1617" formatCode="0.0%">
                  <c:v>0.50142454074369736</c:v>
                </c:pt>
                <c:pt idx="1618" formatCode="0.0%">
                  <c:v>0.51344096159920727</c:v>
                </c:pt>
                <c:pt idx="1619" formatCode="0.0%">
                  <c:v>0.51344096159920727</c:v>
                </c:pt>
                <c:pt idx="1620" formatCode="0.0%">
                  <c:v>0.51344096159920727</c:v>
                </c:pt>
                <c:pt idx="1621" formatCode="0.0%">
                  <c:v>0.51344096159920727</c:v>
                </c:pt>
                <c:pt idx="1622" formatCode="0.0%">
                  <c:v>0.51133285307308085</c:v>
                </c:pt>
                <c:pt idx="1623" formatCode="0.0%">
                  <c:v>0.51091120757296271</c:v>
                </c:pt>
                <c:pt idx="1624" formatCode="0.0%">
                  <c:v>0.49488927344079514</c:v>
                </c:pt>
                <c:pt idx="1625" formatCode="0.0%">
                  <c:v>0.4856133698743571</c:v>
                </c:pt>
                <c:pt idx="1626" formatCode="0.0%">
                  <c:v>0.4856133698743571</c:v>
                </c:pt>
                <c:pt idx="1627" formatCode="0.0%">
                  <c:v>0.4856133698743571</c:v>
                </c:pt>
                <c:pt idx="1628" formatCode="0.0%">
                  <c:v>0.49151622841431447</c:v>
                </c:pt>
                <c:pt idx="1629" formatCode="0.0%">
                  <c:v>0.4856133698743571</c:v>
                </c:pt>
                <c:pt idx="1630" formatCode="0.0%">
                  <c:v>0.48350526134823041</c:v>
                </c:pt>
                <c:pt idx="1631" formatCode="0.0%">
                  <c:v>0.47760240280827332</c:v>
                </c:pt>
                <c:pt idx="1632" formatCode="0.0%">
                  <c:v>0.48224032484787643</c:v>
                </c:pt>
                <c:pt idx="1633" formatCode="0.0%">
                  <c:v>0.48224032484787643</c:v>
                </c:pt>
                <c:pt idx="1634" formatCode="0.0%">
                  <c:v>0.48224032484787643</c:v>
                </c:pt>
                <c:pt idx="1635" formatCode="0.0%">
                  <c:v>0.47275365801861113</c:v>
                </c:pt>
                <c:pt idx="1636" formatCode="0.0%">
                  <c:v>0.48202956158504945</c:v>
                </c:pt>
                <c:pt idx="1637" formatCode="0.0%">
                  <c:v>0.48477013836135285</c:v>
                </c:pt>
                <c:pt idx="1638" formatCode="0.0%">
                  <c:v>0.48139709333487218</c:v>
                </c:pt>
                <c:pt idx="1639" formatCode="0.0%">
                  <c:v>0.49151622841431447</c:v>
                </c:pt>
                <c:pt idx="1640" formatCode="0.0%">
                  <c:v>0.49151622841431447</c:v>
                </c:pt>
                <c:pt idx="1641" formatCode="0.0%">
                  <c:v>0.49151622841431447</c:v>
                </c:pt>
                <c:pt idx="1642" formatCode="0.0%">
                  <c:v>0.49244422923285869</c:v>
                </c:pt>
                <c:pt idx="1643" formatCode="0.0%">
                  <c:v>0.48350526134823041</c:v>
                </c:pt>
                <c:pt idx="1644" formatCode="0.0%">
                  <c:v>0.48519178386147105</c:v>
                </c:pt>
                <c:pt idx="1645" formatCode="0.0%">
                  <c:v>0.50142454074369736</c:v>
                </c:pt>
                <c:pt idx="1646" formatCode="0.0%">
                  <c:v>0.49109458291419628</c:v>
                </c:pt>
                <c:pt idx="1647" formatCode="0.0%">
                  <c:v>0.49109458291419628</c:v>
                </c:pt>
                <c:pt idx="1648" formatCode="0.0%">
                  <c:v>0.49109458291419628</c:v>
                </c:pt>
                <c:pt idx="1649" formatCode="0.0%">
                  <c:v>0.49552168220374027</c:v>
                </c:pt>
                <c:pt idx="1650" formatCode="0.0%">
                  <c:v>0.49762985021709855</c:v>
                </c:pt>
                <c:pt idx="1651" formatCode="0.0%">
                  <c:v>0.49868390448016187</c:v>
                </c:pt>
                <c:pt idx="1652" formatCode="0.0%">
                  <c:v>0.50774898529654111</c:v>
                </c:pt>
                <c:pt idx="1653" formatCode="0.0%">
                  <c:v>0.4999488409805164</c:v>
                </c:pt>
                <c:pt idx="1654" formatCode="0.0%">
                  <c:v>0.4999488409805164</c:v>
                </c:pt>
                <c:pt idx="1655" formatCode="0.0%">
                  <c:v>0.4999488409805164</c:v>
                </c:pt>
                <c:pt idx="1656" formatCode="0.0%">
                  <c:v>0.5005812497434613</c:v>
                </c:pt>
                <c:pt idx="1657" formatCode="0.0%">
                  <c:v>0.50732733979642286</c:v>
                </c:pt>
                <c:pt idx="1658" formatCode="0.0%">
                  <c:v>0.50015960424334338</c:v>
                </c:pt>
                <c:pt idx="1659" formatCode="0.0%">
                  <c:v>0.51618159786274276</c:v>
                </c:pt>
                <c:pt idx="1660" formatCode="0.0%">
                  <c:v>0.5079598080465999</c:v>
                </c:pt>
                <c:pt idx="1661" formatCode="0.0%">
                  <c:v>0.5079598080465999</c:v>
                </c:pt>
                <c:pt idx="1662" formatCode="0.0%">
                  <c:v>0.5079598080465999</c:v>
                </c:pt>
                <c:pt idx="1663" formatCode="0.0%">
                  <c:v>0.50564081728318255</c:v>
                </c:pt>
                <c:pt idx="1664" formatCode="0.0%">
                  <c:v>0.49425680519061788</c:v>
                </c:pt>
                <c:pt idx="1665" formatCode="0.0%">
                  <c:v>0.50247859500676073</c:v>
                </c:pt>
                <c:pt idx="1666" formatCode="0.0%">
                  <c:v>0.51133285307308085</c:v>
                </c:pt>
                <c:pt idx="1667" formatCode="0.0%">
                  <c:v>0.51554912961256549</c:v>
                </c:pt>
                <c:pt idx="1668" formatCode="0.0%">
                  <c:v>0.51554912961256549</c:v>
                </c:pt>
                <c:pt idx="1669" formatCode="0.0%">
                  <c:v>0.51554912961256549</c:v>
                </c:pt>
                <c:pt idx="1670" formatCode="0.0%">
                  <c:v>0.52587908744206691</c:v>
                </c:pt>
                <c:pt idx="1671" formatCode="0.0%">
                  <c:v>0.53705227678457246</c:v>
                </c:pt>
                <c:pt idx="1672" formatCode="0.0%">
                  <c:v>0.53831715379769463</c:v>
                </c:pt>
                <c:pt idx="1673" formatCode="0.0%">
                  <c:v>0.52125883311035548</c:v>
                </c:pt>
                <c:pt idx="1674" formatCode="0.0%">
                  <c:v>0.50922468505972207</c:v>
                </c:pt>
                <c:pt idx="1675" formatCode="0.0%">
                  <c:v>0.50922468505972207</c:v>
                </c:pt>
                <c:pt idx="1676" formatCode="0.0%">
                  <c:v>0.50922468505972207</c:v>
                </c:pt>
                <c:pt idx="1677" formatCode="0.0%">
                  <c:v>0.50416511752000137</c:v>
                </c:pt>
                <c:pt idx="1678" formatCode="0.0%">
                  <c:v>0.50564081728318255</c:v>
                </c:pt>
                <c:pt idx="1679" formatCode="0.0%">
                  <c:v>0.49172705116437354</c:v>
                </c:pt>
                <c:pt idx="1680" formatCode="0.0%">
                  <c:v>0.49615415045391759</c:v>
                </c:pt>
                <c:pt idx="1681" formatCode="0.0%">
                  <c:v>0.49636497320397666</c:v>
                </c:pt>
                <c:pt idx="1682" formatCode="0.0%">
                  <c:v>0.49636497320397666</c:v>
                </c:pt>
                <c:pt idx="1683" formatCode="0.0%">
                  <c:v>0.49636497320397666</c:v>
                </c:pt>
                <c:pt idx="1684" formatCode="0.0%">
                  <c:v>0.50163536349375648</c:v>
                </c:pt>
                <c:pt idx="1685" formatCode="0.0%">
                  <c:v>0.4999488409805164</c:v>
                </c:pt>
                <c:pt idx="1686" formatCode="0.0%">
                  <c:v>0.503111063256938</c:v>
                </c:pt>
                <c:pt idx="1687" formatCode="0.0%">
                  <c:v>0.51491666136238845</c:v>
                </c:pt>
                <c:pt idx="1688" formatCode="0.0%">
                  <c:v>0.51027873932278534</c:v>
                </c:pt>
                <c:pt idx="1689" formatCode="0.0%">
                  <c:v>0.51027873932278534</c:v>
                </c:pt>
                <c:pt idx="1690" formatCode="0.0%">
                  <c:v>0.51027873932278534</c:v>
                </c:pt>
                <c:pt idx="1691" formatCode="0.0%">
                  <c:v>0.51491666136238845</c:v>
                </c:pt>
                <c:pt idx="1692" formatCode="0.0%">
                  <c:v>0.51259773008620302</c:v>
                </c:pt>
                <c:pt idx="1693" formatCode="0.0%">
                  <c:v>0.50542999453312321</c:v>
                </c:pt>
                <c:pt idx="1694" formatCode="0.0%">
                  <c:v>0.51744647487586515</c:v>
                </c:pt>
                <c:pt idx="1695" formatCode="0.0%">
                  <c:v>0.51913299738910557</c:v>
                </c:pt>
                <c:pt idx="1696" formatCode="0.0%">
                  <c:v>0.51913299738910557</c:v>
                </c:pt>
                <c:pt idx="1697" formatCode="0.0%">
                  <c:v>0.51913299738910557</c:v>
                </c:pt>
                <c:pt idx="1698" formatCode="0.0%">
                  <c:v>0.51597077511268363</c:v>
                </c:pt>
                <c:pt idx="1699" formatCode="0.0%">
                  <c:v>0.51259773008620302</c:v>
                </c:pt>
                <c:pt idx="1700" formatCode="0.0%">
                  <c:v>0.52060869715228675</c:v>
                </c:pt>
                <c:pt idx="1701" formatCode="0.0%">
                  <c:v>0.51323013884914814</c:v>
                </c:pt>
                <c:pt idx="1702" formatCode="0.0%">
                  <c:v>0.50247859500676073</c:v>
                </c:pt>
                <c:pt idx="1703" formatCode="0.0%">
                  <c:v>0.50247859500676073</c:v>
                </c:pt>
                <c:pt idx="1704" formatCode="0.0%">
                  <c:v>0.50353669440159732</c:v>
                </c:pt>
                <c:pt idx="1705" formatCode="0.0%">
                  <c:v>0.503532649269824</c:v>
                </c:pt>
                <c:pt idx="1706" formatCode="0.0%">
                  <c:v>0.49004052865113323</c:v>
                </c:pt>
                <c:pt idx="1707" formatCode="0.0%">
                  <c:v>0.50100289524357944</c:v>
                </c:pt>
                <c:pt idx="1708" formatCode="0.0%">
                  <c:v>0.50268941775681986</c:v>
                </c:pt>
                <c:pt idx="1709" formatCode="0.0%">
                  <c:v>0.48835400613789259</c:v>
                </c:pt>
                <c:pt idx="1710" formatCode="0.0%">
                  <c:v>0.48835400613789259</c:v>
                </c:pt>
                <c:pt idx="1711" formatCode="0.0%">
                  <c:v>0.48835400613789259</c:v>
                </c:pt>
                <c:pt idx="1712" formatCode="0.0%">
                  <c:v>0.49762985021709855</c:v>
                </c:pt>
                <c:pt idx="1713" formatCode="0.0%">
                  <c:v>0.49720820471698091</c:v>
                </c:pt>
                <c:pt idx="1714" formatCode="0.0%">
                  <c:v>0.50247859500676073</c:v>
                </c:pt>
                <c:pt idx="1715" formatCode="0.0%">
                  <c:v>0.50690569429630472</c:v>
                </c:pt>
                <c:pt idx="1716" formatCode="0.0%">
                  <c:v>0.50711651704636385</c:v>
                </c:pt>
                <c:pt idx="1717" formatCode="0.0%">
                  <c:v>0.50711651704636385</c:v>
                </c:pt>
                <c:pt idx="1718" formatCode="0.0%">
                  <c:v>0.50711651704636385</c:v>
                </c:pt>
                <c:pt idx="1719" formatCode="0.0%">
                  <c:v>0.50564081728318255</c:v>
                </c:pt>
                <c:pt idx="1720" formatCode="0.0%">
                  <c:v>0.48582419262441617</c:v>
                </c:pt>
                <c:pt idx="1721" formatCode="0.0%">
                  <c:v>0.48582419262441617</c:v>
                </c:pt>
                <c:pt idx="1722" formatCode="0.0%">
                  <c:v>0.49973801823045705</c:v>
                </c:pt>
                <c:pt idx="1723" formatCode="0.0%">
                  <c:v>0.49720820471698091</c:v>
                </c:pt>
                <c:pt idx="1724" formatCode="0.0%">
                  <c:v>0.49720820471698091</c:v>
                </c:pt>
                <c:pt idx="1725" formatCode="0.0%">
                  <c:v>0.49720820471698091</c:v>
                </c:pt>
                <c:pt idx="1726" formatCode="0.0%">
                  <c:v>0.49847308173010274</c:v>
                </c:pt>
                <c:pt idx="1727" formatCode="0.0%">
                  <c:v>0.4974190274670397</c:v>
                </c:pt>
                <c:pt idx="1728" formatCode="0.0%">
                  <c:v>0.49510009619085393</c:v>
                </c:pt>
                <c:pt idx="1729" formatCode="0.0%">
                  <c:v>0.48982970590107411</c:v>
                </c:pt>
                <c:pt idx="1730" formatCode="0.0%">
                  <c:v>0.49235945992731872</c:v>
                </c:pt>
                <c:pt idx="1731" formatCode="0.0%">
                  <c:v>0.49235945992731872</c:v>
                </c:pt>
                <c:pt idx="1732" formatCode="0.0%">
                  <c:v>0.49235945992731872</c:v>
                </c:pt>
                <c:pt idx="1733" formatCode="0.0%">
                  <c:v>0.49931637273033913</c:v>
                </c:pt>
                <c:pt idx="1734" formatCode="0.0%">
                  <c:v>0.5108846167802773</c:v>
                </c:pt>
                <c:pt idx="1735" formatCode="0.0%">
                  <c:v>0.51871135188898732</c:v>
                </c:pt>
                <c:pt idx="1736" formatCode="0.0%">
                  <c:v>0.53241435474496934</c:v>
                </c:pt>
                <c:pt idx="1737" formatCode="0.0%">
                  <c:v>0.54253343033717949</c:v>
                </c:pt>
                <c:pt idx="1738" formatCode="0.0%">
                  <c:v>0.54253343033717949</c:v>
                </c:pt>
                <c:pt idx="1739" formatCode="0.0%">
                  <c:v>0.54253343033717949</c:v>
                </c:pt>
                <c:pt idx="1740" formatCode="0.0%">
                  <c:v>0.54569565261360142</c:v>
                </c:pt>
                <c:pt idx="1741" formatCode="0.0%">
                  <c:v>0.54590647536366044</c:v>
                </c:pt>
                <c:pt idx="1742" formatCode="0.0%">
                  <c:v>0.55391744242974428</c:v>
                </c:pt>
                <c:pt idx="1743" formatCode="0.0%">
                  <c:v>0.55433908792986242</c:v>
                </c:pt>
                <c:pt idx="1744" formatCode="0.0%">
                  <c:v>0.55033357465320454</c:v>
                </c:pt>
                <c:pt idx="1745" formatCode="0.0%">
                  <c:v>0.55033357465320454</c:v>
                </c:pt>
                <c:pt idx="1746" formatCode="0.0%">
                  <c:v>0.55033357465320454</c:v>
                </c:pt>
                <c:pt idx="1747" formatCode="0.0%">
                  <c:v>0.53726309953463158</c:v>
                </c:pt>
                <c:pt idx="1748" formatCode="0.0%">
                  <c:v>0.52672231895507116</c:v>
                </c:pt>
                <c:pt idx="1749" formatCode="0.0%">
                  <c:v>0.54084690782393918</c:v>
                </c:pt>
                <c:pt idx="1750" formatCode="0.0%">
                  <c:v>0.53262511800779666</c:v>
                </c:pt>
                <c:pt idx="1751" formatCode="0.0%">
                  <c:v>0.51850052913892852</c:v>
                </c:pt>
                <c:pt idx="1752" formatCode="0.0%">
                  <c:v>0.51850052913892852</c:v>
                </c:pt>
                <c:pt idx="1753" formatCode="0.0%">
                  <c:v>0.51850052913892852</c:v>
                </c:pt>
                <c:pt idx="1754" formatCode="0.0%">
                  <c:v>0.54358754408747501</c:v>
                </c:pt>
                <c:pt idx="1755" formatCode="0.0%">
                  <c:v>0.55349585641685817</c:v>
                </c:pt>
                <c:pt idx="1756" formatCode="0.0%">
                  <c:v>0.55518231944286667</c:v>
                </c:pt>
                <c:pt idx="1757" formatCode="0.0%">
                  <c:v>0.55054439740326355</c:v>
                </c:pt>
                <c:pt idx="1758" formatCode="0.0%">
                  <c:v>0.56361493200906831</c:v>
                </c:pt>
                <c:pt idx="1759" formatCode="0.0%">
                  <c:v>0.56361493200906831</c:v>
                </c:pt>
                <c:pt idx="1760" formatCode="0.0%">
                  <c:v>0.56361493200906831</c:v>
                </c:pt>
                <c:pt idx="1761" formatCode="0.0%">
                  <c:v>0.57394488983856951</c:v>
                </c:pt>
                <c:pt idx="1762" formatCode="0.0%">
                  <c:v>0.56867449954878968</c:v>
                </c:pt>
                <c:pt idx="1763" formatCode="0.0%">
                  <c:v>0.56551227727236775</c:v>
                </c:pt>
                <c:pt idx="1764" formatCode="0.0%">
                  <c:v>0.57289083557550635</c:v>
                </c:pt>
                <c:pt idx="1765" formatCode="0.0%">
                  <c:v>0.56391617535170357</c:v>
                </c:pt>
                <c:pt idx="1766" formatCode="0.0%">
                  <c:v>0.56391617535170357</c:v>
                </c:pt>
                <c:pt idx="1767" formatCode="0.0%">
                  <c:v>0.56391617535170357</c:v>
                </c:pt>
                <c:pt idx="1768" formatCode="0.0%">
                  <c:v>0.56530145452230873</c:v>
                </c:pt>
                <c:pt idx="1769" formatCode="0.0%">
                  <c:v>0.56403657750918657</c:v>
                </c:pt>
                <c:pt idx="1770" formatCode="0.0%">
                  <c:v>0.5676204452857263</c:v>
                </c:pt>
                <c:pt idx="1771" formatCode="0.0%">
                  <c:v>0.55391744242974428</c:v>
                </c:pt>
                <c:pt idx="1772" formatCode="0.0%">
                  <c:v>0.53536575427133215</c:v>
                </c:pt>
                <c:pt idx="1773" formatCode="0.0%">
                  <c:v>0.53536575427133215</c:v>
                </c:pt>
                <c:pt idx="1774" formatCode="0.0%">
                  <c:v>0.53536575427133215</c:v>
                </c:pt>
                <c:pt idx="1775" formatCode="0.0%">
                  <c:v>0.56424740025924536</c:v>
                </c:pt>
                <c:pt idx="1776" formatCode="0.0%">
                  <c:v>0.57352324433845159</c:v>
                </c:pt>
                <c:pt idx="1777" formatCode="0.0%">
                  <c:v>0.58385320216795267</c:v>
                </c:pt>
                <c:pt idx="1778" formatCode="0.0%">
                  <c:v>0.57436653533868764</c:v>
                </c:pt>
                <c:pt idx="1779" formatCode="0.0%">
                  <c:v>0.56087435523276463</c:v>
                </c:pt>
                <c:pt idx="1780" formatCode="0.0%">
                  <c:v>0.56087435523276463</c:v>
                </c:pt>
                <c:pt idx="1781" formatCode="0.0%">
                  <c:v>0.56087435523276463</c:v>
                </c:pt>
                <c:pt idx="1782" formatCode="0.0%">
                  <c:v>0.55960947821964224</c:v>
                </c:pt>
                <c:pt idx="1783" formatCode="0.0%">
                  <c:v>0.52967371848143385</c:v>
                </c:pt>
                <c:pt idx="1784" formatCode="0.0%">
                  <c:v>0.54590647536366044</c:v>
                </c:pt>
                <c:pt idx="1785" formatCode="0.0%">
                  <c:v>0.56509063177224961</c:v>
                </c:pt>
                <c:pt idx="1786" formatCode="0.0%">
                  <c:v>0.54211184432429349</c:v>
                </c:pt>
                <c:pt idx="1787" formatCode="0.0%">
                  <c:v>0.54211184432429349</c:v>
                </c:pt>
                <c:pt idx="1788" formatCode="0.0%">
                  <c:v>0.54211184432429349</c:v>
                </c:pt>
                <c:pt idx="1789" formatCode="0.0%">
                  <c:v>0.5602418869825877</c:v>
                </c:pt>
                <c:pt idx="1790" formatCode="0.0%">
                  <c:v>0.56993937656191174</c:v>
                </c:pt>
                <c:pt idx="1791" formatCode="0.0%">
                  <c:v>0.58216667965471258</c:v>
                </c:pt>
                <c:pt idx="1792" formatCode="0.0%">
                  <c:v>0.58279908841765771</c:v>
                </c:pt>
                <c:pt idx="1793" formatCode="0.0%">
                  <c:v>0.58406402491801179</c:v>
                </c:pt>
                <c:pt idx="1794" formatCode="0.0%">
                  <c:v>0.58406402491801179</c:v>
                </c:pt>
                <c:pt idx="1795" formatCode="0.0%">
                  <c:v>0.58413927626643869</c:v>
                </c:pt>
                <c:pt idx="1796" formatCode="0.0%">
                  <c:v>0.57668546661487308</c:v>
                </c:pt>
                <c:pt idx="1797" formatCode="0.0%">
                  <c:v>0.57752875761510947</c:v>
                </c:pt>
                <c:pt idx="1798" formatCode="0.0%">
                  <c:v>0.5676204452857263</c:v>
                </c:pt>
                <c:pt idx="1799" formatCode="0.0%">
                  <c:v>0.56951779054902574</c:v>
                </c:pt>
                <c:pt idx="1800" formatCode="0.0%">
                  <c:v>0.57647464386481406</c:v>
                </c:pt>
                <c:pt idx="1801" formatCode="0.0%">
                  <c:v>0.57647464386481406</c:v>
                </c:pt>
                <c:pt idx="1802" formatCode="0.0%">
                  <c:v>0.57647464386481406</c:v>
                </c:pt>
                <c:pt idx="1803" formatCode="0.0%">
                  <c:v>0.56972861329908453</c:v>
                </c:pt>
                <c:pt idx="1804" formatCode="0.0%">
                  <c:v>0.56551227727236775</c:v>
                </c:pt>
                <c:pt idx="1805" formatCode="0.0%">
                  <c:v>0.55539314219292546</c:v>
                </c:pt>
                <c:pt idx="1806" formatCode="0.0%">
                  <c:v>0.55792295570640216</c:v>
                </c:pt>
                <c:pt idx="1807" formatCode="0.0%">
                  <c:v>0.55244174266656276</c:v>
                </c:pt>
                <c:pt idx="1808" formatCode="0.0%">
                  <c:v>0.55244174266656276</c:v>
                </c:pt>
                <c:pt idx="1809" formatCode="0.0%">
                  <c:v>0.55244174266656276</c:v>
                </c:pt>
                <c:pt idx="1810" formatCode="0.0%">
                  <c:v>0.55623643319316163</c:v>
                </c:pt>
                <c:pt idx="1811" formatCode="0.0%">
                  <c:v>0.5497011658902593</c:v>
                </c:pt>
                <c:pt idx="1812" formatCode="0.0%">
                  <c:v>0.54674976636389661</c:v>
                </c:pt>
                <c:pt idx="1813" formatCode="0.0%">
                  <c:v>0.56045270973264649</c:v>
                </c:pt>
                <c:pt idx="1814" formatCode="0.0%">
                  <c:v>0.56551227727236775</c:v>
                </c:pt>
                <c:pt idx="1815" formatCode="0.0%">
                  <c:v>0.56551227727236775</c:v>
                </c:pt>
                <c:pt idx="1816" formatCode="0.0%">
                  <c:v>0.56551227727236775</c:v>
                </c:pt>
                <c:pt idx="1817" formatCode="0.0%">
                  <c:v>0.57120431306226604</c:v>
                </c:pt>
                <c:pt idx="1818" formatCode="0.0%">
                  <c:v>0.57921528012834955</c:v>
                </c:pt>
                <c:pt idx="1819" formatCode="0.0%">
                  <c:v>0.57921528012834955</c:v>
                </c:pt>
                <c:pt idx="1820" formatCode="0.0%">
                  <c:v>0.57921528012834955</c:v>
                </c:pt>
                <c:pt idx="1821" formatCode="0.0%">
                  <c:v>0.57921528012834955</c:v>
                </c:pt>
                <c:pt idx="1822" formatCode="0.0%">
                  <c:v>0.57921528012834955</c:v>
                </c:pt>
                <c:pt idx="1823" formatCode="0.0%">
                  <c:v>0.57921528012834955</c:v>
                </c:pt>
                <c:pt idx="1824" formatCode="0.0%">
                  <c:v>0.58364237941789388</c:v>
                </c:pt>
                <c:pt idx="1825" formatCode="0.0%">
                  <c:v>0.58427484766807081</c:v>
                </c:pt>
                <c:pt idx="1826" formatCode="0.0%">
                  <c:v>0.57622967544361103</c:v>
                </c:pt>
              </c:numCache>
            </c:numRef>
          </c:val>
          <c:smooth val="0"/>
          <c:extLst>
            <c:ext xmlns:c16="http://schemas.microsoft.com/office/drawing/2014/chart" uri="{C3380CC4-5D6E-409C-BE32-E72D297353CC}">
              <c16:uniqueId val="{00000002-C592-43EE-8D08-8400729D0F8F}"/>
            </c:ext>
          </c:extLst>
        </c:ser>
        <c:ser>
          <c:idx val="3"/>
          <c:order val="2"/>
          <c:tx>
            <c:strRef>
              <c:f>Sheet1!$E$1</c:f>
              <c:strCache>
                <c:ptCount val="1"/>
                <c:pt idx="0">
                  <c:v>Peer #3</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E$2:$E$2069</c:f>
              <c:numCache>
                <c:formatCode>0.00%</c:formatCode>
                <c:ptCount val="2068"/>
                <c:pt idx="0">
                  <c:v>0</c:v>
                </c:pt>
                <c:pt idx="1">
                  <c:v>0</c:v>
                </c:pt>
                <c:pt idx="2">
                  <c:v>0</c:v>
                </c:pt>
                <c:pt idx="3">
                  <c:v>0</c:v>
                </c:pt>
                <c:pt idx="4">
                  <c:v>-1.0790077804605573E-2</c:v>
                </c:pt>
                <c:pt idx="5">
                  <c:v>-1.1369400418610382E-2</c:v>
                </c:pt>
                <c:pt idx="6">
                  <c:v>1.3759137802109933E-3</c:v>
                </c:pt>
                <c:pt idx="7">
                  <c:v>7.024390525776596E-3</c:v>
                </c:pt>
                <c:pt idx="8">
                  <c:v>1.7742057518020715E-2</c:v>
                </c:pt>
                <c:pt idx="9">
                  <c:v>1.7742057518020715E-2</c:v>
                </c:pt>
                <c:pt idx="10">
                  <c:v>1.7742057518020715E-2</c:v>
                </c:pt>
                <c:pt idx="11">
                  <c:v>2.1580119494092144E-2</c:v>
                </c:pt>
                <c:pt idx="12">
                  <c:v>2.4259536242153105E-2</c:v>
                </c:pt>
                <c:pt idx="13">
                  <c:v>1.9697293912237086E-2</c:v>
                </c:pt>
                <c:pt idx="14">
                  <c:v>2.3462945075947202E-2</c:v>
                </c:pt>
                <c:pt idx="15">
                  <c:v>1.5714374196325737E-2</c:v>
                </c:pt>
                <c:pt idx="16">
                  <c:v>1.5714374196325737E-2</c:v>
                </c:pt>
                <c:pt idx="17">
                  <c:v>1.5714374196325737E-2</c:v>
                </c:pt>
                <c:pt idx="18">
                  <c:v>1.8104147694943437E-2</c:v>
                </c:pt>
                <c:pt idx="19">
                  <c:v>2.121802931716971E-2</c:v>
                </c:pt>
                <c:pt idx="20">
                  <c:v>3.5701347473124513E-2</c:v>
                </c:pt>
                <c:pt idx="21">
                  <c:v>3.4904756306918472E-2</c:v>
                </c:pt>
                <c:pt idx="22">
                  <c:v>2.7952776593502621E-2</c:v>
                </c:pt>
                <c:pt idx="23">
                  <c:v>2.7952776593502621E-2</c:v>
                </c:pt>
                <c:pt idx="24">
                  <c:v>2.7952776593502621E-2</c:v>
                </c:pt>
                <c:pt idx="25">
                  <c:v>2.7445864791858555E-2</c:v>
                </c:pt>
                <c:pt idx="26">
                  <c:v>2.9690780550636332E-2</c:v>
                </c:pt>
                <c:pt idx="27">
                  <c:v>2.1869798858653838E-2</c:v>
                </c:pt>
                <c:pt idx="28">
                  <c:v>2.1797388046293234E-2</c:v>
                </c:pt>
                <c:pt idx="29">
                  <c:v>8.0382141290648683E-3</c:v>
                </c:pt>
                <c:pt idx="30">
                  <c:v>8.0382141290648683E-3</c:v>
                </c:pt>
                <c:pt idx="31">
                  <c:v>-1.6655931447728278E-3</c:v>
                </c:pt>
                <c:pt idx="32">
                  <c:v>1.7886879142742628E-2</c:v>
                </c:pt>
                <c:pt idx="33">
                  <c:v>3.8471882664869526E-2</c:v>
                </c:pt>
                <c:pt idx="34">
                  <c:v>3.8324316291150635E-2</c:v>
                </c:pt>
                <c:pt idx="35">
                  <c:v>4.6071334220681735E-2</c:v>
                </c:pt>
                <c:pt idx="36">
                  <c:v>4.6145117407541104E-2</c:v>
                </c:pt>
                <c:pt idx="37">
                  <c:v>4.6145117407541104E-2</c:v>
                </c:pt>
                <c:pt idx="38">
                  <c:v>4.6145117407541104E-2</c:v>
                </c:pt>
                <c:pt idx="39">
                  <c:v>4.7178045908454751E-2</c:v>
                </c:pt>
                <c:pt idx="40">
                  <c:v>4.9096372651682006E-2</c:v>
                </c:pt>
                <c:pt idx="41">
                  <c:v>4.6956732462995206E-2</c:v>
                </c:pt>
                <c:pt idx="42">
                  <c:v>5.1531145587806859E-2</c:v>
                </c:pt>
                <c:pt idx="43">
                  <c:v>5.1900061522104156E-2</c:v>
                </c:pt>
                <c:pt idx="44">
                  <c:v>5.1900061522104156E-2</c:v>
                </c:pt>
                <c:pt idx="45">
                  <c:v>5.1900061522104156E-2</c:v>
                </c:pt>
                <c:pt idx="46">
                  <c:v>5.9942212199072885E-2</c:v>
                </c:pt>
                <c:pt idx="47">
                  <c:v>5.9499549193034795E-2</c:v>
                </c:pt>
                <c:pt idx="48">
                  <c:v>5.9130633258737644E-2</c:v>
                </c:pt>
                <c:pt idx="49">
                  <c:v>5.0498217086893081E-2</c:v>
                </c:pt>
                <c:pt idx="50">
                  <c:v>5.300677320987731E-2</c:v>
                </c:pt>
                <c:pt idx="51">
                  <c:v>5.300677320987731E-2</c:v>
                </c:pt>
                <c:pt idx="52">
                  <c:v>5.300677320987731E-2</c:v>
                </c:pt>
                <c:pt idx="53">
                  <c:v>4.297251260282195E-2</c:v>
                </c:pt>
                <c:pt idx="54">
                  <c:v>4.1349318607032615E-2</c:v>
                </c:pt>
                <c:pt idx="55">
                  <c:v>4.6809166089276176E-2</c:v>
                </c:pt>
                <c:pt idx="56">
                  <c:v>4.1718234541329766E-2</c:v>
                </c:pt>
                <c:pt idx="57">
                  <c:v>3.2790721737166136E-2</c:v>
                </c:pt>
                <c:pt idx="58">
                  <c:v>3.2790721737166136E-2</c:v>
                </c:pt>
                <c:pt idx="59">
                  <c:v>2.8437622057814024E-2</c:v>
                </c:pt>
                <c:pt idx="60">
                  <c:v>5.219519426954207E-2</c:v>
                </c:pt>
                <c:pt idx="61">
                  <c:v>5.219519426954207E-2</c:v>
                </c:pt>
                <c:pt idx="62">
                  <c:v>4.857989034366611E-2</c:v>
                </c:pt>
                <c:pt idx="63">
                  <c:v>4.4079260405713395E-2</c:v>
                </c:pt>
                <c:pt idx="64">
                  <c:v>4.4595706598611284E-2</c:v>
                </c:pt>
                <c:pt idx="65">
                  <c:v>4.4595706598611284E-2</c:v>
                </c:pt>
                <c:pt idx="66">
                  <c:v>4.4595706598611284E-2</c:v>
                </c:pt>
                <c:pt idx="67">
                  <c:v>7.0271605553565875E-2</c:v>
                </c:pt>
                <c:pt idx="68">
                  <c:v>7.52887539146532E-2</c:v>
                </c:pt>
                <c:pt idx="69">
                  <c:v>7.7059478169042989E-2</c:v>
                </c:pt>
                <c:pt idx="70">
                  <c:v>8.2814422283605749E-2</c:v>
                </c:pt>
                <c:pt idx="71">
                  <c:v>7.7059478169042989E-2</c:v>
                </c:pt>
                <c:pt idx="72">
                  <c:v>7.7059478169042989E-2</c:v>
                </c:pt>
                <c:pt idx="73">
                  <c:v>7.7059478169042989E-2</c:v>
                </c:pt>
                <c:pt idx="74">
                  <c:v>7.8904021725410722E-2</c:v>
                </c:pt>
                <c:pt idx="75">
                  <c:v>9.152062164230941E-2</c:v>
                </c:pt>
                <c:pt idx="76">
                  <c:v>8.63559430226222E-2</c:v>
                </c:pt>
                <c:pt idx="77">
                  <c:v>9.1815754389747331E-2</c:v>
                </c:pt>
                <c:pt idx="78">
                  <c:v>8.554432796716839E-2</c:v>
                </c:pt>
                <c:pt idx="79">
                  <c:v>8.554432796716839E-2</c:v>
                </c:pt>
                <c:pt idx="80">
                  <c:v>8.554432796716839E-2</c:v>
                </c:pt>
                <c:pt idx="81">
                  <c:v>8.3478470965340681E-2</c:v>
                </c:pt>
                <c:pt idx="82">
                  <c:v>8.7241305149817372E-2</c:v>
                </c:pt>
                <c:pt idx="83">
                  <c:v>8.8495583211309278E-2</c:v>
                </c:pt>
                <c:pt idx="84">
                  <c:v>8.4363833092535576E-2</c:v>
                </c:pt>
                <c:pt idx="85">
                  <c:v>9.6759083448856267E-2</c:v>
                </c:pt>
                <c:pt idx="86">
                  <c:v>9.6759083448856267E-2</c:v>
                </c:pt>
                <c:pt idx="87">
                  <c:v>9.6759083448856267E-2</c:v>
                </c:pt>
                <c:pt idx="88">
                  <c:v>0.10362077536631119</c:v>
                </c:pt>
                <c:pt idx="89">
                  <c:v>0.10893302035971743</c:v>
                </c:pt>
                <c:pt idx="90">
                  <c:v>0.10590798192871702</c:v>
                </c:pt>
                <c:pt idx="91">
                  <c:v>0.10590798192871702</c:v>
                </c:pt>
                <c:pt idx="92">
                  <c:v>0.10590798192871702</c:v>
                </c:pt>
                <c:pt idx="93">
                  <c:v>0.10590798192871702</c:v>
                </c:pt>
                <c:pt idx="94">
                  <c:v>0.10590798192871702</c:v>
                </c:pt>
                <c:pt idx="95">
                  <c:v>0.10590798192871702</c:v>
                </c:pt>
                <c:pt idx="96">
                  <c:v>0.12619785270340628</c:v>
                </c:pt>
                <c:pt idx="97">
                  <c:v>0.12110692115545987</c:v>
                </c:pt>
                <c:pt idx="98">
                  <c:v>0.12546002083481156</c:v>
                </c:pt>
                <c:pt idx="99">
                  <c:v>0.1278947937709364</c:v>
                </c:pt>
                <c:pt idx="100">
                  <c:v>0.1278947937709364</c:v>
                </c:pt>
                <c:pt idx="101">
                  <c:v>0.1278947937709364</c:v>
                </c:pt>
                <c:pt idx="102">
                  <c:v>0.12804236014465545</c:v>
                </c:pt>
                <c:pt idx="103">
                  <c:v>0.12863262563953101</c:v>
                </c:pt>
                <c:pt idx="104">
                  <c:v>0.12929663820614765</c:v>
                </c:pt>
                <c:pt idx="105">
                  <c:v>0.13645342675592148</c:v>
                </c:pt>
                <c:pt idx="106">
                  <c:v>0.13962603156064063</c:v>
                </c:pt>
                <c:pt idx="107">
                  <c:v>0.13962603156064063</c:v>
                </c:pt>
                <c:pt idx="108">
                  <c:v>0.13962603156064063</c:v>
                </c:pt>
                <c:pt idx="109">
                  <c:v>0.13652720994278097</c:v>
                </c:pt>
                <c:pt idx="110">
                  <c:v>0.12546002083481156</c:v>
                </c:pt>
                <c:pt idx="111">
                  <c:v>0.1291490718324286</c:v>
                </c:pt>
                <c:pt idx="112">
                  <c:v>0.13497779913385102</c:v>
                </c:pt>
                <c:pt idx="113">
                  <c:v>0.13246924301086666</c:v>
                </c:pt>
                <c:pt idx="114">
                  <c:v>0.13246924301086666</c:v>
                </c:pt>
                <c:pt idx="115">
                  <c:v>0.13246924301086666</c:v>
                </c:pt>
                <c:pt idx="116">
                  <c:v>0.13667477631649988</c:v>
                </c:pt>
                <c:pt idx="117">
                  <c:v>0.13335464125318011</c:v>
                </c:pt>
                <c:pt idx="118">
                  <c:v>0.1358631973761642</c:v>
                </c:pt>
                <c:pt idx="119">
                  <c:v>0.1373388249982348</c:v>
                </c:pt>
                <c:pt idx="120">
                  <c:v>0.13800283756485143</c:v>
                </c:pt>
                <c:pt idx="121">
                  <c:v>0.13800283756485143</c:v>
                </c:pt>
                <c:pt idx="122">
                  <c:v>0.13800283756485143</c:v>
                </c:pt>
                <c:pt idx="123">
                  <c:v>0.13903576606576507</c:v>
                </c:pt>
                <c:pt idx="124">
                  <c:v>0.13099361538879634</c:v>
                </c:pt>
                <c:pt idx="125">
                  <c:v>0.14088030962213266</c:v>
                </c:pt>
                <c:pt idx="126">
                  <c:v>0.13364973788549947</c:v>
                </c:pt>
                <c:pt idx="127">
                  <c:v>0.14479071018032813</c:v>
                </c:pt>
                <c:pt idx="128">
                  <c:v>0.14479071018032813</c:v>
                </c:pt>
                <c:pt idx="129">
                  <c:v>0.14479071018032813</c:v>
                </c:pt>
                <c:pt idx="130">
                  <c:v>0.1416181414907271</c:v>
                </c:pt>
                <c:pt idx="131">
                  <c:v>0.11734408697098346</c:v>
                </c:pt>
                <c:pt idx="132">
                  <c:v>0.11911484734049167</c:v>
                </c:pt>
                <c:pt idx="133">
                  <c:v>0.11911484734049167</c:v>
                </c:pt>
                <c:pt idx="134">
                  <c:v>0.11911484734049167</c:v>
                </c:pt>
                <c:pt idx="135">
                  <c:v>0.11911484734049167</c:v>
                </c:pt>
                <c:pt idx="136">
                  <c:v>0.11911484734049167</c:v>
                </c:pt>
                <c:pt idx="137">
                  <c:v>0.12693564845688202</c:v>
                </c:pt>
                <c:pt idx="138">
                  <c:v>0.12516488808737392</c:v>
                </c:pt>
                <c:pt idx="139">
                  <c:v>0.10760495911136574</c:v>
                </c:pt>
                <c:pt idx="140">
                  <c:v>0.12398439321274139</c:v>
                </c:pt>
                <c:pt idx="141">
                  <c:v>0.13357595469864009</c:v>
                </c:pt>
                <c:pt idx="142">
                  <c:v>0.13357595469864009</c:v>
                </c:pt>
                <c:pt idx="143">
                  <c:v>0.13357595469864009</c:v>
                </c:pt>
                <c:pt idx="144">
                  <c:v>0.13357595469864009</c:v>
                </c:pt>
                <c:pt idx="145">
                  <c:v>0.13696990906393749</c:v>
                </c:pt>
                <c:pt idx="146">
                  <c:v>0.13822418712542969</c:v>
                </c:pt>
                <c:pt idx="147">
                  <c:v>0.14139679193014884</c:v>
                </c:pt>
                <c:pt idx="148">
                  <c:v>0.14611877142867954</c:v>
                </c:pt>
                <c:pt idx="149">
                  <c:v>0.14611877142867954</c:v>
                </c:pt>
                <c:pt idx="150">
                  <c:v>0.14611877142867954</c:v>
                </c:pt>
                <c:pt idx="151">
                  <c:v>0.13984738112121903</c:v>
                </c:pt>
                <c:pt idx="152">
                  <c:v>0.14139679193014884</c:v>
                </c:pt>
                <c:pt idx="153">
                  <c:v>0.14611877142867954</c:v>
                </c:pt>
                <c:pt idx="154">
                  <c:v>0.14759439905075028</c:v>
                </c:pt>
                <c:pt idx="155">
                  <c:v>0.15452987415506428</c:v>
                </c:pt>
                <c:pt idx="156">
                  <c:v>0.15452987415506428</c:v>
                </c:pt>
                <c:pt idx="157">
                  <c:v>0.15452987415506428</c:v>
                </c:pt>
                <c:pt idx="158">
                  <c:v>0.15327555997845366</c:v>
                </c:pt>
                <c:pt idx="159">
                  <c:v>0.15320177679159414</c:v>
                </c:pt>
                <c:pt idx="160">
                  <c:v>0.15504632034796173</c:v>
                </c:pt>
                <c:pt idx="161">
                  <c:v>0.15334934316531304</c:v>
                </c:pt>
                <c:pt idx="162">
                  <c:v>0.16124396358368159</c:v>
                </c:pt>
                <c:pt idx="163">
                  <c:v>0.16124396358368159</c:v>
                </c:pt>
                <c:pt idx="164">
                  <c:v>0.16124396358368159</c:v>
                </c:pt>
                <c:pt idx="165">
                  <c:v>0.16094883083624367</c:v>
                </c:pt>
                <c:pt idx="166">
                  <c:v>0.16286715757947065</c:v>
                </c:pt>
                <c:pt idx="167">
                  <c:v>0.16485923139443898</c:v>
                </c:pt>
                <c:pt idx="168">
                  <c:v>0.17127822419073666</c:v>
                </c:pt>
                <c:pt idx="169">
                  <c:v>0.1636787365198063</c:v>
                </c:pt>
                <c:pt idx="170">
                  <c:v>0.1636787365198063</c:v>
                </c:pt>
                <c:pt idx="171">
                  <c:v>0.1636787365198063</c:v>
                </c:pt>
                <c:pt idx="172">
                  <c:v>0.16714647407196323</c:v>
                </c:pt>
                <c:pt idx="173">
                  <c:v>0.16943368063436906</c:v>
                </c:pt>
                <c:pt idx="174">
                  <c:v>0.16485923139443898</c:v>
                </c:pt>
                <c:pt idx="175">
                  <c:v>0.17172088719677503</c:v>
                </c:pt>
                <c:pt idx="176">
                  <c:v>0.17481970881463482</c:v>
                </c:pt>
                <c:pt idx="177">
                  <c:v>0.17481970881463482</c:v>
                </c:pt>
                <c:pt idx="178">
                  <c:v>0.17481970881463482</c:v>
                </c:pt>
                <c:pt idx="179">
                  <c:v>0.17415569624801847</c:v>
                </c:pt>
                <c:pt idx="180">
                  <c:v>0.17976307398886249</c:v>
                </c:pt>
                <c:pt idx="181">
                  <c:v>0.18109113523721404</c:v>
                </c:pt>
                <c:pt idx="182">
                  <c:v>0.18109113523721404</c:v>
                </c:pt>
                <c:pt idx="183">
                  <c:v>0.18529666854284699</c:v>
                </c:pt>
                <c:pt idx="184">
                  <c:v>0.18529666854284699</c:v>
                </c:pt>
                <c:pt idx="185">
                  <c:v>0.18529666854284699</c:v>
                </c:pt>
                <c:pt idx="186">
                  <c:v>0.18433752322879271</c:v>
                </c:pt>
                <c:pt idx="187">
                  <c:v>0.18109113523721404</c:v>
                </c:pt>
                <c:pt idx="188">
                  <c:v>0.19333881921981599</c:v>
                </c:pt>
                <c:pt idx="189">
                  <c:v>0.17430326262173737</c:v>
                </c:pt>
                <c:pt idx="190">
                  <c:v>0.18426374004193322</c:v>
                </c:pt>
                <c:pt idx="191">
                  <c:v>0.18426374004193322</c:v>
                </c:pt>
                <c:pt idx="192">
                  <c:v>0.18426374004193322</c:v>
                </c:pt>
                <c:pt idx="193">
                  <c:v>0.1907564799099721</c:v>
                </c:pt>
                <c:pt idx="194">
                  <c:v>0.19761813571230832</c:v>
                </c:pt>
                <c:pt idx="195">
                  <c:v>0.19695412314569169</c:v>
                </c:pt>
                <c:pt idx="196">
                  <c:v>0.19223210753204256</c:v>
                </c:pt>
                <c:pt idx="197">
                  <c:v>0.19112539584426941</c:v>
                </c:pt>
                <c:pt idx="198">
                  <c:v>0.19112539584426941</c:v>
                </c:pt>
                <c:pt idx="199">
                  <c:v>0.19112539584426941</c:v>
                </c:pt>
                <c:pt idx="200">
                  <c:v>0.16736778751742307</c:v>
                </c:pt>
                <c:pt idx="201">
                  <c:v>0.18418995685507383</c:v>
                </c:pt>
                <c:pt idx="202">
                  <c:v>0.19060891353625323</c:v>
                </c:pt>
                <c:pt idx="203">
                  <c:v>0.19592115852965947</c:v>
                </c:pt>
                <c:pt idx="204">
                  <c:v>0.20772617950622332</c:v>
                </c:pt>
                <c:pt idx="205">
                  <c:v>0.20772617950622332</c:v>
                </c:pt>
                <c:pt idx="206">
                  <c:v>0.20772617950622332</c:v>
                </c:pt>
                <c:pt idx="207">
                  <c:v>0.19510957958932409</c:v>
                </c:pt>
                <c:pt idx="208">
                  <c:v>0.18810035741326914</c:v>
                </c:pt>
                <c:pt idx="209">
                  <c:v>0.19569980896908107</c:v>
                </c:pt>
                <c:pt idx="210">
                  <c:v>0.19931511289495701</c:v>
                </c:pt>
                <c:pt idx="211">
                  <c:v>0.19525714596304297</c:v>
                </c:pt>
                <c:pt idx="212">
                  <c:v>0.19651142402453517</c:v>
                </c:pt>
                <c:pt idx="213">
                  <c:v>0.19651142402453517</c:v>
                </c:pt>
                <c:pt idx="214">
                  <c:v>0.20152853627050349</c:v>
                </c:pt>
                <c:pt idx="215">
                  <c:v>0.19451931409444853</c:v>
                </c:pt>
                <c:pt idx="216">
                  <c:v>0.20034804139587095</c:v>
                </c:pt>
                <c:pt idx="217">
                  <c:v>0.20234015132595742</c:v>
                </c:pt>
                <c:pt idx="218">
                  <c:v>0.20779996269308271</c:v>
                </c:pt>
                <c:pt idx="219">
                  <c:v>0.20779996269308271</c:v>
                </c:pt>
                <c:pt idx="220">
                  <c:v>0.20779996269308271</c:v>
                </c:pt>
                <c:pt idx="221">
                  <c:v>0.20861154163341794</c:v>
                </c:pt>
                <c:pt idx="222">
                  <c:v>0.21318599087334847</c:v>
                </c:pt>
                <c:pt idx="223">
                  <c:v>0.21126766413012121</c:v>
                </c:pt>
                <c:pt idx="224">
                  <c:v>0.20979207262316918</c:v>
                </c:pt>
                <c:pt idx="225">
                  <c:v>0.20477492426208216</c:v>
                </c:pt>
                <c:pt idx="226">
                  <c:v>0.20477492426208216</c:v>
                </c:pt>
                <c:pt idx="227">
                  <c:v>0.20477492426208216</c:v>
                </c:pt>
                <c:pt idx="228">
                  <c:v>0.19997912546157365</c:v>
                </c:pt>
                <c:pt idx="229">
                  <c:v>0.20381577894802788</c:v>
                </c:pt>
                <c:pt idx="230">
                  <c:v>0.20529140657009834</c:v>
                </c:pt>
                <c:pt idx="231">
                  <c:v>0.19134674540484767</c:v>
                </c:pt>
                <c:pt idx="232">
                  <c:v>0.19533092914990235</c:v>
                </c:pt>
                <c:pt idx="233">
                  <c:v>0.19533092914990235</c:v>
                </c:pt>
                <c:pt idx="234">
                  <c:v>0.19533092914990235</c:v>
                </c:pt>
                <c:pt idx="235">
                  <c:v>0.19879863058694114</c:v>
                </c:pt>
                <c:pt idx="236">
                  <c:v>0.20647190144473085</c:v>
                </c:pt>
                <c:pt idx="237">
                  <c:v>0.20757861313250431</c:v>
                </c:pt>
                <c:pt idx="238">
                  <c:v>0.20256150088653585</c:v>
                </c:pt>
                <c:pt idx="239">
                  <c:v>0.2045535747015039</c:v>
                </c:pt>
                <c:pt idx="240">
                  <c:v>0.2045535747015039</c:v>
                </c:pt>
                <c:pt idx="241">
                  <c:v>0.2045535747015039</c:v>
                </c:pt>
                <c:pt idx="242">
                  <c:v>0.20824266181423923</c:v>
                </c:pt>
                <c:pt idx="243">
                  <c:v>0.21148901369069947</c:v>
                </c:pt>
                <c:pt idx="244">
                  <c:v>0.21281707493905117</c:v>
                </c:pt>
                <c:pt idx="245">
                  <c:v>0.21399760592880226</c:v>
                </c:pt>
                <c:pt idx="246">
                  <c:v>0.20993960288176949</c:v>
                </c:pt>
                <c:pt idx="247">
                  <c:v>0.20993960288176949</c:v>
                </c:pt>
                <c:pt idx="248">
                  <c:v>0.20993960288176949</c:v>
                </c:pt>
                <c:pt idx="249">
                  <c:v>0.21790800648699743</c:v>
                </c:pt>
                <c:pt idx="250">
                  <c:v>0.21510431761657542</c:v>
                </c:pt>
                <c:pt idx="251">
                  <c:v>0.21112013387152076</c:v>
                </c:pt>
                <c:pt idx="252">
                  <c:v>0.20993960288176949</c:v>
                </c:pt>
                <c:pt idx="253">
                  <c:v>0.19776570208602706</c:v>
                </c:pt>
                <c:pt idx="254">
                  <c:v>0.19776570208602706</c:v>
                </c:pt>
                <c:pt idx="255">
                  <c:v>0.19776570208602706</c:v>
                </c:pt>
                <c:pt idx="256">
                  <c:v>0.20027425820901157</c:v>
                </c:pt>
                <c:pt idx="257">
                  <c:v>0.1928961200986592</c:v>
                </c:pt>
                <c:pt idx="258">
                  <c:v>0.18544423491656573</c:v>
                </c:pt>
                <c:pt idx="259">
                  <c:v>0.18987111778277721</c:v>
                </c:pt>
                <c:pt idx="260">
                  <c:v>0.18706742891235506</c:v>
                </c:pt>
                <c:pt idx="261">
                  <c:v>0.18706742891235506</c:v>
                </c:pt>
                <c:pt idx="262">
                  <c:v>0.18706742891235506</c:v>
                </c:pt>
                <c:pt idx="263">
                  <c:v>0.16515436414187662</c:v>
                </c:pt>
                <c:pt idx="264">
                  <c:v>0.16891719832635319</c:v>
                </c:pt>
                <c:pt idx="265">
                  <c:v>0.17651668599728354</c:v>
                </c:pt>
                <c:pt idx="266">
                  <c:v>0.19053513034939384</c:v>
                </c:pt>
                <c:pt idx="267">
                  <c:v>0.18802657422640962</c:v>
                </c:pt>
                <c:pt idx="268">
                  <c:v>0.18802657422640962</c:v>
                </c:pt>
                <c:pt idx="269">
                  <c:v>0.18802657422640962</c:v>
                </c:pt>
                <c:pt idx="270">
                  <c:v>0.19171562522402666</c:v>
                </c:pt>
                <c:pt idx="271">
                  <c:v>0.17570510705694814</c:v>
                </c:pt>
                <c:pt idx="272">
                  <c:v>0.18190271417754927</c:v>
                </c:pt>
                <c:pt idx="273">
                  <c:v>0.17017151250296364</c:v>
                </c:pt>
                <c:pt idx="274">
                  <c:v>0.16581841282361154</c:v>
                </c:pt>
                <c:pt idx="275">
                  <c:v>0.16581841282361154</c:v>
                </c:pt>
                <c:pt idx="276">
                  <c:v>0.16581841282361154</c:v>
                </c:pt>
                <c:pt idx="277">
                  <c:v>0.15903050409301642</c:v>
                </c:pt>
                <c:pt idx="278">
                  <c:v>0.17644290281042416</c:v>
                </c:pt>
                <c:pt idx="279">
                  <c:v>0.16958124700808797</c:v>
                </c:pt>
                <c:pt idx="280">
                  <c:v>0.19562606189734028</c:v>
                </c:pt>
                <c:pt idx="281">
                  <c:v>0.19038756397567497</c:v>
                </c:pt>
                <c:pt idx="282">
                  <c:v>0.19038756397567497</c:v>
                </c:pt>
                <c:pt idx="283">
                  <c:v>0.19038756397567497</c:v>
                </c:pt>
                <c:pt idx="284">
                  <c:v>0.19296990328551858</c:v>
                </c:pt>
                <c:pt idx="285">
                  <c:v>0.18079600248977612</c:v>
                </c:pt>
                <c:pt idx="286">
                  <c:v>0.17909902530712743</c:v>
                </c:pt>
                <c:pt idx="287">
                  <c:v>0.19739678615172976</c:v>
                </c:pt>
                <c:pt idx="288">
                  <c:v>0.20713591401134748</c:v>
                </c:pt>
                <c:pt idx="289">
                  <c:v>0.20713591401134748</c:v>
                </c:pt>
                <c:pt idx="290">
                  <c:v>0.20713591401134748</c:v>
                </c:pt>
                <c:pt idx="291">
                  <c:v>0.20654568463159051</c:v>
                </c:pt>
                <c:pt idx="292">
                  <c:v>0.21377625636822373</c:v>
                </c:pt>
                <c:pt idx="293">
                  <c:v>0.22314646829354415</c:v>
                </c:pt>
                <c:pt idx="294">
                  <c:v>0.22174462385833338</c:v>
                </c:pt>
                <c:pt idx="295">
                  <c:v>0.22661420584570124</c:v>
                </c:pt>
                <c:pt idx="296">
                  <c:v>0.22661420584570124</c:v>
                </c:pt>
                <c:pt idx="297">
                  <c:v>0.22661420584570124</c:v>
                </c:pt>
                <c:pt idx="298">
                  <c:v>0.22484344547619314</c:v>
                </c:pt>
                <c:pt idx="299">
                  <c:v>0.23133618534423192</c:v>
                </c:pt>
                <c:pt idx="300">
                  <c:v>0.22499101184991191</c:v>
                </c:pt>
                <c:pt idx="301">
                  <c:v>0.22078547854427882</c:v>
                </c:pt>
                <c:pt idx="302">
                  <c:v>0.23133618534423192</c:v>
                </c:pt>
                <c:pt idx="303">
                  <c:v>0.23133618534423192</c:v>
                </c:pt>
                <c:pt idx="304">
                  <c:v>0.23332829527431856</c:v>
                </c:pt>
                <c:pt idx="305">
                  <c:v>0.23362342802175648</c:v>
                </c:pt>
                <c:pt idx="306">
                  <c:v>0.23768139495367066</c:v>
                </c:pt>
                <c:pt idx="307">
                  <c:v>0.23760761176681114</c:v>
                </c:pt>
                <c:pt idx="308">
                  <c:v>0.24815831856676426</c:v>
                </c:pt>
                <c:pt idx="309">
                  <c:v>0.25147848974520232</c:v>
                </c:pt>
                <c:pt idx="310">
                  <c:v>0.25147848974520232</c:v>
                </c:pt>
                <c:pt idx="311">
                  <c:v>0.25147848974520232</c:v>
                </c:pt>
                <c:pt idx="312">
                  <c:v>0.25066691080486664</c:v>
                </c:pt>
                <c:pt idx="313">
                  <c:v>0.25155227293206184</c:v>
                </c:pt>
                <c:pt idx="314">
                  <c:v>0.25708586748604634</c:v>
                </c:pt>
                <c:pt idx="315">
                  <c:v>0.25568402305083526</c:v>
                </c:pt>
                <c:pt idx="316">
                  <c:v>0.26055360503820341</c:v>
                </c:pt>
                <c:pt idx="317">
                  <c:v>0.26055360503820341</c:v>
                </c:pt>
                <c:pt idx="318">
                  <c:v>0.26055360503820341</c:v>
                </c:pt>
                <c:pt idx="319">
                  <c:v>0.26793170703343733</c:v>
                </c:pt>
                <c:pt idx="320">
                  <c:v>0.27604767701238386</c:v>
                </c:pt>
                <c:pt idx="321">
                  <c:v>0.2736128679611407</c:v>
                </c:pt>
                <c:pt idx="322">
                  <c:v>0.2573810002334842</c:v>
                </c:pt>
                <c:pt idx="323">
                  <c:v>0.26247189566631207</c:v>
                </c:pt>
                <c:pt idx="324">
                  <c:v>0.26247189566631207</c:v>
                </c:pt>
                <c:pt idx="325">
                  <c:v>0.26247189566631207</c:v>
                </c:pt>
                <c:pt idx="326">
                  <c:v>0.26298837797432811</c:v>
                </c:pt>
                <c:pt idx="327">
                  <c:v>0.24410035163485005</c:v>
                </c:pt>
                <c:pt idx="328">
                  <c:v>0.25605293898513254</c:v>
                </c:pt>
                <c:pt idx="329">
                  <c:v>0.25679073473860869</c:v>
                </c:pt>
                <c:pt idx="330">
                  <c:v>0.21746530736584077</c:v>
                </c:pt>
                <c:pt idx="331">
                  <c:v>0.21746530736584077</c:v>
                </c:pt>
                <c:pt idx="332">
                  <c:v>0.21746530736584077</c:v>
                </c:pt>
                <c:pt idx="333">
                  <c:v>0.22351538422784173</c:v>
                </c:pt>
                <c:pt idx="334">
                  <c:v>0.20197123539166029</c:v>
                </c:pt>
                <c:pt idx="335">
                  <c:v>0.21598967974377031</c:v>
                </c:pt>
                <c:pt idx="336">
                  <c:v>0.20300416389257392</c:v>
                </c:pt>
                <c:pt idx="337">
                  <c:v>0.19496201321560519</c:v>
                </c:pt>
                <c:pt idx="338">
                  <c:v>0.19496201321560519</c:v>
                </c:pt>
                <c:pt idx="339">
                  <c:v>0.19496201321560519</c:v>
                </c:pt>
                <c:pt idx="340">
                  <c:v>0.21414513618740272</c:v>
                </c:pt>
                <c:pt idx="341">
                  <c:v>0.24498574987716354</c:v>
                </c:pt>
                <c:pt idx="342">
                  <c:v>0.23251668021886474</c:v>
                </c:pt>
                <c:pt idx="343">
                  <c:v>0.23591063458416245</c:v>
                </c:pt>
                <c:pt idx="344">
                  <c:v>0.23480392289638899</c:v>
                </c:pt>
                <c:pt idx="345">
                  <c:v>0.23480392289638899</c:v>
                </c:pt>
                <c:pt idx="346">
                  <c:v>0.23480392289638899</c:v>
                </c:pt>
                <c:pt idx="347">
                  <c:v>0.23524662201754581</c:v>
                </c:pt>
                <c:pt idx="348">
                  <c:v>0.22484344547619314</c:v>
                </c:pt>
                <c:pt idx="349">
                  <c:v>0.22469587910247427</c:v>
                </c:pt>
                <c:pt idx="350">
                  <c:v>0.24528084650948273</c:v>
                </c:pt>
                <c:pt idx="351">
                  <c:v>0.24048508382409267</c:v>
                </c:pt>
                <c:pt idx="352">
                  <c:v>0.24048508382409267</c:v>
                </c:pt>
                <c:pt idx="353">
                  <c:v>0.24048508382409267</c:v>
                </c:pt>
                <c:pt idx="354">
                  <c:v>0.20595541913671497</c:v>
                </c:pt>
                <c:pt idx="355">
                  <c:v>0.22646663947198234</c:v>
                </c:pt>
                <c:pt idx="356">
                  <c:v>0.2359844177710218</c:v>
                </c:pt>
                <c:pt idx="357">
                  <c:v>0.25184740567949943</c:v>
                </c:pt>
                <c:pt idx="358">
                  <c:v>0.25184740567949943</c:v>
                </c:pt>
                <c:pt idx="359">
                  <c:v>0.25184740567949943</c:v>
                </c:pt>
                <c:pt idx="360">
                  <c:v>0.25184740567949943</c:v>
                </c:pt>
                <c:pt idx="361">
                  <c:v>0.26011090591704672</c:v>
                </c:pt>
                <c:pt idx="362">
                  <c:v>0.26807927340715593</c:v>
                </c:pt>
                <c:pt idx="363">
                  <c:v>0.26070117141192228</c:v>
                </c:pt>
                <c:pt idx="364">
                  <c:v>0.26475913834383635</c:v>
                </c:pt>
                <c:pt idx="365">
                  <c:v>0.25509379367107826</c:v>
                </c:pt>
                <c:pt idx="366">
                  <c:v>0.25509379367107826</c:v>
                </c:pt>
                <c:pt idx="367">
                  <c:v>0.25509379367107826</c:v>
                </c:pt>
                <c:pt idx="368">
                  <c:v>0.26232432929259319</c:v>
                </c:pt>
                <c:pt idx="369">
                  <c:v>0.26940733465550765</c:v>
                </c:pt>
                <c:pt idx="370">
                  <c:v>0.26697256171938277</c:v>
                </c:pt>
                <c:pt idx="371">
                  <c:v>0.25302790055413227</c:v>
                </c:pt>
                <c:pt idx="372">
                  <c:v>0.24055886701095205</c:v>
                </c:pt>
                <c:pt idx="373">
                  <c:v>0.24055886701095205</c:v>
                </c:pt>
                <c:pt idx="374">
                  <c:v>0.24055886701095205</c:v>
                </c:pt>
                <c:pt idx="375">
                  <c:v>0.22609772353768506</c:v>
                </c:pt>
                <c:pt idx="376">
                  <c:v>0.24572354563063953</c:v>
                </c:pt>
                <c:pt idx="377">
                  <c:v>0.25347059967528879</c:v>
                </c:pt>
                <c:pt idx="378">
                  <c:v>0.24712539006585033</c:v>
                </c:pt>
                <c:pt idx="379">
                  <c:v>0.24041130063723301</c:v>
                </c:pt>
                <c:pt idx="380">
                  <c:v>0.24041130063723301</c:v>
                </c:pt>
                <c:pt idx="381">
                  <c:v>0.24041130063723301</c:v>
                </c:pt>
                <c:pt idx="382">
                  <c:v>0.24801078830816364</c:v>
                </c:pt>
                <c:pt idx="383">
                  <c:v>0.24365768862881182</c:v>
                </c:pt>
                <c:pt idx="384">
                  <c:v>0.24173936188558456</c:v>
                </c:pt>
                <c:pt idx="385">
                  <c:v>0.2526589846198351</c:v>
                </c:pt>
                <c:pt idx="386">
                  <c:v>0.22683551929116136</c:v>
                </c:pt>
                <c:pt idx="387">
                  <c:v>0.22683551929116136</c:v>
                </c:pt>
                <c:pt idx="388">
                  <c:v>0.22683551929116136</c:v>
                </c:pt>
                <c:pt idx="389">
                  <c:v>0.18662472979119868</c:v>
                </c:pt>
                <c:pt idx="390">
                  <c:v>0.18979733459591785</c:v>
                </c:pt>
                <c:pt idx="391">
                  <c:v>0.20698838375274703</c:v>
                </c:pt>
                <c:pt idx="392">
                  <c:v>0.21672751161236475</c:v>
                </c:pt>
                <c:pt idx="393">
                  <c:v>0.20086452370388713</c:v>
                </c:pt>
                <c:pt idx="394">
                  <c:v>0.20086452370388713</c:v>
                </c:pt>
                <c:pt idx="395">
                  <c:v>0.20086452370388713</c:v>
                </c:pt>
                <c:pt idx="396">
                  <c:v>0.2336972112086157</c:v>
                </c:pt>
                <c:pt idx="397">
                  <c:v>0.23008190728274003</c:v>
                </c:pt>
                <c:pt idx="398">
                  <c:v>0.23856675708086542</c:v>
                </c:pt>
                <c:pt idx="399">
                  <c:v>0.20566436739765465</c:v>
                </c:pt>
                <c:pt idx="400">
                  <c:v>0.18821336161869381</c:v>
                </c:pt>
                <c:pt idx="401">
                  <c:v>0.18821336161869381</c:v>
                </c:pt>
                <c:pt idx="402">
                  <c:v>0.18821336161869381</c:v>
                </c:pt>
                <c:pt idx="403">
                  <c:v>0.20039267968219407</c:v>
                </c:pt>
                <c:pt idx="404">
                  <c:v>0.20084715233194403</c:v>
                </c:pt>
                <c:pt idx="405">
                  <c:v>0.21966150382991784</c:v>
                </c:pt>
                <c:pt idx="406">
                  <c:v>0.21193579382023373</c:v>
                </c:pt>
                <c:pt idx="407">
                  <c:v>0.20111982147574678</c:v>
                </c:pt>
                <c:pt idx="408">
                  <c:v>0.20111982147574678</c:v>
                </c:pt>
                <c:pt idx="409">
                  <c:v>0.20111982147574678</c:v>
                </c:pt>
                <c:pt idx="410">
                  <c:v>0.1777609240558651</c:v>
                </c:pt>
                <c:pt idx="411">
                  <c:v>0.18975847472853616</c:v>
                </c:pt>
                <c:pt idx="412">
                  <c:v>0.18666821239373335</c:v>
                </c:pt>
                <c:pt idx="413">
                  <c:v>0.17803359319966744</c:v>
                </c:pt>
                <c:pt idx="414">
                  <c:v>0.16621780991782528</c:v>
                </c:pt>
                <c:pt idx="415">
                  <c:v>0.16621780991782528</c:v>
                </c:pt>
                <c:pt idx="416">
                  <c:v>0.16621780991782528</c:v>
                </c:pt>
                <c:pt idx="417">
                  <c:v>0.14931214242647001</c:v>
                </c:pt>
                <c:pt idx="418">
                  <c:v>0.15149353169200935</c:v>
                </c:pt>
                <c:pt idx="419">
                  <c:v>0.14095022849132505</c:v>
                </c:pt>
                <c:pt idx="420">
                  <c:v>0.1236809901031934</c:v>
                </c:pt>
                <c:pt idx="421">
                  <c:v>0.15258420826722002</c:v>
                </c:pt>
                <c:pt idx="422">
                  <c:v>0.15258420826722002</c:v>
                </c:pt>
                <c:pt idx="423">
                  <c:v>0.15258420826722002</c:v>
                </c:pt>
                <c:pt idx="424">
                  <c:v>0.15231153912341752</c:v>
                </c:pt>
                <c:pt idx="425">
                  <c:v>0.14694898577010135</c:v>
                </c:pt>
                <c:pt idx="426">
                  <c:v>0.1557653723549963</c:v>
                </c:pt>
                <c:pt idx="427">
                  <c:v>0.14758522581068051</c:v>
                </c:pt>
                <c:pt idx="428" formatCode="0.0%">
                  <c:v>0.12940711435328553</c:v>
                </c:pt>
                <c:pt idx="429" formatCode="0.0%">
                  <c:v>0.12940711435328553</c:v>
                </c:pt>
                <c:pt idx="430" formatCode="0.0%">
                  <c:v>0.12940711435328553</c:v>
                </c:pt>
                <c:pt idx="431" formatCode="0.0%">
                  <c:v>0.11486460351829848</c:v>
                </c:pt>
                <c:pt idx="432" formatCode="0.0%">
                  <c:v>0.10504840599604862</c:v>
                </c:pt>
                <c:pt idx="433" formatCode="0.0%">
                  <c:v>0.12031802250946981</c:v>
                </c:pt>
                <c:pt idx="434" formatCode="0.0%">
                  <c:v>0.11022919195853546</c:v>
                </c:pt>
                <c:pt idx="435" formatCode="0.0%">
                  <c:v>0.1250443358222067</c:v>
                </c:pt>
                <c:pt idx="436" formatCode="0.0%">
                  <c:v>0.1250443358222067</c:v>
                </c:pt>
                <c:pt idx="437" formatCode="0.0%">
                  <c:v>0.1250443358222067</c:v>
                </c:pt>
                <c:pt idx="438" formatCode="0.0%">
                  <c:v>0.10959295191795633</c:v>
                </c:pt>
                <c:pt idx="439" formatCode="0.0%">
                  <c:v>0.10650265346803536</c:v>
                </c:pt>
                <c:pt idx="440" formatCode="0.0%">
                  <c:v>0.14740345841985161</c:v>
                </c:pt>
                <c:pt idx="441" formatCode="0.0%">
                  <c:v>0.14785789495448312</c:v>
                </c:pt>
                <c:pt idx="442" formatCode="0.0%">
                  <c:v>0.16939897400560183</c:v>
                </c:pt>
                <c:pt idx="443" formatCode="0.0%">
                  <c:v>0.16939897400560183</c:v>
                </c:pt>
                <c:pt idx="444" formatCode="0.0%">
                  <c:v>0.16939897400560183</c:v>
                </c:pt>
                <c:pt idx="445" formatCode="0.0%">
                  <c:v>0.17421618907131234</c:v>
                </c:pt>
                <c:pt idx="446" formatCode="0.0%">
                  <c:v>0.19121275831564133</c:v>
                </c:pt>
                <c:pt idx="447" formatCode="0.0%">
                  <c:v>0.18475949227199664</c:v>
                </c:pt>
                <c:pt idx="448" formatCode="0.0%">
                  <c:v>0.1793060732808256</c:v>
                </c:pt>
                <c:pt idx="449" formatCode="0.0%">
                  <c:v>0.18057855336198331</c:v>
                </c:pt>
                <c:pt idx="450" formatCode="0.0%">
                  <c:v>0.18057855336198331</c:v>
                </c:pt>
                <c:pt idx="451" formatCode="0.0%">
                  <c:v>0.18057855336198331</c:v>
                </c:pt>
                <c:pt idx="452" formatCode="0.0%">
                  <c:v>0.18748621982514152</c:v>
                </c:pt>
                <c:pt idx="453" formatCode="0.0%">
                  <c:v>0.19766598824416776</c:v>
                </c:pt>
                <c:pt idx="454" formatCode="0.0%">
                  <c:v>0.19357591497200971</c:v>
                </c:pt>
                <c:pt idx="455" formatCode="0.0%">
                  <c:v>0.17739735315908858</c:v>
                </c:pt>
                <c:pt idx="456" formatCode="0.0%">
                  <c:v>0.19112185656266761</c:v>
                </c:pt>
                <c:pt idx="457" formatCode="0.0%">
                  <c:v>0.19112185656266761</c:v>
                </c:pt>
                <c:pt idx="458" formatCode="0.0%">
                  <c:v>0.19112185656266761</c:v>
                </c:pt>
                <c:pt idx="459" formatCode="0.0%">
                  <c:v>0.20266497070070727</c:v>
                </c:pt>
                <c:pt idx="460" formatCode="0.0%">
                  <c:v>0.20311940723533881</c:v>
                </c:pt>
                <c:pt idx="461" formatCode="0.0%">
                  <c:v>0.17939697503379917</c:v>
                </c:pt>
                <c:pt idx="462" formatCode="0.0%">
                  <c:v>0.17748825491206219</c:v>
                </c:pt>
                <c:pt idx="463" formatCode="0.0%">
                  <c:v>0.19193986399407564</c:v>
                </c:pt>
                <c:pt idx="464" formatCode="0.0%">
                  <c:v>0.19193986399407564</c:v>
                </c:pt>
                <c:pt idx="465" formatCode="0.0%">
                  <c:v>0.19193986399407564</c:v>
                </c:pt>
                <c:pt idx="466" formatCode="0.0%">
                  <c:v>0.17303461074312793</c:v>
                </c:pt>
                <c:pt idx="467" formatCode="0.0%">
                  <c:v>0.16894453747097019</c:v>
                </c:pt>
                <c:pt idx="468" formatCode="0.0%">
                  <c:v>0.16485446419881214</c:v>
                </c:pt>
                <c:pt idx="469" formatCode="0.0%">
                  <c:v>0.16485446419881214</c:v>
                </c:pt>
                <c:pt idx="470" formatCode="0.0%">
                  <c:v>0.16485446419881214</c:v>
                </c:pt>
                <c:pt idx="471" formatCode="0.0%">
                  <c:v>0.16485446419881214</c:v>
                </c:pt>
                <c:pt idx="472" formatCode="0.0%">
                  <c:v>0.16485446419881214</c:v>
                </c:pt>
                <c:pt idx="473" formatCode="0.0%">
                  <c:v>0.16485446419881214</c:v>
                </c:pt>
                <c:pt idx="474" formatCode="0.0%">
                  <c:v>0.1693081083677464</c:v>
                </c:pt>
                <c:pt idx="475" formatCode="0.0%">
                  <c:v>0.17312551249610181</c:v>
                </c:pt>
                <c:pt idx="476" formatCode="0.0%">
                  <c:v>0.17012611579915429</c:v>
                </c:pt>
                <c:pt idx="477" formatCode="0.0%">
                  <c:v>0.14331338514769357</c:v>
                </c:pt>
                <c:pt idx="478" formatCode="0.0%">
                  <c:v>0.14331338514769357</c:v>
                </c:pt>
                <c:pt idx="479" formatCode="0.0%">
                  <c:v>0.14331338514769357</c:v>
                </c:pt>
                <c:pt idx="480" formatCode="0.0%">
                  <c:v>0.12295388442475925</c:v>
                </c:pt>
                <c:pt idx="481" formatCode="0.0%">
                  <c:v>0.124408131896746</c:v>
                </c:pt>
                <c:pt idx="482" formatCode="0.0%">
                  <c:v>0.13567854077586447</c:v>
                </c:pt>
                <c:pt idx="483" formatCode="0.0%">
                  <c:v>0.14122289763512769</c:v>
                </c:pt>
                <c:pt idx="484" formatCode="0.0%">
                  <c:v>0.15076638989845675</c:v>
                </c:pt>
                <c:pt idx="485" formatCode="0.0%">
                  <c:v>0.13458786420065422</c:v>
                </c:pt>
                <c:pt idx="486" formatCode="0.0%">
                  <c:v>0.13458786420065422</c:v>
                </c:pt>
                <c:pt idx="487" formatCode="0.0%">
                  <c:v>0.13440609680982504</c:v>
                </c:pt>
                <c:pt idx="488" formatCode="0.0%">
                  <c:v>0.13995041755396984</c:v>
                </c:pt>
                <c:pt idx="489" formatCode="0.0%">
                  <c:v>0.13240651105023304</c:v>
                </c:pt>
                <c:pt idx="490" formatCode="0.0%">
                  <c:v>0.13458786420065422</c:v>
                </c:pt>
                <c:pt idx="491" formatCode="0.0%">
                  <c:v>0.11150163592457489</c:v>
                </c:pt>
                <c:pt idx="492" formatCode="0.0%">
                  <c:v>0.11150163592457489</c:v>
                </c:pt>
                <c:pt idx="493" formatCode="0.0%">
                  <c:v>0.11150163592457489</c:v>
                </c:pt>
                <c:pt idx="494" formatCode="0.0%">
                  <c:v>8.7052061929482533E-2</c:v>
                </c:pt>
                <c:pt idx="495" formatCode="0.0%">
                  <c:v>8.0053493713351007E-2</c:v>
                </c:pt>
                <c:pt idx="496" formatCode="0.0%">
                  <c:v>8.8506309401469571E-2</c:v>
                </c:pt>
                <c:pt idx="497" formatCode="0.0%">
                  <c:v>8.8506309401469571E-2</c:v>
                </c:pt>
                <c:pt idx="498" formatCode="0.0%">
                  <c:v>8.8506309401469571E-2</c:v>
                </c:pt>
                <c:pt idx="499" formatCode="0.0%">
                  <c:v>8.8506309401469571E-2</c:v>
                </c:pt>
                <c:pt idx="500" formatCode="0.0%">
                  <c:v>8.8506309401469571E-2</c:v>
                </c:pt>
                <c:pt idx="501" formatCode="0.0%">
                  <c:v>0.10713889350861436</c:v>
                </c:pt>
                <c:pt idx="502" formatCode="0.0%">
                  <c:v>0.10677532261183814</c:v>
                </c:pt>
                <c:pt idx="503" formatCode="0.0%">
                  <c:v>0.10822957008382489</c:v>
                </c:pt>
                <c:pt idx="504" formatCode="0.0%">
                  <c:v>8.2416650369719513E-2</c:v>
                </c:pt>
                <c:pt idx="505" formatCode="0.0%">
                  <c:v>8.6779392785680184E-2</c:v>
                </c:pt>
                <c:pt idx="506" formatCode="0.0%">
                  <c:v>8.6779392785680184E-2</c:v>
                </c:pt>
                <c:pt idx="507" formatCode="0.0%">
                  <c:v>8.6779392785680184E-2</c:v>
                </c:pt>
                <c:pt idx="508" formatCode="0.0%">
                  <c:v>9.4596004548338039E-2</c:v>
                </c:pt>
                <c:pt idx="509" formatCode="0.0%">
                  <c:v>6.8964816109942997E-2</c:v>
                </c:pt>
                <c:pt idx="510" formatCode="0.0%">
                  <c:v>8.6961160176508942E-2</c:v>
                </c:pt>
                <c:pt idx="511" formatCode="0.0%">
                  <c:v>8.6961160176508942E-2</c:v>
                </c:pt>
                <c:pt idx="512" formatCode="0.0%">
                  <c:v>8.6961160176508942E-2</c:v>
                </c:pt>
                <c:pt idx="513" formatCode="0.0%">
                  <c:v>8.6961160176508942E-2</c:v>
                </c:pt>
                <c:pt idx="514" formatCode="0.0%">
                  <c:v>8.6961160176508942E-2</c:v>
                </c:pt>
                <c:pt idx="515" formatCode="0.0%">
                  <c:v>0.12586237936873304</c:v>
                </c:pt>
                <c:pt idx="516" formatCode="0.0%">
                  <c:v>0.12268117916583819</c:v>
                </c:pt>
                <c:pt idx="517" formatCode="0.0%">
                  <c:v>0.11686418927789077</c:v>
                </c:pt>
                <c:pt idx="518" formatCode="0.0%">
                  <c:v>0.11377392694308824</c:v>
                </c:pt>
                <c:pt idx="519" formatCode="0.0%">
                  <c:v>0.11359212343714091</c:v>
                </c:pt>
                <c:pt idx="520" formatCode="0.0%">
                  <c:v>0.11359212343714091</c:v>
                </c:pt>
                <c:pt idx="521" formatCode="0.0%">
                  <c:v>0.11359212343714091</c:v>
                </c:pt>
                <c:pt idx="522" formatCode="0.0%">
                  <c:v>0.11359212343714091</c:v>
                </c:pt>
                <c:pt idx="523" formatCode="0.0%">
                  <c:v>0.12113606605599614</c:v>
                </c:pt>
                <c:pt idx="524" formatCode="0.0%">
                  <c:v>0.1257714776157593</c:v>
                </c:pt>
                <c:pt idx="525" formatCode="0.0%">
                  <c:v>0.12222674263120652</c:v>
                </c:pt>
                <c:pt idx="526" formatCode="0.0%">
                  <c:v>8.732473107328545E-2</c:v>
                </c:pt>
                <c:pt idx="527" formatCode="0.0%">
                  <c:v>8.732473107328545E-2</c:v>
                </c:pt>
                <c:pt idx="528" formatCode="0.0%">
                  <c:v>8.732473107328545E-2</c:v>
                </c:pt>
                <c:pt idx="529" formatCode="0.0%">
                  <c:v>5.1332042940153429E-2</c:v>
                </c:pt>
                <c:pt idx="530" formatCode="0.0%">
                  <c:v>4.9786893715192806E-2</c:v>
                </c:pt>
                <c:pt idx="531" formatCode="0.0%">
                  <c:v>5.8057942012482329E-2</c:v>
                </c:pt>
                <c:pt idx="532" formatCode="0.0%">
                  <c:v>2.6337130657455816E-2</c:v>
                </c:pt>
                <c:pt idx="533" formatCode="0.0%">
                  <c:v>2.6518898048284712E-2</c:v>
                </c:pt>
                <c:pt idx="534" formatCode="0.0%">
                  <c:v>2.6518898048284712E-2</c:v>
                </c:pt>
                <c:pt idx="535" formatCode="0.0%">
                  <c:v>2.6518898048284712E-2</c:v>
                </c:pt>
                <c:pt idx="536" formatCode="0.0%">
                  <c:v>2.9063822095482125E-2</c:v>
                </c:pt>
                <c:pt idx="537" formatCode="0.0%">
                  <c:v>4.2515656355258502E-2</c:v>
                </c:pt>
                <c:pt idx="538" formatCode="0.0%">
                  <c:v>3.7244004754916349E-2</c:v>
                </c:pt>
                <c:pt idx="539" formatCode="0.0%">
                  <c:v>4.5424151299232135E-2</c:v>
                </c:pt>
                <c:pt idx="540" formatCode="0.0%">
                  <c:v>7.3418460278877259E-2</c:v>
                </c:pt>
                <c:pt idx="541" formatCode="0.0%">
                  <c:v>7.3418460278877259E-2</c:v>
                </c:pt>
                <c:pt idx="542" formatCode="0.0%">
                  <c:v>7.3418460278877259E-2</c:v>
                </c:pt>
                <c:pt idx="543" formatCode="0.0%">
                  <c:v>7.5781616935245641E-2</c:v>
                </c:pt>
                <c:pt idx="544" formatCode="0.0%">
                  <c:v>8.6870294538653636E-2</c:v>
                </c:pt>
                <c:pt idx="545" formatCode="0.0%">
                  <c:v>7.3691129422679899E-2</c:v>
                </c:pt>
                <c:pt idx="546" formatCode="0.0%">
                  <c:v>6.2784255325219362E-2</c:v>
                </c:pt>
                <c:pt idx="547" formatCode="0.0%">
                  <c:v>6.6874328597377256E-2</c:v>
                </c:pt>
                <c:pt idx="548" formatCode="0.0%">
                  <c:v>6.6874328597377256E-2</c:v>
                </c:pt>
                <c:pt idx="549" formatCode="0.0%">
                  <c:v>6.6874328597377256E-2</c:v>
                </c:pt>
                <c:pt idx="550" formatCode="0.0%">
                  <c:v>7.2236881950692861E-2</c:v>
                </c:pt>
                <c:pt idx="551" formatCode="0.0%">
                  <c:v>7.5508947791443001E-2</c:v>
                </c:pt>
                <c:pt idx="552" formatCode="0.0%">
                  <c:v>9.2414615282798429E-2</c:v>
                </c:pt>
                <c:pt idx="553" formatCode="0.0%">
                  <c:v>0.11141077028671958</c:v>
                </c:pt>
                <c:pt idx="554" formatCode="0.0%">
                  <c:v>0.11477370176532503</c:v>
                </c:pt>
                <c:pt idx="555" formatCode="0.0%">
                  <c:v>0.11477370176532503</c:v>
                </c:pt>
                <c:pt idx="556" formatCode="0.0%">
                  <c:v>0.11477370176532503</c:v>
                </c:pt>
                <c:pt idx="557" formatCode="0.0%">
                  <c:v>0.10677532261183814</c:v>
                </c:pt>
                <c:pt idx="558" formatCode="0.0%">
                  <c:v>0.10813870444596958</c:v>
                </c:pt>
                <c:pt idx="559" formatCode="0.0%">
                  <c:v>8.8506309401469571E-2</c:v>
                </c:pt>
                <c:pt idx="560" formatCode="0.0%">
                  <c:v>7.8962781023022052E-2</c:v>
                </c:pt>
                <c:pt idx="561" formatCode="0.0%">
                  <c:v>9.9049612602153586E-2</c:v>
                </c:pt>
                <c:pt idx="562" formatCode="0.0%">
                  <c:v>9.9049612602153586E-2</c:v>
                </c:pt>
                <c:pt idx="563" formatCode="0.0%">
                  <c:v>9.9049612602153586E-2</c:v>
                </c:pt>
                <c:pt idx="564" formatCode="0.0%">
                  <c:v>0.10123100186769321</c:v>
                </c:pt>
                <c:pt idx="565" formatCode="0.0%">
                  <c:v>0.1064117878301802</c:v>
                </c:pt>
                <c:pt idx="566" formatCode="0.0%">
                  <c:v>0.12449899753460131</c:v>
                </c:pt>
                <c:pt idx="567" formatCode="0.0%">
                  <c:v>0.12668038680014063</c:v>
                </c:pt>
                <c:pt idx="568" formatCode="0.0%">
                  <c:v>0.1324973766880882</c:v>
                </c:pt>
                <c:pt idx="569" formatCode="0.0%">
                  <c:v>0.1324973766880882</c:v>
                </c:pt>
                <c:pt idx="570" formatCode="0.0%">
                  <c:v>0.1324973766880882</c:v>
                </c:pt>
                <c:pt idx="571" formatCode="0.0%">
                  <c:v>0.12404456099996991</c:v>
                </c:pt>
                <c:pt idx="572" formatCode="0.0%">
                  <c:v>0.12995245264089078</c:v>
                </c:pt>
                <c:pt idx="573" formatCode="0.0%">
                  <c:v>0.14331338514769357</c:v>
                </c:pt>
                <c:pt idx="574" formatCode="0.0%">
                  <c:v>0.14985748071407515</c:v>
                </c:pt>
                <c:pt idx="575" formatCode="0.0%">
                  <c:v>0.15885567080491739</c:v>
                </c:pt>
                <c:pt idx="576" formatCode="0.0%">
                  <c:v>0.15885567080491739</c:v>
                </c:pt>
                <c:pt idx="577" formatCode="0.0%">
                  <c:v>0.16312754758302275</c:v>
                </c:pt>
                <c:pt idx="578" formatCode="0.0%">
                  <c:v>0.15912833994872017</c:v>
                </c:pt>
                <c:pt idx="579" formatCode="0.0%">
                  <c:v>0.15431112488300941</c:v>
                </c:pt>
                <c:pt idx="580" formatCode="0.0%">
                  <c:v>0.17130769412733854</c:v>
                </c:pt>
                <c:pt idx="581" formatCode="0.0%">
                  <c:v>0.17176213066197035</c:v>
                </c:pt>
                <c:pt idx="582" formatCode="0.0%">
                  <c:v>0.17303461074312793</c:v>
                </c:pt>
                <c:pt idx="583" formatCode="0.0%">
                  <c:v>0.17303461074312793</c:v>
                </c:pt>
                <c:pt idx="584" formatCode="0.0%">
                  <c:v>0.17303461074312793</c:v>
                </c:pt>
                <c:pt idx="585" formatCode="0.0%">
                  <c:v>0.17603400744007544</c:v>
                </c:pt>
                <c:pt idx="586" formatCode="0.0%">
                  <c:v>0.15549270321119366</c:v>
                </c:pt>
                <c:pt idx="587" formatCode="0.0%">
                  <c:v>0.16430912591120689</c:v>
                </c:pt>
                <c:pt idx="588" formatCode="0.0%">
                  <c:v>0.17421618907131234</c:v>
                </c:pt>
                <c:pt idx="589" formatCode="0.0%">
                  <c:v>0.18385058308761487</c:v>
                </c:pt>
                <c:pt idx="590" formatCode="0.0%">
                  <c:v>0.18385058308761487</c:v>
                </c:pt>
                <c:pt idx="591" formatCode="0.0%">
                  <c:v>0.18385058308761487</c:v>
                </c:pt>
                <c:pt idx="592" formatCode="0.0%">
                  <c:v>0.19412125325961513</c:v>
                </c:pt>
                <c:pt idx="593" formatCode="0.0%">
                  <c:v>0.19684794469764141</c:v>
                </c:pt>
                <c:pt idx="594" formatCode="0.0%">
                  <c:v>0.18739531807216764</c:v>
                </c:pt>
                <c:pt idx="595" formatCode="0.0%">
                  <c:v>0.19021294737828612</c:v>
                </c:pt>
                <c:pt idx="596" formatCode="0.0%">
                  <c:v>0.18557753581852296</c:v>
                </c:pt>
                <c:pt idx="597" formatCode="0.0%">
                  <c:v>0.18557753581852296</c:v>
                </c:pt>
                <c:pt idx="598" formatCode="0.0%">
                  <c:v>0.18557753581852296</c:v>
                </c:pt>
                <c:pt idx="599" formatCode="0.0%">
                  <c:v>0.17339818163990445</c:v>
                </c:pt>
                <c:pt idx="600" formatCode="0.0%">
                  <c:v>0.16240040578947018</c:v>
                </c:pt>
                <c:pt idx="601" formatCode="0.0%">
                  <c:v>0.16385465326145693</c:v>
                </c:pt>
                <c:pt idx="602" formatCode="0.0%">
                  <c:v>0.17485242911189133</c:v>
                </c:pt>
                <c:pt idx="603" formatCode="0.0%">
                  <c:v>0.15758319072375954</c:v>
                </c:pt>
                <c:pt idx="604" formatCode="0.0%">
                  <c:v>0.15758319072375954</c:v>
                </c:pt>
                <c:pt idx="605" formatCode="0.0%">
                  <c:v>0.15758319072375954</c:v>
                </c:pt>
                <c:pt idx="606" formatCode="0.0%">
                  <c:v>0.13277004583189084</c:v>
                </c:pt>
                <c:pt idx="607" formatCode="0.0%">
                  <c:v>0.1245898992875749</c:v>
                </c:pt>
                <c:pt idx="608" formatCode="0.0%">
                  <c:v>0.11413746172474618</c:v>
                </c:pt>
                <c:pt idx="609" formatCode="0.0%">
                  <c:v>0.10695712611778546</c:v>
                </c:pt>
                <c:pt idx="610" formatCode="0.0%">
                  <c:v>0.12477166667840407</c:v>
                </c:pt>
                <c:pt idx="611" formatCode="0.0%">
                  <c:v>0.12477166667840407</c:v>
                </c:pt>
                <c:pt idx="612" formatCode="0.0%">
                  <c:v>0.12477166667840407</c:v>
                </c:pt>
                <c:pt idx="613" formatCode="0.0%">
                  <c:v>0.1153190400529303</c:v>
                </c:pt>
                <c:pt idx="614" formatCode="0.0%">
                  <c:v>0.1164097527432591</c:v>
                </c:pt>
                <c:pt idx="615" formatCode="0.0%">
                  <c:v>0.11177430506837752</c:v>
                </c:pt>
                <c:pt idx="616" formatCode="0.0%">
                  <c:v>0.12813463427212768</c:v>
                </c:pt>
                <c:pt idx="617" formatCode="0.0%">
                  <c:v>0.13858707183495667</c:v>
                </c:pt>
                <c:pt idx="618" formatCode="0.0%">
                  <c:v>0.13858707183495667</c:v>
                </c:pt>
                <c:pt idx="619" formatCode="0.0%">
                  <c:v>0.13858707183495667</c:v>
                </c:pt>
                <c:pt idx="620" formatCode="0.0%">
                  <c:v>0.14240447596331207</c:v>
                </c:pt>
                <c:pt idx="621" formatCode="0.0%">
                  <c:v>0.12349922271236452</c:v>
                </c:pt>
                <c:pt idx="622" formatCode="0.0%">
                  <c:v>0.11831843674987752</c:v>
                </c:pt>
                <c:pt idx="623" formatCode="0.0%">
                  <c:v>0.10832047183679876</c:v>
                </c:pt>
                <c:pt idx="624" formatCode="0.0%">
                  <c:v>9.1142135201640564E-2</c:v>
                </c:pt>
                <c:pt idx="625" formatCode="0.0%">
                  <c:v>9.1142135201640564E-2</c:v>
                </c:pt>
                <c:pt idx="626" formatCode="0.0%">
                  <c:v>9.1142135201640564E-2</c:v>
                </c:pt>
                <c:pt idx="627" formatCode="0.0%">
                  <c:v>9.4414201042390566E-2</c:v>
                </c:pt>
                <c:pt idx="628" formatCode="0.0%">
                  <c:v>8.7233829320311707E-2</c:v>
                </c:pt>
                <c:pt idx="629" formatCode="0.0%">
                  <c:v>0.10032209268331173</c:v>
                </c:pt>
                <c:pt idx="630" formatCode="0.0%">
                  <c:v>7.2236881950692861E-2</c:v>
                </c:pt>
                <c:pt idx="631" formatCode="0.0%">
                  <c:v>6.2420684428442993E-2</c:v>
                </c:pt>
                <c:pt idx="632" formatCode="0.0%">
                  <c:v>6.2420684428442993E-2</c:v>
                </c:pt>
                <c:pt idx="633" formatCode="0.0%">
                  <c:v>6.2420684428442993E-2</c:v>
                </c:pt>
                <c:pt idx="634" formatCode="0.0%">
                  <c:v>6.6874328597377256E-2</c:v>
                </c:pt>
                <c:pt idx="635" formatCode="0.0%">
                  <c:v>6.7056132103324451E-2</c:v>
                </c:pt>
                <c:pt idx="636" formatCode="0.0%">
                  <c:v>6.051200042182444E-2</c:v>
                </c:pt>
                <c:pt idx="637" formatCode="0.0%">
                  <c:v>4.1424979780048117E-2</c:v>
                </c:pt>
                <c:pt idx="638" formatCode="0.0%">
                  <c:v>3.2154120545402946E-2</c:v>
                </c:pt>
                <c:pt idx="639" formatCode="0.0%">
                  <c:v>3.2154120545402946E-2</c:v>
                </c:pt>
                <c:pt idx="640" formatCode="0.0%">
                  <c:v>3.2154120545402946E-2</c:v>
                </c:pt>
                <c:pt idx="641" formatCode="0.0%">
                  <c:v>4.6333060483613908E-2</c:v>
                </c:pt>
                <c:pt idx="642" formatCode="0.0%">
                  <c:v>7.1418874519285247E-2</c:v>
                </c:pt>
                <c:pt idx="643" formatCode="0.0%">
                  <c:v>6.8419477822337746E-2</c:v>
                </c:pt>
                <c:pt idx="644" formatCode="0.0%">
                  <c:v>7.9599021063600894E-2</c:v>
                </c:pt>
                <c:pt idx="645" formatCode="0.0%">
                  <c:v>5.8148843765456065E-2</c:v>
                </c:pt>
                <c:pt idx="646" formatCode="0.0%">
                  <c:v>5.8148843765456065E-2</c:v>
                </c:pt>
                <c:pt idx="647" formatCode="0.0%">
                  <c:v>5.8148843765456065E-2</c:v>
                </c:pt>
                <c:pt idx="648" formatCode="0.0%">
                  <c:v>5.0514035508745392E-2</c:v>
                </c:pt>
                <c:pt idx="649" formatCode="0.0%">
                  <c:v>3.806201218632424E-2</c:v>
                </c:pt>
                <c:pt idx="650" formatCode="0.0%">
                  <c:v>3.7789343042521607E-2</c:v>
                </c:pt>
                <c:pt idx="651" formatCode="0.0%">
                  <c:v>2.7791378129442705E-2</c:v>
                </c:pt>
                <c:pt idx="652" formatCode="0.0%">
                  <c:v>5.0241366364942766E-2</c:v>
                </c:pt>
                <c:pt idx="653" formatCode="0.0%">
                  <c:v>5.0241366364942766E-2</c:v>
                </c:pt>
                <c:pt idx="654" formatCode="0.0%">
                  <c:v>5.0241366364942766E-2</c:v>
                </c:pt>
                <c:pt idx="655" formatCode="0.0%">
                  <c:v>5.2059184733706021E-2</c:v>
                </c:pt>
                <c:pt idx="656" formatCode="0.0%">
                  <c:v>6.3874968015548178E-2</c:v>
                </c:pt>
                <c:pt idx="657" formatCode="0.0%">
                  <c:v>5.9239520340666589E-2</c:v>
                </c:pt>
                <c:pt idx="658" formatCode="0.0%">
                  <c:v>6.0966436956455962E-2</c:v>
                </c:pt>
                <c:pt idx="659" formatCode="0.0%">
                  <c:v>4.9696028077337501E-2</c:v>
                </c:pt>
                <c:pt idx="660" formatCode="0.0%">
                  <c:v>4.9696028077337501E-2</c:v>
                </c:pt>
                <c:pt idx="661" formatCode="0.0%">
                  <c:v>4.9696028077337501E-2</c:v>
                </c:pt>
                <c:pt idx="662" formatCode="0.0%">
                  <c:v>6.6510793815719185E-2</c:v>
                </c:pt>
                <c:pt idx="663" formatCode="0.0%">
                  <c:v>7.496360950383775E-2</c:v>
                </c:pt>
                <c:pt idx="664" formatCode="0.0%">
                  <c:v>8.0053493713351007E-2</c:v>
                </c:pt>
                <c:pt idx="665" formatCode="0.0%">
                  <c:v>7.2236881950692861E-2</c:v>
                </c:pt>
                <c:pt idx="666" formatCode="0.0%">
                  <c:v>7.8144773591614147E-2</c:v>
                </c:pt>
                <c:pt idx="667" formatCode="0.0%">
                  <c:v>7.8144773591614147E-2</c:v>
                </c:pt>
                <c:pt idx="668" formatCode="0.0%">
                  <c:v>7.8144773591614147E-2</c:v>
                </c:pt>
                <c:pt idx="669" formatCode="0.0%">
                  <c:v>8.6415821888903538E-2</c:v>
                </c:pt>
                <c:pt idx="670" formatCode="0.0%">
                  <c:v>8.6052250992127308E-2</c:v>
                </c:pt>
                <c:pt idx="671" formatCode="0.0%">
                  <c:v>8.4234468738482629E-2</c:v>
                </c:pt>
                <c:pt idx="672" formatCode="0.0%">
                  <c:v>6.5965419412995482E-2</c:v>
                </c:pt>
                <c:pt idx="673" formatCode="0.0%">
                  <c:v>6.4420306303153721E-2</c:v>
                </c:pt>
                <c:pt idx="674" formatCode="0.0%">
                  <c:v>6.4420306303153721E-2</c:v>
                </c:pt>
                <c:pt idx="675" formatCode="0.0%">
                  <c:v>6.4420306303153721E-2</c:v>
                </c:pt>
                <c:pt idx="676" formatCode="0.0%">
                  <c:v>7.1509776272258699E-2</c:v>
                </c:pt>
                <c:pt idx="677" formatCode="0.0%">
                  <c:v>8.2234846863772193E-2</c:v>
                </c:pt>
                <c:pt idx="678" formatCode="0.0%">
                  <c:v>7.5690751297390613E-2</c:v>
                </c:pt>
                <c:pt idx="679" formatCode="0.0%">
                  <c:v>0.10068566358008794</c:v>
                </c:pt>
                <c:pt idx="680" formatCode="0.0%">
                  <c:v>0.11141077028671958</c:v>
                </c:pt>
                <c:pt idx="681" formatCode="0.0%">
                  <c:v>0.11141077028671958</c:v>
                </c:pt>
                <c:pt idx="682" formatCode="0.0%">
                  <c:v>0.11141077028671958</c:v>
                </c:pt>
                <c:pt idx="683" formatCode="0.0%">
                  <c:v>0.11059272674019339</c:v>
                </c:pt>
                <c:pt idx="684" formatCode="0.0%">
                  <c:v>0.11304678514953564</c:v>
                </c:pt>
                <c:pt idx="685" formatCode="0.0%">
                  <c:v>9.8776943458351238E-2</c:v>
                </c:pt>
                <c:pt idx="686" formatCode="0.0%">
                  <c:v>9.0324127770232396E-2</c:v>
                </c:pt>
                <c:pt idx="687" formatCode="0.0%">
                  <c:v>0.10259434758670637</c:v>
                </c:pt>
                <c:pt idx="688" formatCode="0.0%">
                  <c:v>0.10259434758670637</c:v>
                </c:pt>
                <c:pt idx="689" formatCode="0.0%">
                  <c:v>0.10259434758670637</c:v>
                </c:pt>
                <c:pt idx="690" formatCode="0.0%">
                  <c:v>0.10995652281473284</c:v>
                </c:pt>
                <c:pt idx="691" formatCode="0.0%">
                  <c:v>0.11068362849316714</c:v>
                </c:pt>
                <c:pt idx="692" formatCode="0.0%">
                  <c:v>0.11804576760607517</c:v>
                </c:pt>
                <c:pt idx="693" formatCode="0.0%">
                  <c:v>0.119863585974838</c:v>
                </c:pt>
                <c:pt idx="694" formatCode="0.0%">
                  <c:v>0.11759133107144336</c:v>
                </c:pt>
                <c:pt idx="695" formatCode="0.0%">
                  <c:v>0.11759133107144336</c:v>
                </c:pt>
                <c:pt idx="696" formatCode="0.0%">
                  <c:v>0.11759133107144336</c:v>
                </c:pt>
                <c:pt idx="697" formatCode="0.0%">
                  <c:v>0.11113810114291695</c:v>
                </c:pt>
                <c:pt idx="698" formatCode="0.0%">
                  <c:v>0.1045939694614168</c:v>
                </c:pt>
                <c:pt idx="699" formatCode="0.0%">
                  <c:v>0.12967978349708814</c:v>
                </c:pt>
                <c:pt idx="700" formatCode="0.0%">
                  <c:v>0.12204497524037762</c:v>
                </c:pt>
                <c:pt idx="701" formatCode="0.0%">
                  <c:v>0.11568261094970637</c:v>
                </c:pt>
                <c:pt idx="702" formatCode="0.0%">
                  <c:v>0.11568261094970637</c:v>
                </c:pt>
                <c:pt idx="703" formatCode="0.0%">
                  <c:v>0.11568261094970637</c:v>
                </c:pt>
                <c:pt idx="704" formatCode="0.0%">
                  <c:v>0.10813870444596958</c:v>
                </c:pt>
                <c:pt idx="705" formatCode="0.0%">
                  <c:v>9.4959539329995832E-2</c:v>
                </c:pt>
                <c:pt idx="706" formatCode="0.0%">
                  <c:v>9.5232208473798471E-2</c:v>
                </c:pt>
                <c:pt idx="707" formatCode="0.0%">
                  <c:v>9.3323524467179911E-2</c:v>
                </c:pt>
                <c:pt idx="708" formatCode="0.0%">
                  <c:v>9.5232208473798471E-2</c:v>
                </c:pt>
                <c:pt idx="709" formatCode="0.0%">
                  <c:v>9.5232208473798471E-2</c:v>
                </c:pt>
                <c:pt idx="710" formatCode="0.0%">
                  <c:v>9.5232208473798471E-2</c:v>
                </c:pt>
                <c:pt idx="711" formatCode="0.0%">
                  <c:v>9.4232433651561684E-2</c:v>
                </c:pt>
                <c:pt idx="712" formatCode="0.0%">
                  <c:v>0.11095629763696963</c:v>
                </c:pt>
                <c:pt idx="713" formatCode="0.0%">
                  <c:v>0.11077453024614073</c:v>
                </c:pt>
                <c:pt idx="714" formatCode="0.0%">
                  <c:v>7.496360950383775E-2</c:v>
                </c:pt>
                <c:pt idx="715" formatCode="0.0%">
                  <c:v>6.1148240462403296E-2</c:v>
                </c:pt>
                <c:pt idx="716" formatCode="0.0%">
                  <c:v>6.1148240462403296E-2</c:v>
                </c:pt>
                <c:pt idx="717" formatCode="0.0%">
                  <c:v>6.1148240462403296E-2</c:v>
                </c:pt>
                <c:pt idx="718" formatCode="0.0%">
                  <c:v>6.0239331278021807E-2</c:v>
                </c:pt>
                <c:pt idx="719" formatCode="0.0%">
                  <c:v>5.4604108780903431E-2</c:v>
                </c:pt>
                <c:pt idx="720" formatCode="0.0%">
                  <c:v>6.8964816109942997E-2</c:v>
                </c:pt>
                <c:pt idx="721" formatCode="0.0%">
                  <c:v>5.4331439637100659E-2</c:v>
                </c:pt>
                <c:pt idx="722" formatCode="0.0%">
                  <c:v>5.3695199596521803E-2</c:v>
                </c:pt>
                <c:pt idx="723" formatCode="0.0%">
                  <c:v>5.3695199596521803E-2</c:v>
                </c:pt>
                <c:pt idx="724" formatCode="0.0%">
                  <c:v>5.3695199596521803E-2</c:v>
                </c:pt>
                <c:pt idx="725" formatCode="0.0%">
                  <c:v>5.3695199596521803E-2</c:v>
                </c:pt>
                <c:pt idx="726" formatCode="0.0%">
                  <c:v>5.5694785356113809E-2</c:v>
                </c:pt>
                <c:pt idx="727" formatCode="0.0%">
                  <c:v>5.4240537884127062E-2</c:v>
                </c:pt>
                <c:pt idx="728" formatCode="0.0%">
                  <c:v>5.9875760381245584E-2</c:v>
                </c:pt>
                <c:pt idx="729" formatCode="0.0%">
                  <c:v>5.0604901146600552E-2</c:v>
                </c:pt>
                <c:pt idx="730" formatCode="0.0%">
                  <c:v>5.2604523021311279E-2</c:v>
                </c:pt>
                <c:pt idx="731" formatCode="0.0%">
                  <c:v>5.2604523021311279E-2</c:v>
                </c:pt>
                <c:pt idx="732" formatCode="0.0%">
                  <c:v>5.8239745518429517E-2</c:v>
                </c:pt>
                <c:pt idx="733" formatCode="0.0%">
                  <c:v>6.8692146966140372E-2</c:v>
                </c:pt>
                <c:pt idx="734" formatCode="0.0%">
                  <c:v>7.2055114559863964E-2</c:v>
                </c:pt>
                <c:pt idx="735" formatCode="0.0%">
                  <c:v>7.0509965334903488E-2</c:v>
                </c:pt>
                <c:pt idx="736" formatCode="0.0%">
                  <c:v>7.5145376894666646E-2</c:v>
                </c:pt>
                <c:pt idx="737" formatCode="0.0%">
                  <c:v>7.5145376894666646E-2</c:v>
                </c:pt>
                <c:pt idx="738" formatCode="0.0%">
                  <c:v>7.5145376894666646E-2</c:v>
                </c:pt>
                <c:pt idx="739" formatCode="0.0%">
                  <c:v>8.5870483601298411E-2</c:v>
                </c:pt>
                <c:pt idx="740" formatCode="0.0%">
                  <c:v>8.1689508576166928E-2</c:v>
                </c:pt>
                <c:pt idx="741" formatCode="0.0%">
                  <c:v>8.8506309401469571E-2</c:v>
                </c:pt>
                <c:pt idx="742" formatCode="0.0%">
                  <c:v>9.3777961001811724E-2</c:v>
                </c:pt>
                <c:pt idx="743" formatCode="0.0%">
                  <c:v>9.568668112354857E-2</c:v>
                </c:pt>
                <c:pt idx="744" formatCode="0.0%">
                  <c:v>9.568668112354857E-2</c:v>
                </c:pt>
                <c:pt idx="745" formatCode="0.0%">
                  <c:v>9.568668112354857E-2</c:v>
                </c:pt>
                <c:pt idx="746" formatCode="0.0%">
                  <c:v>0.10232167844290402</c:v>
                </c:pt>
                <c:pt idx="747" formatCode="0.0%">
                  <c:v>0.10441216595546948</c:v>
                </c:pt>
                <c:pt idx="748" formatCode="0.0%">
                  <c:v>0.10586641342745623</c:v>
                </c:pt>
                <c:pt idx="749" formatCode="0.0%">
                  <c:v>8.6961160176508942E-2</c:v>
                </c:pt>
                <c:pt idx="750" formatCode="0.0%">
                  <c:v>8.9778789482627422E-2</c:v>
                </c:pt>
                <c:pt idx="751" formatCode="0.0%">
                  <c:v>8.9778789482627422E-2</c:v>
                </c:pt>
                <c:pt idx="752" formatCode="0.0%">
                  <c:v>8.9778789482627422E-2</c:v>
                </c:pt>
                <c:pt idx="753" formatCode="0.0%">
                  <c:v>0.10304882023645633</c:v>
                </c:pt>
                <c:pt idx="754" formatCode="0.0%">
                  <c:v>0.10313972198943006</c:v>
                </c:pt>
                <c:pt idx="755" formatCode="0.0%">
                  <c:v>8.8688112907416891E-2</c:v>
                </c:pt>
                <c:pt idx="756" formatCode="0.0%">
                  <c:v>0.10241258019587747</c:v>
                </c:pt>
                <c:pt idx="757" formatCode="0.0%">
                  <c:v>0.10813870444596958</c:v>
                </c:pt>
                <c:pt idx="758" formatCode="0.0%">
                  <c:v>0.10813870444596958</c:v>
                </c:pt>
                <c:pt idx="759" formatCode="0.0%">
                  <c:v>0.10813870444596958</c:v>
                </c:pt>
                <c:pt idx="760" formatCode="0.0%">
                  <c:v>0.1045939694614168</c:v>
                </c:pt>
                <c:pt idx="761" formatCode="0.0%">
                  <c:v>0.11259234861490384</c:v>
                </c:pt>
                <c:pt idx="762" formatCode="0.0%">
                  <c:v>0.11822757111202237</c:v>
                </c:pt>
                <c:pt idx="763" formatCode="0.0%">
                  <c:v>0.13411233643688619</c:v>
                </c:pt>
                <c:pt idx="764" formatCode="0.0%">
                  <c:v>0.14030636816076722</c:v>
                </c:pt>
                <c:pt idx="765" formatCode="0.0%">
                  <c:v>0.14030636816076722</c:v>
                </c:pt>
                <c:pt idx="766" formatCode="0.0%">
                  <c:v>0.14030636816076722</c:v>
                </c:pt>
                <c:pt idx="767" formatCode="0.0%">
                  <c:v>0.13651001914642991</c:v>
                </c:pt>
                <c:pt idx="768" formatCode="0.0%">
                  <c:v>0.13411233643688619</c:v>
                </c:pt>
                <c:pt idx="769" formatCode="0.0%">
                  <c:v>0.14150524563065758</c:v>
                </c:pt>
                <c:pt idx="770" formatCode="0.0%">
                  <c:v>0.14140531509808768</c:v>
                </c:pt>
                <c:pt idx="771" formatCode="0.0%">
                  <c:v>0.13011616247252761</c:v>
                </c:pt>
                <c:pt idx="772" formatCode="0.0%">
                  <c:v>0.13011616247252761</c:v>
                </c:pt>
                <c:pt idx="773" formatCode="0.0%">
                  <c:v>0.13011616247252761</c:v>
                </c:pt>
                <c:pt idx="774" formatCode="0.0%">
                  <c:v>0.14020647374331574</c:v>
                </c:pt>
                <c:pt idx="775" formatCode="0.0%">
                  <c:v>0.1413054206806362</c:v>
                </c:pt>
                <c:pt idx="776" formatCode="0.0%">
                  <c:v>0.14709987473471187</c:v>
                </c:pt>
                <c:pt idx="777" formatCode="0.0%">
                  <c:v>0.14909794365933179</c:v>
                </c:pt>
                <c:pt idx="778" formatCode="0.0%">
                  <c:v>0.13700952734880545</c:v>
                </c:pt>
                <c:pt idx="779" formatCode="0.0%">
                  <c:v>0.13700952734880545</c:v>
                </c:pt>
                <c:pt idx="780" formatCode="0.0%">
                  <c:v>0.13700952734880545</c:v>
                </c:pt>
                <c:pt idx="781" formatCode="0.0%">
                  <c:v>0.13850808807104983</c:v>
                </c:pt>
                <c:pt idx="782" formatCode="0.0%">
                  <c:v>0.12801816301533792</c:v>
                </c:pt>
                <c:pt idx="783" formatCode="0.0%">
                  <c:v>0.12472132220337613</c:v>
                </c:pt>
                <c:pt idx="784" formatCode="0.0%">
                  <c:v>0.1288173905851859</c:v>
                </c:pt>
                <c:pt idx="785" formatCode="0.0%">
                  <c:v>0.11842735994692517</c:v>
                </c:pt>
                <c:pt idx="786" formatCode="0.0%">
                  <c:v>0.11842735994692517</c:v>
                </c:pt>
                <c:pt idx="787" formatCode="0.0%">
                  <c:v>0.11842735994692517</c:v>
                </c:pt>
                <c:pt idx="788" formatCode="0.0%">
                  <c:v>0.12402198905097947</c:v>
                </c:pt>
                <c:pt idx="789" formatCode="0.0%">
                  <c:v>0.12112476202394178</c:v>
                </c:pt>
                <c:pt idx="790" formatCode="0.0%">
                  <c:v>0.11612957165483252</c:v>
                </c:pt>
                <c:pt idx="791" formatCode="0.0%">
                  <c:v>0.11553013291988719</c:v>
                </c:pt>
                <c:pt idx="792" formatCode="0.0%">
                  <c:v>0.1336127921193922</c:v>
                </c:pt>
                <c:pt idx="793" formatCode="0.0%">
                  <c:v>0.1336127921193922</c:v>
                </c:pt>
                <c:pt idx="794" formatCode="0.0%">
                  <c:v>0.1336127921193922</c:v>
                </c:pt>
                <c:pt idx="795" formatCode="0.0%">
                  <c:v>0.13920742122344648</c:v>
                </c:pt>
                <c:pt idx="796" formatCode="0.0%">
                  <c:v>0.13181451202967495</c:v>
                </c:pt>
                <c:pt idx="797" formatCode="0.0%">
                  <c:v>0.12971654868760354</c:v>
                </c:pt>
                <c:pt idx="798" formatCode="0.0%">
                  <c:v>0.13401240590431612</c:v>
                </c:pt>
                <c:pt idx="799" formatCode="0.0%">
                  <c:v>0.10024480632996884</c:v>
                </c:pt>
                <c:pt idx="800" formatCode="0.0%">
                  <c:v>0.10024480632996884</c:v>
                </c:pt>
                <c:pt idx="801" formatCode="0.0%">
                  <c:v>0.10024480632996884</c:v>
                </c:pt>
                <c:pt idx="802" formatCode="0.0%">
                  <c:v>8.8156390019442629E-2</c:v>
                </c:pt>
                <c:pt idx="803" formatCode="0.0%">
                  <c:v>9.8146806872779144E-2</c:v>
                </c:pt>
                <c:pt idx="804" formatCode="0.0%">
                  <c:v>8.9155442539311458E-2</c:v>
                </c:pt>
                <c:pt idx="805" formatCode="0.0%">
                  <c:v>9.0354283894083662E-2</c:v>
                </c:pt>
                <c:pt idx="806" formatCode="0.0%">
                  <c:v>9.335140533857271E-2</c:v>
                </c:pt>
                <c:pt idx="807" formatCode="0.0%">
                  <c:v>9.335140533857271E-2</c:v>
                </c:pt>
                <c:pt idx="808" formatCode="0.0%">
                  <c:v>9.335140533857271E-2</c:v>
                </c:pt>
                <c:pt idx="809" formatCode="0.0%">
                  <c:v>9.6148737948159202E-2</c:v>
                </c:pt>
                <c:pt idx="810" formatCode="0.0%">
                  <c:v>9.9945086962496252E-2</c:v>
                </c:pt>
                <c:pt idx="811" formatCode="0.0%">
                  <c:v>0.10633894363639868</c:v>
                </c:pt>
                <c:pt idx="812" formatCode="0.0%">
                  <c:v>0.10024480632996884</c:v>
                </c:pt>
                <c:pt idx="813" formatCode="0.0%">
                  <c:v>9.4250563440990753E-2</c:v>
                </c:pt>
                <c:pt idx="814" formatCode="0.0%">
                  <c:v>9.4250563440990753E-2</c:v>
                </c:pt>
                <c:pt idx="815" formatCode="0.0%">
                  <c:v>9.4250563440990753E-2</c:v>
                </c:pt>
                <c:pt idx="816" formatCode="0.0%">
                  <c:v>0.10184326146966498</c:v>
                </c:pt>
                <c:pt idx="817" formatCode="0.0%">
                  <c:v>9.4450352275893434E-2</c:v>
                </c:pt>
                <c:pt idx="818" formatCode="0.0%">
                  <c:v>0.10603926038404438</c:v>
                </c:pt>
                <c:pt idx="819" formatCode="0.0%">
                  <c:v>0.11383178336274</c:v>
                </c:pt>
                <c:pt idx="820" formatCode="0.0%">
                  <c:v>0.12911710995265849</c:v>
                </c:pt>
                <c:pt idx="821" formatCode="0.0%">
                  <c:v>0.12911710995265849</c:v>
                </c:pt>
                <c:pt idx="822" formatCode="0.0%">
                  <c:v>0.12911710995265849</c:v>
                </c:pt>
                <c:pt idx="823" formatCode="0.0%">
                  <c:v>0.12222370896126236</c:v>
                </c:pt>
                <c:pt idx="824" formatCode="0.0%">
                  <c:v>0.11782792121197999</c:v>
                </c:pt>
                <c:pt idx="825" formatCode="0.0%">
                  <c:v>0.11233322264049533</c:v>
                </c:pt>
                <c:pt idx="826" formatCode="0.0%">
                  <c:v>0.11233322264049533</c:v>
                </c:pt>
                <c:pt idx="827" formatCode="0.0%">
                  <c:v>0.11233322264049533</c:v>
                </c:pt>
                <c:pt idx="828" formatCode="0.0%">
                  <c:v>0.11233322264049533</c:v>
                </c:pt>
                <c:pt idx="829" formatCode="0.0%">
                  <c:v>0.11233322264049533</c:v>
                </c:pt>
                <c:pt idx="830" formatCode="0.0%">
                  <c:v>0.11233322264049533</c:v>
                </c:pt>
                <c:pt idx="831" formatCode="0.0%">
                  <c:v>0.11832746552947369</c:v>
                </c:pt>
                <c:pt idx="832" formatCode="0.0%">
                  <c:v>0.11732841300960445</c:v>
                </c:pt>
                <c:pt idx="833" formatCode="0.0%">
                  <c:v>0.11712862417470163</c:v>
                </c:pt>
                <c:pt idx="834" formatCode="0.0%">
                  <c:v>0.12452153336847331</c:v>
                </c:pt>
                <c:pt idx="835" formatCode="0.0%">
                  <c:v>0.12452153336847331</c:v>
                </c:pt>
                <c:pt idx="836" formatCode="0.0%">
                  <c:v>0.12452153336847331</c:v>
                </c:pt>
                <c:pt idx="837" formatCode="0.0%">
                  <c:v>0.12961661815503375</c:v>
                </c:pt>
                <c:pt idx="838" formatCode="0.0%">
                  <c:v>0.13181451202967495</c:v>
                </c:pt>
                <c:pt idx="839" formatCode="0.0%">
                  <c:v>0.13011616247252761</c:v>
                </c:pt>
                <c:pt idx="840" formatCode="0.0%">
                  <c:v>0.13081549562492426</c:v>
                </c:pt>
                <c:pt idx="841" formatCode="0.0%">
                  <c:v>0.12971654868760354</c:v>
                </c:pt>
                <c:pt idx="842" formatCode="0.0%">
                  <c:v>0.12971654868760354</c:v>
                </c:pt>
                <c:pt idx="843" formatCode="0.0%">
                  <c:v>0.12971654868760354</c:v>
                </c:pt>
                <c:pt idx="844" formatCode="0.0%">
                  <c:v>0.12851767121771318</c:v>
                </c:pt>
                <c:pt idx="845" formatCode="0.0%">
                  <c:v>0.12382220021607665</c:v>
                </c:pt>
                <c:pt idx="846" formatCode="0.0%">
                  <c:v>0.10853683751104</c:v>
                </c:pt>
                <c:pt idx="847" formatCode="0.0%">
                  <c:v>0.10843694309358852</c:v>
                </c:pt>
                <c:pt idx="848" formatCode="0.0%">
                  <c:v>0.12062525382156622</c:v>
                </c:pt>
                <c:pt idx="849" formatCode="0.0%">
                  <c:v>0.12062525382156622</c:v>
                </c:pt>
                <c:pt idx="850" formatCode="0.0%">
                  <c:v>0.12522086652086983</c:v>
                </c:pt>
                <c:pt idx="851" formatCode="0.0%">
                  <c:v>0.13341300328448938</c:v>
                </c:pt>
                <c:pt idx="852" formatCode="0.0%">
                  <c:v>0.11702869364213185</c:v>
                </c:pt>
                <c:pt idx="853" formatCode="0.0%">
                  <c:v>0.12192402570890806</c:v>
                </c:pt>
                <c:pt idx="854" formatCode="0.0%">
                  <c:v>0.11243311705794695</c:v>
                </c:pt>
                <c:pt idx="855" formatCode="0.0%">
                  <c:v>0.11243311705794695</c:v>
                </c:pt>
                <c:pt idx="856" formatCode="0.0%">
                  <c:v>0.11243311705794695</c:v>
                </c:pt>
                <c:pt idx="857" formatCode="0.0%">
                  <c:v>0.11243311705794695</c:v>
                </c:pt>
                <c:pt idx="858" formatCode="0.0%">
                  <c:v>0.1256204803057939</c:v>
                </c:pt>
                <c:pt idx="859" formatCode="0.0%">
                  <c:v>0.12382220021607665</c:v>
                </c:pt>
                <c:pt idx="860" formatCode="0.0%">
                  <c:v>0.12472132220337613</c:v>
                </c:pt>
                <c:pt idx="861" formatCode="0.0%">
                  <c:v>0.13041588184000033</c:v>
                </c:pt>
                <c:pt idx="862" formatCode="0.0%">
                  <c:v>0.13451195022180998</c:v>
                </c:pt>
                <c:pt idx="863" formatCode="0.0%">
                  <c:v>0.13451195022180998</c:v>
                </c:pt>
                <c:pt idx="864" formatCode="0.0%">
                  <c:v>0.13451195022180998</c:v>
                </c:pt>
                <c:pt idx="865" formatCode="0.0%">
                  <c:v>0.13551096662656079</c:v>
                </c:pt>
                <c:pt idx="866" formatCode="0.0%">
                  <c:v>0.13291345896699552</c:v>
                </c:pt>
                <c:pt idx="867" formatCode="0.0%">
                  <c:v>0.13541107220910931</c:v>
                </c:pt>
                <c:pt idx="868" formatCode="0.0%">
                  <c:v>0.13541107220910931</c:v>
                </c:pt>
                <c:pt idx="869" formatCode="0.0%">
                  <c:v>0.13541107220910931</c:v>
                </c:pt>
                <c:pt idx="870" formatCode="0.0%">
                  <c:v>0.13541107220910931</c:v>
                </c:pt>
                <c:pt idx="871" formatCode="0.0%">
                  <c:v>0.13541107220910931</c:v>
                </c:pt>
                <c:pt idx="872" formatCode="0.0%">
                  <c:v>0.15349373140861416</c:v>
                </c:pt>
                <c:pt idx="873" formatCode="0.0%">
                  <c:v>0.14829871608948381</c:v>
                </c:pt>
                <c:pt idx="874" formatCode="0.0%">
                  <c:v>0.12502104157084887</c:v>
                </c:pt>
                <c:pt idx="875" formatCode="0.0%">
                  <c:v>0.13601051094405464</c:v>
                </c:pt>
                <c:pt idx="876" formatCode="0.0%">
                  <c:v>0.15199517068636964</c:v>
                </c:pt>
                <c:pt idx="877" formatCode="0.0%">
                  <c:v>0.15199517068636964</c:v>
                </c:pt>
                <c:pt idx="878" formatCode="0.0%">
                  <c:v>0.15199517068636964</c:v>
                </c:pt>
                <c:pt idx="879" formatCode="0.0%">
                  <c:v>0.15199517068636964</c:v>
                </c:pt>
                <c:pt idx="880" formatCode="0.0%">
                  <c:v>0.14600092779739129</c:v>
                </c:pt>
                <c:pt idx="881" formatCode="0.0%">
                  <c:v>0.13930735175601611</c:v>
                </c:pt>
                <c:pt idx="882" formatCode="0.0%">
                  <c:v>0.14160514004810892</c:v>
                </c:pt>
                <c:pt idx="883" formatCode="0.0%">
                  <c:v>0.16048702681746163</c:v>
                </c:pt>
                <c:pt idx="884" formatCode="0.0%">
                  <c:v>0.16048702681746163</c:v>
                </c:pt>
                <c:pt idx="885" formatCode="0.0%">
                  <c:v>0.16048702681746163</c:v>
                </c:pt>
                <c:pt idx="886" formatCode="0.0%">
                  <c:v>0.16048702681746163</c:v>
                </c:pt>
                <c:pt idx="887" formatCode="0.0%">
                  <c:v>0.16618155033896742</c:v>
                </c:pt>
                <c:pt idx="888" formatCode="0.0%">
                  <c:v>0.16058692123491311</c:v>
                </c:pt>
                <c:pt idx="889" formatCode="0.0%">
                  <c:v>0.1546925727633861</c:v>
                </c:pt>
                <c:pt idx="890" formatCode="0.0%">
                  <c:v>0.15898846609521697</c:v>
                </c:pt>
                <c:pt idx="891" formatCode="0.0%">
                  <c:v>0.15898846609521697</c:v>
                </c:pt>
                <c:pt idx="892" formatCode="0.0%">
                  <c:v>0.15898846609521697</c:v>
                </c:pt>
                <c:pt idx="893" formatCode="0.0%">
                  <c:v>0.16148607933733075</c:v>
                </c:pt>
                <c:pt idx="894" formatCode="0.0%">
                  <c:v>0.17167628502557036</c:v>
                </c:pt>
                <c:pt idx="895" formatCode="0.0%">
                  <c:v>0.17427379268513549</c:v>
                </c:pt>
                <c:pt idx="896" formatCode="0.0%">
                  <c:v>0.16987800493585326</c:v>
                </c:pt>
                <c:pt idx="897" formatCode="0.0%">
                  <c:v>0.17797024728202132</c:v>
                </c:pt>
                <c:pt idx="898" formatCode="0.0%">
                  <c:v>0.17797024728202132</c:v>
                </c:pt>
                <c:pt idx="899" formatCode="0.0%">
                  <c:v>0.17797024728202132</c:v>
                </c:pt>
                <c:pt idx="900" formatCode="0.0%">
                  <c:v>0.1659817615040646</c:v>
                </c:pt>
                <c:pt idx="901" formatCode="0.0%">
                  <c:v>0.16058692123491311</c:v>
                </c:pt>
                <c:pt idx="902" formatCode="0.0%">
                  <c:v>0.1546925727633861</c:v>
                </c:pt>
                <c:pt idx="903" formatCode="0.0%">
                  <c:v>0.1525946094213147</c:v>
                </c:pt>
                <c:pt idx="904" formatCode="0.0%">
                  <c:v>0.15549180033323423</c:v>
                </c:pt>
                <c:pt idx="905" formatCode="0.0%">
                  <c:v>0.15549180033323423</c:v>
                </c:pt>
                <c:pt idx="906" formatCode="0.0%">
                  <c:v>0.15549180033323423</c:v>
                </c:pt>
                <c:pt idx="907" formatCode="0.0%">
                  <c:v>0.1556916252832552</c:v>
                </c:pt>
                <c:pt idx="908" formatCode="0.0%">
                  <c:v>0.15029678501410373</c:v>
                </c:pt>
                <c:pt idx="909" formatCode="0.0%">
                  <c:v>0.16238520132463038</c:v>
                </c:pt>
                <c:pt idx="910" formatCode="0.0%">
                  <c:v>0.16578193655404333</c:v>
                </c:pt>
                <c:pt idx="911" formatCode="0.0%">
                  <c:v>0.18116719367653161</c:v>
                </c:pt>
                <c:pt idx="912" formatCode="0.0%">
                  <c:v>0.18116719367653161</c:v>
                </c:pt>
                <c:pt idx="913" formatCode="0.0%">
                  <c:v>0.18116719367653161</c:v>
                </c:pt>
                <c:pt idx="914" formatCode="0.0%">
                  <c:v>0.17797024728202132</c:v>
                </c:pt>
                <c:pt idx="915" formatCode="0.0%">
                  <c:v>0.17866958043441783</c:v>
                </c:pt>
                <c:pt idx="916" formatCode="0.0%">
                  <c:v>0.17557256457247733</c:v>
                </c:pt>
                <c:pt idx="917" formatCode="0.0%">
                  <c:v>0.15748990537297231</c:v>
                </c:pt>
                <c:pt idx="918" formatCode="0.0%">
                  <c:v>0.15609123906817929</c:v>
                </c:pt>
                <c:pt idx="919" formatCode="0.0%">
                  <c:v>0.15609123906817929</c:v>
                </c:pt>
                <c:pt idx="920" formatCode="0.0%">
                  <c:v>0.15609123906817929</c:v>
                </c:pt>
                <c:pt idx="921" formatCode="0.0%">
                  <c:v>0.15449278392848328</c:v>
                </c:pt>
                <c:pt idx="922" formatCode="0.0%">
                  <c:v>0.15938807988014106</c:v>
                </c:pt>
                <c:pt idx="923" formatCode="0.0%">
                  <c:v>0.16688088349136393</c:v>
                </c:pt>
                <c:pt idx="924" formatCode="0.0%">
                  <c:v>0.16638137528898866</c:v>
                </c:pt>
                <c:pt idx="925" formatCode="0.0%">
                  <c:v>0.16408358699689615</c:v>
                </c:pt>
                <c:pt idx="926" formatCode="0.0%">
                  <c:v>0.16408358699689615</c:v>
                </c:pt>
                <c:pt idx="927" formatCode="0.0%">
                  <c:v>0.16408358699689615</c:v>
                </c:pt>
                <c:pt idx="928" formatCode="0.0%">
                  <c:v>0.16368397321197192</c:v>
                </c:pt>
                <c:pt idx="929" formatCode="0.0%">
                  <c:v>0.16658116412389148</c:v>
                </c:pt>
                <c:pt idx="930" formatCode="0.0%">
                  <c:v>0.17547267015502599</c:v>
                </c:pt>
                <c:pt idx="931" formatCode="0.0%">
                  <c:v>0.17487323142008052</c:v>
                </c:pt>
                <c:pt idx="932" formatCode="0.0%">
                  <c:v>0.17926901916936316</c:v>
                </c:pt>
                <c:pt idx="933" formatCode="0.0%">
                  <c:v>0.17926901916936316</c:v>
                </c:pt>
                <c:pt idx="934" formatCode="0.0%">
                  <c:v>0.17926901916936316</c:v>
                </c:pt>
                <c:pt idx="935" formatCode="0.0%">
                  <c:v>0.18326519313372144</c:v>
                </c:pt>
                <c:pt idx="936" formatCode="0.0%">
                  <c:v>0.19185694368226508</c:v>
                </c:pt>
                <c:pt idx="937" formatCode="0.0%">
                  <c:v>0.18446403448849338</c:v>
                </c:pt>
                <c:pt idx="938" formatCode="0.0%">
                  <c:v>0.20114802738320492</c:v>
                </c:pt>
                <c:pt idx="939" formatCode="0.0%">
                  <c:v>0.19255627683466131</c:v>
                </c:pt>
                <c:pt idx="940" formatCode="0.0%">
                  <c:v>0.19255627683466131</c:v>
                </c:pt>
                <c:pt idx="941" formatCode="0.0%">
                  <c:v>0.19255627683466131</c:v>
                </c:pt>
                <c:pt idx="942" formatCode="0.0%">
                  <c:v>0.19325560998705796</c:v>
                </c:pt>
                <c:pt idx="943" formatCode="0.0%">
                  <c:v>0.19045827737747176</c:v>
                </c:pt>
                <c:pt idx="944" formatCode="0.0%">
                  <c:v>0.17946880800426585</c:v>
                </c:pt>
                <c:pt idx="945" formatCode="0.0%">
                  <c:v>0.16708070844138503</c:v>
                </c:pt>
                <c:pt idx="946" formatCode="0.0%">
                  <c:v>0.16538232276911941</c:v>
                </c:pt>
                <c:pt idx="947" formatCode="0.0%">
                  <c:v>0.16538232276911941</c:v>
                </c:pt>
                <c:pt idx="948" formatCode="0.0%">
                  <c:v>0.16538232276911941</c:v>
                </c:pt>
                <c:pt idx="949" formatCode="0.0%">
                  <c:v>0.16698081402393369</c:v>
                </c:pt>
                <c:pt idx="950" formatCode="0.0%">
                  <c:v>0.1606868517674829</c:v>
                </c:pt>
                <c:pt idx="951" formatCode="0.0%">
                  <c:v>0.16248509574208186</c:v>
                </c:pt>
                <c:pt idx="952" formatCode="0.0%">
                  <c:v>0.16817965537870577</c:v>
                </c:pt>
                <c:pt idx="953" formatCode="0.0%">
                  <c:v>0.15659074727055455</c:v>
                </c:pt>
                <c:pt idx="954" formatCode="0.0%">
                  <c:v>0.15659074727055455</c:v>
                </c:pt>
                <c:pt idx="955" formatCode="0.0%">
                  <c:v>0.15659074727055455</c:v>
                </c:pt>
                <c:pt idx="956" formatCode="0.0%">
                  <c:v>0.16478292014929252</c:v>
                </c:pt>
                <c:pt idx="957" formatCode="0.0%">
                  <c:v>0.1525946094213147</c:v>
                </c:pt>
                <c:pt idx="958" formatCode="0.0%">
                  <c:v>0.15479250329595601</c:v>
                </c:pt>
                <c:pt idx="959" formatCode="0.0%">
                  <c:v>0.14570120842991868</c:v>
                </c:pt>
                <c:pt idx="960" formatCode="0.0%">
                  <c:v>0.13780879103377175</c:v>
                </c:pt>
                <c:pt idx="961" formatCode="0.0%">
                  <c:v>0.13780879103377175</c:v>
                </c:pt>
                <c:pt idx="962" formatCode="0.0%">
                  <c:v>0.13780879103377175</c:v>
                </c:pt>
                <c:pt idx="963" formatCode="0.0%">
                  <c:v>0.13830829923614701</c:v>
                </c:pt>
                <c:pt idx="964" formatCode="0.0%">
                  <c:v>0.14749948851963596</c:v>
                </c:pt>
                <c:pt idx="965" formatCode="0.0%">
                  <c:v>0.15549180033323423</c:v>
                </c:pt>
                <c:pt idx="966" formatCode="0.0%">
                  <c:v>0.15579151970070668</c:v>
                </c:pt>
                <c:pt idx="967" formatCode="0.0%">
                  <c:v>0.15089622374904907</c:v>
                </c:pt>
                <c:pt idx="968" formatCode="0.0%">
                  <c:v>0.15089622374904907</c:v>
                </c:pt>
                <c:pt idx="969" formatCode="0.0%">
                  <c:v>0.15089622374904907</c:v>
                </c:pt>
                <c:pt idx="970" formatCode="0.0%">
                  <c:v>0.16418348141434749</c:v>
                </c:pt>
                <c:pt idx="971" formatCode="0.0%">
                  <c:v>0.17277523196289082</c:v>
                </c:pt>
                <c:pt idx="972" formatCode="0.0%">
                  <c:v>0.17367439006530888</c:v>
                </c:pt>
                <c:pt idx="973" formatCode="0.0%">
                  <c:v>0.17697123087727065</c:v>
                </c:pt>
                <c:pt idx="974" formatCode="0.0%">
                  <c:v>0.18256585998132493</c:v>
                </c:pt>
                <c:pt idx="975" formatCode="0.0%">
                  <c:v>0.18256585998132493</c:v>
                </c:pt>
                <c:pt idx="976" formatCode="0.0%">
                  <c:v>0.18256585998132493</c:v>
                </c:pt>
                <c:pt idx="977" formatCode="0.0%">
                  <c:v>0.1835648763860756</c:v>
                </c:pt>
                <c:pt idx="978" formatCode="0.0%">
                  <c:v>0.18456392890594486</c:v>
                </c:pt>
                <c:pt idx="979" formatCode="0.0%">
                  <c:v>0.17527284520500472</c:v>
                </c:pt>
                <c:pt idx="980" formatCode="0.0%">
                  <c:v>0.17067726862081956</c:v>
                </c:pt>
                <c:pt idx="981" formatCode="0.0%">
                  <c:v>0.17057733808824976</c:v>
                </c:pt>
                <c:pt idx="982" formatCode="0.0%">
                  <c:v>0.17057733808824976</c:v>
                </c:pt>
                <c:pt idx="983" formatCode="0.0%">
                  <c:v>0.17057733808824976</c:v>
                </c:pt>
                <c:pt idx="984" formatCode="0.0%">
                  <c:v>0.16917870789857489</c:v>
                </c:pt>
                <c:pt idx="985" formatCode="0.0%">
                  <c:v>0.16957832168349896</c:v>
                </c:pt>
                <c:pt idx="986" formatCode="0.0%">
                  <c:v>0.16738042780885778</c:v>
                </c:pt>
                <c:pt idx="987" formatCode="0.0%">
                  <c:v>0.1788694053844391</c:v>
                </c:pt>
                <c:pt idx="988" formatCode="0.0%">
                  <c:v>0.17647168655977666</c:v>
                </c:pt>
                <c:pt idx="989" formatCode="0.0%">
                  <c:v>0.17647168655977666</c:v>
                </c:pt>
                <c:pt idx="990" formatCode="0.0%">
                  <c:v>0.17647168655977666</c:v>
                </c:pt>
                <c:pt idx="991" formatCode="0.0%">
                  <c:v>0.16678098907391245</c:v>
                </c:pt>
                <c:pt idx="992" formatCode="0.0%">
                  <c:v>0.15768969420787543</c:v>
                </c:pt>
                <c:pt idx="993" formatCode="0.0%">
                  <c:v>0.164882814566744</c:v>
                </c:pt>
                <c:pt idx="994" formatCode="0.0%">
                  <c:v>0.14650043599976656</c:v>
                </c:pt>
                <c:pt idx="995" formatCode="0.0%">
                  <c:v>0.14340342013782603</c:v>
                </c:pt>
                <c:pt idx="996" formatCode="0.0%">
                  <c:v>0.14340342013782603</c:v>
                </c:pt>
                <c:pt idx="997" formatCode="0.0%">
                  <c:v>0.14340342013782603</c:v>
                </c:pt>
                <c:pt idx="998" formatCode="0.0%">
                  <c:v>0.1386080186036196</c:v>
                </c:pt>
                <c:pt idx="999" formatCode="0.0%">
                  <c:v>0.13481163347416428</c:v>
                </c:pt>
                <c:pt idx="1000" formatCode="0.0%">
                  <c:v>0.13311328391701679</c:v>
                </c:pt>
                <c:pt idx="1001" formatCode="0.0%">
                  <c:v>0.13481163347416428</c:v>
                </c:pt>
                <c:pt idx="1002" formatCode="0.0%">
                  <c:v>0.14250426203540825</c:v>
                </c:pt>
                <c:pt idx="1003" formatCode="0.0%">
                  <c:v>0.13631023031152709</c:v>
                </c:pt>
                <c:pt idx="1004" formatCode="0.0%">
                  <c:v>0.13631023031152709</c:v>
                </c:pt>
                <c:pt idx="1005" formatCode="0.0%">
                  <c:v>0.13581068599403337</c:v>
                </c:pt>
                <c:pt idx="1006" formatCode="0.0%">
                  <c:v>0.12731882986294124</c:v>
                </c:pt>
                <c:pt idx="1007" formatCode="0.0%">
                  <c:v>0.12252342832873481</c:v>
                </c:pt>
                <c:pt idx="1008" formatCode="0.0%">
                  <c:v>0.12472132220337613</c:v>
                </c:pt>
                <c:pt idx="1009" formatCode="0.0%">
                  <c:v>0.12791826859788644</c:v>
                </c:pt>
                <c:pt idx="1010" formatCode="0.0%">
                  <c:v>0.12791826859788644</c:v>
                </c:pt>
                <c:pt idx="1011" formatCode="0.0%">
                  <c:v>0.12791826859788644</c:v>
                </c:pt>
                <c:pt idx="1012" formatCode="0.0%">
                  <c:v>0.13011616247252761</c:v>
                </c:pt>
                <c:pt idx="1013" formatCode="0.0%">
                  <c:v>0.14709987473471187</c:v>
                </c:pt>
                <c:pt idx="1014" formatCode="0.0%">
                  <c:v>0.1459009972648215</c:v>
                </c:pt>
                <c:pt idx="1015" formatCode="0.0%">
                  <c:v>0.1517953457363484</c:v>
                </c:pt>
                <c:pt idx="1016" formatCode="0.0%">
                  <c:v>0.14230447320050543</c:v>
                </c:pt>
                <c:pt idx="1017" formatCode="0.0%">
                  <c:v>0.14230447320050543</c:v>
                </c:pt>
                <c:pt idx="1018" formatCode="0.0%">
                  <c:v>0.14230447320050543</c:v>
                </c:pt>
                <c:pt idx="1019" formatCode="0.0%">
                  <c:v>0.14650043599976656</c:v>
                </c:pt>
                <c:pt idx="1020" formatCode="0.0%">
                  <c:v>0.137509071666299</c:v>
                </c:pt>
                <c:pt idx="1021" formatCode="0.0%">
                  <c:v>0.12911710995265849</c:v>
                </c:pt>
                <c:pt idx="1022" formatCode="0.0%">
                  <c:v>0.11642929102230525</c:v>
                </c:pt>
                <c:pt idx="1023" formatCode="0.0%">
                  <c:v>9.9445578760120987E-2</c:v>
                </c:pt>
                <c:pt idx="1024" formatCode="0.0%">
                  <c:v>9.9445578760120987E-2</c:v>
                </c:pt>
                <c:pt idx="1025" formatCode="0.0%">
                  <c:v>9.9445578760120987E-2</c:v>
                </c:pt>
                <c:pt idx="1026" formatCode="0.0%">
                  <c:v>9.3950844073517892E-2</c:v>
                </c:pt>
                <c:pt idx="1027" formatCode="0.0%">
                  <c:v>0.10124385884983809</c:v>
                </c:pt>
                <c:pt idx="1028" formatCode="0.0%">
                  <c:v>9.4949896593387276E-2</c:v>
                </c:pt>
                <c:pt idx="1029" formatCode="0.0%">
                  <c:v>9.3051685971100112E-2</c:v>
                </c:pt>
                <c:pt idx="1030" formatCode="0.0%">
                  <c:v>8.2062252713012776E-2</c:v>
                </c:pt>
                <c:pt idx="1031" formatCode="0.0%">
                  <c:v>8.2062252713012776E-2</c:v>
                </c:pt>
                <c:pt idx="1032" formatCode="0.0%">
                  <c:v>8.2062252713012776E-2</c:v>
                </c:pt>
                <c:pt idx="1033" formatCode="0.0%">
                  <c:v>8.0763480825670933E-2</c:v>
                </c:pt>
                <c:pt idx="1034" formatCode="0.0%">
                  <c:v>9.5049791010838477E-2</c:v>
                </c:pt>
                <c:pt idx="1035" formatCode="0.0%">
                  <c:v>0.10234280578715868</c:v>
                </c:pt>
                <c:pt idx="1036" formatCode="0.0%">
                  <c:v>0.11443118598256689</c:v>
                </c:pt>
                <c:pt idx="1037" formatCode="0.0%">
                  <c:v>0.12222370896126236</c:v>
                </c:pt>
                <c:pt idx="1038" formatCode="0.0%">
                  <c:v>0.12222370896126236</c:v>
                </c:pt>
                <c:pt idx="1039" formatCode="0.0%">
                  <c:v>0.12222370896126236</c:v>
                </c:pt>
                <c:pt idx="1040" formatCode="0.0%">
                  <c:v>0.11992592066916984</c:v>
                </c:pt>
                <c:pt idx="1041" formatCode="0.0%">
                  <c:v>0.12741872428039286</c:v>
                </c:pt>
                <c:pt idx="1042" formatCode="0.0%">
                  <c:v>0.1259201635581482</c:v>
                </c:pt>
                <c:pt idx="1043" formatCode="0.0%">
                  <c:v>0.12891732111775567</c:v>
                </c:pt>
                <c:pt idx="1044" formatCode="0.0%">
                  <c:v>0.12392209463352799</c:v>
                </c:pt>
                <c:pt idx="1045" formatCode="0.0%">
                  <c:v>0.12392209463352799</c:v>
                </c:pt>
                <c:pt idx="1046" formatCode="0.0%">
                  <c:v>0.12392209463352799</c:v>
                </c:pt>
                <c:pt idx="1047" formatCode="0.0%">
                  <c:v>0.13041588184000033</c:v>
                </c:pt>
                <c:pt idx="1048" formatCode="0.0%">
                  <c:v>0.14410275329022254</c:v>
                </c:pt>
                <c:pt idx="1049" formatCode="0.0%">
                  <c:v>0.14949755744425589</c:v>
                </c:pt>
                <c:pt idx="1050" formatCode="0.0%">
                  <c:v>0.14420264770767402</c:v>
                </c:pt>
                <c:pt idx="1051" formatCode="0.0%">
                  <c:v>0.14480208644261922</c:v>
                </c:pt>
                <c:pt idx="1052" formatCode="0.0%">
                  <c:v>0.14480208644261922</c:v>
                </c:pt>
                <c:pt idx="1053" formatCode="0.0%">
                  <c:v>0.14480208644261922</c:v>
                </c:pt>
                <c:pt idx="1054" formatCode="0.0%">
                  <c:v>0.14400282275765292</c:v>
                </c:pt>
                <c:pt idx="1055" formatCode="0.0%">
                  <c:v>0.14789910230455974</c:v>
                </c:pt>
                <c:pt idx="1056" formatCode="0.0%">
                  <c:v>0.16158597375478223</c:v>
                </c:pt>
                <c:pt idx="1057" formatCode="0.0%">
                  <c:v>0.15758979979042378</c:v>
                </c:pt>
                <c:pt idx="1058" formatCode="0.0%">
                  <c:v>0.15719018600549986</c:v>
                </c:pt>
                <c:pt idx="1059" formatCode="0.0%">
                  <c:v>0.15719018600549986</c:v>
                </c:pt>
                <c:pt idx="1060" formatCode="0.0%">
                  <c:v>0.15719018600549986</c:v>
                </c:pt>
                <c:pt idx="1061" formatCode="0.0%">
                  <c:v>0.15679057222057607</c:v>
                </c:pt>
                <c:pt idx="1062" formatCode="0.0%">
                  <c:v>0.15149566248399424</c:v>
                </c:pt>
                <c:pt idx="1063" formatCode="0.0%">
                  <c:v>0.15768969420787543</c:v>
                </c:pt>
                <c:pt idx="1064" formatCode="0.0%">
                  <c:v>0.16358404267940216</c:v>
                </c:pt>
                <c:pt idx="1065" formatCode="0.0%">
                  <c:v>0.17037754925334681</c:v>
                </c:pt>
                <c:pt idx="1066" formatCode="0.0%">
                  <c:v>0.17037754925334681</c:v>
                </c:pt>
                <c:pt idx="1067" formatCode="0.0%">
                  <c:v>0.17037754925334681</c:v>
                </c:pt>
                <c:pt idx="1068" formatCode="0.0%">
                  <c:v>0.17007782988587422</c:v>
                </c:pt>
                <c:pt idx="1069" formatCode="0.0%">
                  <c:v>0.17117677682319482</c:v>
                </c:pt>
                <c:pt idx="1070" formatCode="0.0%">
                  <c:v>0.17866958043441783</c:v>
                </c:pt>
                <c:pt idx="1071" formatCode="0.0%">
                  <c:v>0.17757063349709726</c:v>
                </c:pt>
                <c:pt idx="1072" formatCode="0.0%">
                  <c:v>0.17956873853683561</c:v>
                </c:pt>
                <c:pt idx="1073" formatCode="0.0%">
                  <c:v>0.17956873853683561</c:v>
                </c:pt>
                <c:pt idx="1074" formatCode="0.0%">
                  <c:v>0.17956873853683561</c:v>
                </c:pt>
                <c:pt idx="1075" formatCode="0.0%">
                  <c:v>0.19025848854256894</c:v>
                </c:pt>
                <c:pt idx="1076" formatCode="0.0%">
                  <c:v>0.19265617125211293</c:v>
                </c:pt>
                <c:pt idx="1077" formatCode="0.0%">
                  <c:v>0.19715185341884647</c:v>
                </c:pt>
                <c:pt idx="1078" formatCode="0.0%">
                  <c:v>0.20094823854830238</c:v>
                </c:pt>
                <c:pt idx="1079" formatCode="0.0%">
                  <c:v>0.2072422008047532</c:v>
                </c:pt>
                <c:pt idx="1080" formatCode="0.0%">
                  <c:v>0.2072422008047532</c:v>
                </c:pt>
                <c:pt idx="1081" formatCode="0.0%">
                  <c:v>0.2072422008047532</c:v>
                </c:pt>
                <c:pt idx="1082" formatCode="0.0%">
                  <c:v>0.20154764116812898</c:v>
                </c:pt>
                <c:pt idx="1083" formatCode="0.0%">
                  <c:v>0.20484448198009075</c:v>
                </c:pt>
                <c:pt idx="1084" formatCode="0.0%">
                  <c:v>0.20904044477935188</c:v>
                </c:pt>
                <c:pt idx="1085" formatCode="0.0%">
                  <c:v>0.20384542946022166</c:v>
                </c:pt>
                <c:pt idx="1086" formatCode="0.0%">
                  <c:v>0.20963988351429691</c:v>
                </c:pt>
                <c:pt idx="1087" formatCode="0.0%">
                  <c:v>0.20963988351429691</c:v>
                </c:pt>
                <c:pt idx="1088" formatCode="0.0%">
                  <c:v>0.20963988351429691</c:v>
                </c:pt>
                <c:pt idx="1089" formatCode="0.0%">
                  <c:v>0.20963988351429691</c:v>
                </c:pt>
                <c:pt idx="1090" formatCode="0.0%">
                  <c:v>0.20963988351429691</c:v>
                </c:pt>
                <c:pt idx="1091" formatCode="0.0%">
                  <c:v>0.20414514882769424</c:v>
                </c:pt>
                <c:pt idx="1092" formatCode="0.0%">
                  <c:v>0.20914037531192164</c:v>
                </c:pt>
                <c:pt idx="1093" formatCode="0.0%">
                  <c:v>0.21263700495878624</c:v>
                </c:pt>
                <c:pt idx="1094" formatCode="0.0%">
                  <c:v>0.21263700495878624</c:v>
                </c:pt>
                <c:pt idx="1095" formatCode="0.0%">
                  <c:v>0.21213749675641097</c:v>
                </c:pt>
                <c:pt idx="1096" formatCode="0.0%">
                  <c:v>0.21213749675641097</c:v>
                </c:pt>
                <c:pt idx="1097" formatCode="0.0%">
                  <c:v>0.20963988351429691</c:v>
                </c:pt>
                <c:pt idx="1098" formatCode="0.0%">
                  <c:v>0.19954957224350905</c:v>
                </c:pt>
                <c:pt idx="1099" formatCode="0.0%">
                  <c:v>0.19715185341884647</c:v>
                </c:pt>
                <c:pt idx="1100" formatCode="0.0%">
                  <c:v>0.19555339827915064</c:v>
                </c:pt>
                <c:pt idx="1101" formatCode="0.0%">
                  <c:v>0.19555339827915064</c:v>
                </c:pt>
                <c:pt idx="1102" formatCode="0.0%">
                  <c:v>0.19555339827915064</c:v>
                </c:pt>
                <c:pt idx="1103" formatCode="0.0%">
                  <c:v>0.19795108098869463</c:v>
                </c:pt>
                <c:pt idx="1104" formatCode="0.0%">
                  <c:v>0.20714227027218343</c:v>
                </c:pt>
                <c:pt idx="1105" formatCode="0.0%">
                  <c:v>0.20304620189037365</c:v>
                </c:pt>
                <c:pt idx="1106" formatCode="0.0%">
                  <c:v>0.20594342891741135</c:v>
                </c:pt>
                <c:pt idx="1107" formatCode="0.0%">
                  <c:v>0.21113844423654157</c:v>
                </c:pt>
                <c:pt idx="1108" formatCode="0.0%">
                  <c:v>0.21113844423654157</c:v>
                </c:pt>
                <c:pt idx="1109" formatCode="0.0%">
                  <c:v>0.21113844423654157</c:v>
                </c:pt>
                <c:pt idx="1110" formatCode="0.0%">
                  <c:v>0.21113844423654157</c:v>
                </c:pt>
                <c:pt idx="1111" formatCode="0.0%">
                  <c:v>0.21473500441597593</c:v>
                </c:pt>
                <c:pt idx="1112" formatCode="0.0%">
                  <c:v>0.20394535999279143</c:v>
                </c:pt>
                <c:pt idx="1113" formatCode="0.0%">
                  <c:v>0.21033921666669358</c:v>
                </c:pt>
                <c:pt idx="1114" formatCode="0.0%">
                  <c:v>0.21623356513822059</c:v>
                </c:pt>
                <c:pt idx="1115" formatCode="0.0%">
                  <c:v>0.21623356513822059</c:v>
                </c:pt>
                <c:pt idx="1116" formatCode="0.0%">
                  <c:v>0.21623356513822059</c:v>
                </c:pt>
                <c:pt idx="1117" formatCode="0.0%">
                  <c:v>0.22942092838606784</c:v>
                </c:pt>
                <c:pt idx="1118" formatCode="0.0%">
                  <c:v>0.22862166470110126</c:v>
                </c:pt>
                <c:pt idx="1119" formatCode="0.0%">
                  <c:v>0.23381671613534991</c:v>
                </c:pt>
                <c:pt idx="1120" formatCode="0.0%">
                  <c:v>0.23881190650445916</c:v>
                </c:pt>
                <c:pt idx="1121" formatCode="0.0%">
                  <c:v>0.24210874731642093</c:v>
                </c:pt>
                <c:pt idx="1122" formatCode="0.0%">
                  <c:v>0.24210874731642093</c:v>
                </c:pt>
                <c:pt idx="1123" formatCode="0.0%">
                  <c:v>0.24210874731642093</c:v>
                </c:pt>
                <c:pt idx="1124" formatCode="0.0%">
                  <c:v>0.24450643002596492</c:v>
                </c:pt>
                <c:pt idx="1125" formatCode="0.0%">
                  <c:v>0.25060060344751306</c:v>
                </c:pt>
                <c:pt idx="1126" formatCode="0.0%">
                  <c:v>0.23721345136476329</c:v>
                </c:pt>
                <c:pt idx="1127" formatCode="0.0%">
                  <c:v>0.238012678934611</c:v>
                </c:pt>
                <c:pt idx="1128" formatCode="0.0%">
                  <c:v>0.25409723309437765</c:v>
                </c:pt>
                <c:pt idx="1129" formatCode="0.0%">
                  <c:v>0.25409723309437765</c:v>
                </c:pt>
                <c:pt idx="1130" formatCode="0.0%">
                  <c:v>0.25409723309437765</c:v>
                </c:pt>
                <c:pt idx="1131" formatCode="0.0%">
                  <c:v>0.25540958426623178</c:v>
                </c:pt>
                <c:pt idx="1132" formatCode="0.0%">
                  <c:v>0.25985138267633601</c:v>
                </c:pt>
                <c:pt idx="1133" formatCode="0.0%">
                  <c:v>0.26611024103771713</c:v>
                </c:pt>
                <c:pt idx="1134" formatCode="0.0%">
                  <c:v>0.26348557480912688</c:v>
                </c:pt>
                <c:pt idx="1135" formatCode="0.0%">
                  <c:v>0.26399031970366821</c:v>
                </c:pt>
                <c:pt idx="1136" formatCode="0.0%">
                  <c:v>0.26399031970366821</c:v>
                </c:pt>
                <c:pt idx="1137" formatCode="0.0%">
                  <c:v>0.26399031970366821</c:v>
                </c:pt>
                <c:pt idx="1138" formatCode="0.0%">
                  <c:v>0.27125866785413177</c:v>
                </c:pt>
                <c:pt idx="1139" formatCode="0.0%">
                  <c:v>0.26035612757087717</c:v>
                </c:pt>
                <c:pt idx="1140" formatCode="0.0%">
                  <c:v>0.26550455438729159</c:v>
                </c:pt>
                <c:pt idx="1141" formatCode="0.0%">
                  <c:v>0.27327768354741466</c:v>
                </c:pt>
                <c:pt idx="1142" formatCode="0.0%">
                  <c:v>0.27832516860794443</c:v>
                </c:pt>
                <c:pt idx="1143" formatCode="0.0%">
                  <c:v>0.27832516860794443</c:v>
                </c:pt>
                <c:pt idx="1144" formatCode="0.0%">
                  <c:v>0.27832516860794443</c:v>
                </c:pt>
                <c:pt idx="1145" formatCode="0.0%">
                  <c:v>0.27721470094785916</c:v>
                </c:pt>
                <c:pt idx="1146" formatCode="0.0%">
                  <c:v>0.26711976694191791</c:v>
                </c:pt>
                <c:pt idx="1147" formatCode="0.0%">
                  <c:v>0.26611024103771713</c:v>
                </c:pt>
                <c:pt idx="1148" formatCode="0.0%">
                  <c:v>0.28660304266260878</c:v>
                </c:pt>
                <c:pt idx="1149" formatCode="0.0%">
                  <c:v>0.29084292144582519</c:v>
                </c:pt>
                <c:pt idx="1150" formatCode="0.0%">
                  <c:v>0.29084292144582519</c:v>
                </c:pt>
                <c:pt idx="1151" formatCode="0.0%">
                  <c:v>0.29084292144582519</c:v>
                </c:pt>
                <c:pt idx="1152" formatCode="0.0%">
                  <c:v>0.28599731989706467</c:v>
                </c:pt>
                <c:pt idx="1153" formatCode="0.0%">
                  <c:v>0.28428120170167204</c:v>
                </c:pt>
                <c:pt idx="1154" formatCode="0.0%">
                  <c:v>0.28619923952395199</c:v>
                </c:pt>
                <c:pt idx="1155" formatCode="0.0%">
                  <c:v>0.29104480495759444</c:v>
                </c:pt>
                <c:pt idx="1156" formatCode="0.0%">
                  <c:v>0.29589040650635523</c:v>
                </c:pt>
                <c:pt idx="1157" formatCode="0.0%">
                  <c:v>0.29589040650635523</c:v>
                </c:pt>
                <c:pt idx="1158" formatCode="0.0%">
                  <c:v>0.29589040650635523</c:v>
                </c:pt>
                <c:pt idx="1159" formatCode="0.0%">
                  <c:v>0.2975055829458631</c:v>
                </c:pt>
                <c:pt idx="1160" formatCode="0.0%">
                  <c:v>0.2893286867622018</c:v>
                </c:pt>
                <c:pt idx="1161" formatCode="0.0%">
                  <c:v>0.29134766634036652</c:v>
                </c:pt>
                <c:pt idx="1162" formatCode="0.0%">
                  <c:v>0.30144263646142633</c:v>
                </c:pt>
                <c:pt idx="1163" formatCode="0.0%">
                  <c:v>0.30669200503372507</c:v>
                </c:pt>
                <c:pt idx="1164" formatCode="0.0%">
                  <c:v>0.30669200503372507</c:v>
                </c:pt>
                <c:pt idx="1165" formatCode="0.0%">
                  <c:v>0.30669200503372507</c:v>
                </c:pt>
                <c:pt idx="1166" formatCode="0.0%">
                  <c:v>0.29387139081307223</c:v>
                </c:pt>
                <c:pt idx="1167" formatCode="0.0%">
                  <c:v>0.30608631838329925</c:v>
                </c:pt>
                <c:pt idx="1168" formatCode="0.0%">
                  <c:v>0.30426922231690384</c:v>
                </c:pt>
                <c:pt idx="1169" formatCode="0.0%">
                  <c:v>0.30527871210598645</c:v>
                </c:pt>
                <c:pt idx="1170" formatCode="0.0%">
                  <c:v>0.29639515140089656</c:v>
                </c:pt>
                <c:pt idx="1171" formatCode="0.0%">
                  <c:v>0.29639515140089656</c:v>
                </c:pt>
                <c:pt idx="1172" formatCode="0.0%">
                  <c:v>0.29639515140089656</c:v>
                </c:pt>
                <c:pt idx="1173" formatCode="0.0%">
                  <c:v>0.30214926486773636</c:v>
                </c:pt>
                <c:pt idx="1174" formatCode="0.0%">
                  <c:v>0.30376447742236279</c:v>
                </c:pt>
                <c:pt idx="1175" formatCode="0.0%">
                  <c:v>0.30760055306692263</c:v>
                </c:pt>
                <c:pt idx="1176" formatCode="0.0%">
                  <c:v>0.32294489176028124</c:v>
                </c:pt>
                <c:pt idx="1177" formatCode="0.0%">
                  <c:v>0.32052210904346023</c:v>
                </c:pt>
                <c:pt idx="1178" formatCode="0.0%">
                  <c:v>0.32052210904346023</c:v>
                </c:pt>
                <c:pt idx="1179" formatCode="0.0%">
                  <c:v>0.32052210904346023</c:v>
                </c:pt>
                <c:pt idx="1180" formatCode="0.0%">
                  <c:v>0.31315278302199373</c:v>
                </c:pt>
                <c:pt idx="1181" formatCode="0.0%">
                  <c:v>0.3132537247778785</c:v>
                </c:pt>
                <c:pt idx="1182" formatCode="0.0%">
                  <c:v>0.31597936887747152</c:v>
                </c:pt>
                <c:pt idx="1183" formatCode="0.0%">
                  <c:v>0.31597936887747152</c:v>
                </c:pt>
                <c:pt idx="1184" formatCode="0.0%">
                  <c:v>0.31597936887747152</c:v>
                </c:pt>
                <c:pt idx="1185" formatCode="0.0%">
                  <c:v>0.31597936887747152</c:v>
                </c:pt>
                <c:pt idx="1186" formatCode="0.0%">
                  <c:v>0.323045833516166</c:v>
                </c:pt>
                <c:pt idx="1187" formatCode="0.0%">
                  <c:v>0.323045833516166</c:v>
                </c:pt>
                <c:pt idx="1188" formatCode="0.0%">
                  <c:v>0.30931670737743389</c:v>
                </c:pt>
                <c:pt idx="1189" formatCode="0.0%">
                  <c:v>0.30679294678960983</c:v>
                </c:pt>
                <c:pt idx="1190" formatCode="0.0%">
                  <c:v>0.30901384599466153</c:v>
                </c:pt>
                <c:pt idx="1191" formatCode="0.0%">
                  <c:v>0.2992217372563738</c:v>
                </c:pt>
                <c:pt idx="1192" formatCode="0.0%">
                  <c:v>0.2992217372563738</c:v>
                </c:pt>
                <c:pt idx="1193" formatCode="0.0%">
                  <c:v>0.2992217372563738</c:v>
                </c:pt>
                <c:pt idx="1194" formatCode="0.0%">
                  <c:v>0.30295687114504971</c:v>
                </c:pt>
                <c:pt idx="1195" formatCode="0.0%">
                  <c:v>0.29477993884626985</c:v>
                </c:pt>
                <c:pt idx="1196" formatCode="0.0%">
                  <c:v>0.30154357821731054</c:v>
                </c:pt>
                <c:pt idx="1197" formatCode="0.0%">
                  <c:v>0.29881793411771751</c:v>
                </c:pt>
                <c:pt idx="1198" formatCode="0.0%">
                  <c:v>0.30255306800639287</c:v>
                </c:pt>
                <c:pt idx="1199" formatCode="0.0%">
                  <c:v>0.30255306800639287</c:v>
                </c:pt>
                <c:pt idx="1200" formatCode="0.0%">
                  <c:v>0.30255306800639287</c:v>
                </c:pt>
                <c:pt idx="1201" formatCode="0.0%">
                  <c:v>0.30154357821731054</c:v>
                </c:pt>
                <c:pt idx="1202" formatCode="0.0%">
                  <c:v>0.28296885052981791</c:v>
                </c:pt>
                <c:pt idx="1203" formatCode="0.0%">
                  <c:v>0.28004128680333706</c:v>
                </c:pt>
                <c:pt idx="1204" formatCode="0.0%">
                  <c:v>0.27751756233063135</c:v>
                </c:pt>
                <c:pt idx="1205" formatCode="0.0%">
                  <c:v>0.26984537492639293</c:v>
                </c:pt>
                <c:pt idx="1206" formatCode="0.0%">
                  <c:v>0.26984537492639293</c:v>
                </c:pt>
                <c:pt idx="1207" formatCode="0.0%">
                  <c:v>0.26984537492639293</c:v>
                </c:pt>
                <c:pt idx="1208" formatCode="0.0%">
                  <c:v>0.27297482216464258</c:v>
                </c:pt>
                <c:pt idx="1209" formatCode="0.0%">
                  <c:v>0.28306979228570212</c:v>
                </c:pt>
                <c:pt idx="1210" formatCode="0.0%">
                  <c:v>0.2845840269693255</c:v>
                </c:pt>
                <c:pt idx="1211" formatCode="0.0%">
                  <c:v>0.2714605874810192</c:v>
                </c:pt>
                <c:pt idx="1212" formatCode="0.0%">
                  <c:v>0.29538566161181395</c:v>
                </c:pt>
                <c:pt idx="1213" formatCode="0.0%">
                  <c:v>0.29538566161181395</c:v>
                </c:pt>
                <c:pt idx="1214" formatCode="0.0%">
                  <c:v>0.29538566161181395</c:v>
                </c:pt>
                <c:pt idx="1215" formatCode="0.0%">
                  <c:v>0.29518374198492636</c:v>
                </c:pt>
                <c:pt idx="1216" formatCode="0.0%">
                  <c:v>0.28074795132476538</c:v>
                </c:pt>
                <c:pt idx="1217" formatCode="0.0%">
                  <c:v>0.2748928599869227</c:v>
                </c:pt>
                <c:pt idx="1218" formatCode="0.0%">
                  <c:v>0.27519572136969472</c:v>
                </c:pt>
                <c:pt idx="1219" formatCode="0.0%">
                  <c:v>0.28226218600838904</c:v>
                </c:pt>
                <c:pt idx="1220" formatCode="0.0%">
                  <c:v>0.28226218600838904</c:v>
                </c:pt>
                <c:pt idx="1221" formatCode="0.0%">
                  <c:v>0.28226218600838904</c:v>
                </c:pt>
                <c:pt idx="1222" formatCode="0.0%">
                  <c:v>0.29144860809625101</c:v>
                </c:pt>
                <c:pt idx="1223" formatCode="0.0%">
                  <c:v>0.30063503018411297</c:v>
                </c:pt>
                <c:pt idx="1224" formatCode="0.0%">
                  <c:v>0.30325973252782146</c:v>
                </c:pt>
                <c:pt idx="1225" formatCode="0.0%">
                  <c:v>0.30325973252782146</c:v>
                </c:pt>
                <c:pt idx="1226" formatCode="0.0%">
                  <c:v>0.30325973252782146</c:v>
                </c:pt>
                <c:pt idx="1227" formatCode="0.0%">
                  <c:v>0.30325973252782146</c:v>
                </c:pt>
                <c:pt idx="1228" formatCode="0.0%">
                  <c:v>0.30325973252782146</c:v>
                </c:pt>
                <c:pt idx="1229" formatCode="0.0%">
                  <c:v>0.31295089951022476</c:v>
                </c:pt>
                <c:pt idx="1230" formatCode="0.0%">
                  <c:v>0.31224423498879617</c:v>
                </c:pt>
                <c:pt idx="1231" formatCode="0.0%">
                  <c:v>0.32062305079934478</c:v>
                </c:pt>
                <c:pt idx="1232" formatCode="0.0%">
                  <c:v>0.32849712171535261</c:v>
                </c:pt>
                <c:pt idx="1233" formatCode="0.0%">
                  <c:v>0.32203634372708395</c:v>
                </c:pt>
                <c:pt idx="1234" formatCode="0.0%">
                  <c:v>0.32203634372708395</c:v>
                </c:pt>
                <c:pt idx="1235" formatCode="0.0%">
                  <c:v>0.32203634372708395</c:v>
                </c:pt>
                <c:pt idx="1236" formatCode="0.0%">
                  <c:v>0.32203634372708395</c:v>
                </c:pt>
                <c:pt idx="1237" formatCode="0.0%">
                  <c:v>0.32698288703172923</c:v>
                </c:pt>
                <c:pt idx="1238" formatCode="0.0%">
                  <c:v>0.33122276581494559</c:v>
                </c:pt>
                <c:pt idx="1239" formatCode="0.0%">
                  <c:v>0.33404935167042338</c:v>
                </c:pt>
                <c:pt idx="1240" formatCode="0.0%">
                  <c:v>0.32728571229938269</c:v>
                </c:pt>
                <c:pt idx="1241" formatCode="0.0%">
                  <c:v>0.32728571229938269</c:v>
                </c:pt>
                <c:pt idx="1242" formatCode="0.0%">
                  <c:v>0.32728571229938269</c:v>
                </c:pt>
                <c:pt idx="1243" formatCode="0.0%">
                  <c:v>0.33051610129351727</c:v>
                </c:pt>
                <c:pt idx="1244" formatCode="0.0%">
                  <c:v>0.32314681138716905</c:v>
                </c:pt>
                <c:pt idx="1245" formatCode="0.0%">
                  <c:v>0.31809932632663901</c:v>
                </c:pt>
                <c:pt idx="1246" formatCode="0.0%">
                  <c:v>0.31224423498879617</c:v>
                </c:pt>
                <c:pt idx="1247" formatCode="0.0%">
                  <c:v>0.31870501297706483</c:v>
                </c:pt>
                <c:pt idx="1248" formatCode="0.0%">
                  <c:v>0.31870501297706483</c:v>
                </c:pt>
                <c:pt idx="1249" formatCode="0.0%">
                  <c:v>0.31870501297706483</c:v>
                </c:pt>
                <c:pt idx="1250" formatCode="0.0%">
                  <c:v>0.31920975787160588</c:v>
                </c:pt>
                <c:pt idx="1251" formatCode="0.0%">
                  <c:v>0.31547462398293047</c:v>
                </c:pt>
                <c:pt idx="1252" formatCode="0.0%">
                  <c:v>0.31547462398293047</c:v>
                </c:pt>
                <c:pt idx="1253" formatCode="0.0%">
                  <c:v>0.33334272326411335</c:v>
                </c:pt>
                <c:pt idx="1254" formatCode="0.0%">
                  <c:v>0.34151961944777443</c:v>
                </c:pt>
                <c:pt idx="1255" formatCode="0.0%">
                  <c:v>0.34151961944777443</c:v>
                </c:pt>
                <c:pt idx="1256" formatCode="0.0%">
                  <c:v>0.34151961944777443</c:v>
                </c:pt>
                <c:pt idx="1257" formatCode="0.0%">
                  <c:v>0.33929872024272245</c:v>
                </c:pt>
                <c:pt idx="1258" formatCode="0.0%">
                  <c:v>0.33839017220952455</c:v>
                </c:pt>
                <c:pt idx="1259" formatCode="0.0%">
                  <c:v>0.34828325881881511</c:v>
                </c:pt>
                <c:pt idx="1260" formatCode="0.0%">
                  <c:v>0.3440433800355987</c:v>
                </c:pt>
                <c:pt idx="1261" formatCode="0.0%">
                  <c:v>0.34777851392427406</c:v>
                </c:pt>
                <c:pt idx="1262" formatCode="0.0%">
                  <c:v>0.34777851392427406</c:v>
                </c:pt>
                <c:pt idx="1263" formatCode="0.0%">
                  <c:v>0.34777851392427406</c:v>
                </c:pt>
                <c:pt idx="1264" formatCode="0.0%">
                  <c:v>0.34495192806879627</c:v>
                </c:pt>
                <c:pt idx="1265" formatCode="0.0%">
                  <c:v>0.35615732973482295</c:v>
                </c:pt>
                <c:pt idx="1266" formatCode="0.0%">
                  <c:v>0.35696493601213575</c:v>
                </c:pt>
                <c:pt idx="1267" formatCode="0.0%">
                  <c:v>0.36039720851803964</c:v>
                </c:pt>
                <c:pt idx="1268" formatCode="0.0%">
                  <c:v>0.35908485734618523</c:v>
                </c:pt>
                <c:pt idx="1269" formatCode="0.0%">
                  <c:v>0.35908485734618523</c:v>
                </c:pt>
                <c:pt idx="1270" formatCode="0.0%">
                  <c:v>0.35908485734618523</c:v>
                </c:pt>
                <c:pt idx="1271" formatCode="0.0%">
                  <c:v>0.36201238495754751</c:v>
                </c:pt>
                <c:pt idx="1272" formatCode="0.0%">
                  <c:v>0.3580753675571029</c:v>
                </c:pt>
                <c:pt idx="1273" formatCode="0.0%">
                  <c:v>0.35312882425245762</c:v>
                </c:pt>
                <c:pt idx="1274" formatCode="0.0%">
                  <c:v>0.35423929191254272</c:v>
                </c:pt>
                <c:pt idx="1275" formatCode="0.0%">
                  <c:v>0.356662074629364</c:v>
                </c:pt>
                <c:pt idx="1276" formatCode="0.0%">
                  <c:v>0.356662074629364</c:v>
                </c:pt>
                <c:pt idx="1277" formatCode="0.0%">
                  <c:v>0.34666804626418868</c:v>
                </c:pt>
                <c:pt idx="1278" formatCode="0.0%">
                  <c:v>0.34040918790280755</c:v>
                </c:pt>
                <c:pt idx="1279" formatCode="0.0%">
                  <c:v>0.33939969811372522</c:v>
                </c:pt>
                <c:pt idx="1280" formatCode="0.0%">
                  <c:v>0.34101487455323337</c:v>
                </c:pt>
                <c:pt idx="1281" formatCode="0.0%">
                  <c:v>0.34596141785787837</c:v>
                </c:pt>
                <c:pt idx="1282" formatCode="0.0%">
                  <c:v>0.3413177359360054</c:v>
                </c:pt>
                <c:pt idx="1283" formatCode="0.0%">
                  <c:v>0.3413177359360054</c:v>
                </c:pt>
                <c:pt idx="1284" formatCode="0.0%">
                  <c:v>0.3413177359360054</c:v>
                </c:pt>
                <c:pt idx="1285" formatCode="0.0%">
                  <c:v>0.34868706195747168</c:v>
                </c:pt>
                <c:pt idx="1286" formatCode="0.0%">
                  <c:v>0.34545667296333732</c:v>
                </c:pt>
                <c:pt idx="1287" formatCode="0.0%">
                  <c:v>0.34505286982468081</c:v>
                </c:pt>
                <c:pt idx="1288" formatCode="0.0%">
                  <c:v>0.35423929191254272</c:v>
                </c:pt>
                <c:pt idx="1289" formatCode="0.0%">
                  <c:v>0.36080101165669587</c:v>
                </c:pt>
                <c:pt idx="1290" formatCode="0.0%">
                  <c:v>0.36080101165669587</c:v>
                </c:pt>
                <c:pt idx="1291" formatCode="0.0%">
                  <c:v>0.36080101165669587</c:v>
                </c:pt>
                <c:pt idx="1292" formatCode="0.0%">
                  <c:v>0.36009434713526728</c:v>
                </c:pt>
                <c:pt idx="1293" formatCode="0.0%">
                  <c:v>0.36665610299453932</c:v>
                </c:pt>
                <c:pt idx="1294" formatCode="0.0%">
                  <c:v>0.35272502111380105</c:v>
                </c:pt>
                <c:pt idx="1295" formatCode="0.0%">
                  <c:v>0.35141270605706493</c:v>
                </c:pt>
                <c:pt idx="1296" formatCode="0.0%">
                  <c:v>0.33687593752590117</c:v>
                </c:pt>
                <c:pt idx="1297" formatCode="0.0%">
                  <c:v>0.33687593752590117</c:v>
                </c:pt>
                <c:pt idx="1298" formatCode="0.0%">
                  <c:v>0.33687593752590117</c:v>
                </c:pt>
                <c:pt idx="1299" formatCode="0.0%">
                  <c:v>0.34858612020158747</c:v>
                </c:pt>
                <c:pt idx="1300" formatCode="0.0%">
                  <c:v>0.36090195341258069</c:v>
                </c:pt>
                <c:pt idx="1301" formatCode="0.0%">
                  <c:v>0.34525475333644978</c:v>
                </c:pt>
                <c:pt idx="1302" formatCode="0.0%">
                  <c:v>0.33263605874268476</c:v>
                </c:pt>
                <c:pt idx="1303" formatCode="0.0%">
                  <c:v>0.34495192806879627</c:v>
                </c:pt>
                <c:pt idx="1304" formatCode="0.0%">
                  <c:v>0.34495192806879627</c:v>
                </c:pt>
                <c:pt idx="1305" formatCode="0.0%">
                  <c:v>0.34495192806879627</c:v>
                </c:pt>
                <c:pt idx="1306" formatCode="0.0%">
                  <c:v>0.35100890291840842</c:v>
                </c:pt>
                <c:pt idx="1307" formatCode="0.0%">
                  <c:v>0.35484497856296854</c:v>
                </c:pt>
                <c:pt idx="1308" formatCode="0.0%">
                  <c:v>0.36716084788908032</c:v>
                </c:pt>
                <c:pt idx="1309" formatCode="0.0%">
                  <c:v>0.36150764006300617</c:v>
                </c:pt>
                <c:pt idx="1310" formatCode="0.0%">
                  <c:v>0.31052808067828491</c:v>
                </c:pt>
                <c:pt idx="1311" formatCode="0.0%">
                  <c:v>0.31052808067828491</c:v>
                </c:pt>
                <c:pt idx="1312" formatCode="0.0%">
                  <c:v>0.31052808067828491</c:v>
                </c:pt>
                <c:pt idx="1313" formatCode="0.0%">
                  <c:v>0.27771944584240033</c:v>
                </c:pt>
                <c:pt idx="1314" formatCode="0.0%">
                  <c:v>0.30255306800639287</c:v>
                </c:pt>
                <c:pt idx="1315" formatCode="0.0%">
                  <c:v>0.3121432932329114</c:v>
                </c:pt>
                <c:pt idx="1316" formatCode="0.0%">
                  <c:v>0.31022525541063145</c:v>
                </c:pt>
                <c:pt idx="1317" formatCode="0.0%">
                  <c:v>0.31305184126610924</c:v>
                </c:pt>
                <c:pt idx="1318" formatCode="0.0%">
                  <c:v>0.31305184126610924</c:v>
                </c:pt>
                <c:pt idx="1319" formatCode="0.0%">
                  <c:v>0.31305184126610924</c:v>
                </c:pt>
                <c:pt idx="1320" formatCode="0.0%">
                  <c:v>0.31789740669975147</c:v>
                </c:pt>
                <c:pt idx="1321" formatCode="0.0%">
                  <c:v>0.32072399255522954</c:v>
                </c:pt>
                <c:pt idx="1322" formatCode="0.0%">
                  <c:v>0.31860407122118006</c:v>
                </c:pt>
                <c:pt idx="1323" formatCode="0.0%">
                  <c:v>0.34303389024651609</c:v>
                </c:pt>
                <c:pt idx="1324" formatCode="0.0%">
                  <c:v>0.3481823170629309</c:v>
                </c:pt>
                <c:pt idx="1325" formatCode="0.0%">
                  <c:v>0.3481823170629309</c:v>
                </c:pt>
                <c:pt idx="1326" formatCode="0.0%">
                  <c:v>0.3481823170629309</c:v>
                </c:pt>
                <c:pt idx="1327" formatCode="0.0%">
                  <c:v>0.34747565254150203</c:v>
                </c:pt>
                <c:pt idx="1328" formatCode="0.0%">
                  <c:v>0.34848514233058436</c:v>
                </c:pt>
                <c:pt idx="1329" formatCode="0.0%">
                  <c:v>0.35141270605706493</c:v>
                </c:pt>
                <c:pt idx="1330" formatCode="0.0%">
                  <c:v>0.35595541010793541</c:v>
                </c:pt>
                <c:pt idx="1331" formatCode="0.0%">
                  <c:v>0.35232125409026283</c:v>
                </c:pt>
                <c:pt idx="1332" formatCode="0.0%">
                  <c:v>0.35232125409026283</c:v>
                </c:pt>
                <c:pt idx="1333" formatCode="0.0%">
                  <c:v>0.35232125409026283</c:v>
                </c:pt>
                <c:pt idx="1334" formatCode="0.0%">
                  <c:v>0.35363356914699862</c:v>
                </c:pt>
                <c:pt idx="1335" formatCode="0.0%">
                  <c:v>0.35373454701800144</c:v>
                </c:pt>
                <c:pt idx="1336" formatCode="0.0%">
                  <c:v>0.36100289516846518</c:v>
                </c:pt>
                <c:pt idx="1337" formatCode="0.0%">
                  <c:v>0.37543868582862616</c:v>
                </c:pt>
                <c:pt idx="1338" formatCode="0.0%">
                  <c:v>0.37594346683828578</c:v>
                </c:pt>
                <c:pt idx="1339" formatCode="0.0%">
                  <c:v>0.37836624955510673</c:v>
                </c:pt>
                <c:pt idx="1340" formatCode="0.0%">
                  <c:v>0.37836624955510673</c:v>
                </c:pt>
                <c:pt idx="1341" formatCode="0.0%">
                  <c:v>0.37341970625046145</c:v>
                </c:pt>
                <c:pt idx="1342" formatCode="0.0%">
                  <c:v>0.36827127943404719</c:v>
                </c:pt>
                <c:pt idx="1343" formatCode="0.0%">
                  <c:v>0.35444117542431203</c:v>
                </c:pt>
                <c:pt idx="1344" formatCode="0.0%">
                  <c:v>0.34787945568015854</c:v>
                </c:pt>
                <c:pt idx="1345" formatCode="0.0%">
                  <c:v>0.33293892012545656</c:v>
                </c:pt>
                <c:pt idx="1346" formatCode="0.0%">
                  <c:v>0.33293892012545656</c:v>
                </c:pt>
                <c:pt idx="1347" formatCode="0.0%">
                  <c:v>0.33293892012545656</c:v>
                </c:pt>
                <c:pt idx="1348" formatCode="0.0%">
                  <c:v>0.34586047610199416</c:v>
                </c:pt>
                <c:pt idx="1349" formatCode="0.0%">
                  <c:v>0.35090796116252393</c:v>
                </c:pt>
                <c:pt idx="1350" formatCode="0.0%">
                  <c:v>0.34172153907466196</c:v>
                </c:pt>
                <c:pt idx="1351" formatCode="0.0%">
                  <c:v>0.36695892826219279</c:v>
                </c:pt>
                <c:pt idx="1352" formatCode="0.0%">
                  <c:v>0.37786150466056567</c:v>
                </c:pt>
                <c:pt idx="1353" formatCode="0.0%">
                  <c:v>0.37786150466056567</c:v>
                </c:pt>
                <c:pt idx="1354" formatCode="0.0%">
                  <c:v>0.37786150466056567</c:v>
                </c:pt>
                <c:pt idx="1355" formatCode="0.0%">
                  <c:v>0.37422731252777452</c:v>
                </c:pt>
                <c:pt idx="1356" formatCode="0.0%">
                  <c:v>0.38230326695555134</c:v>
                </c:pt>
                <c:pt idx="1357" formatCode="0.0%">
                  <c:v>0.37331876449457696</c:v>
                </c:pt>
                <c:pt idx="1358" formatCode="0.0%">
                  <c:v>0.38916784808247684</c:v>
                </c:pt>
                <c:pt idx="1359" formatCode="0.0%">
                  <c:v>0.37786150466056567</c:v>
                </c:pt>
                <c:pt idx="1360" formatCode="0.0%">
                  <c:v>0.37786150466056567</c:v>
                </c:pt>
                <c:pt idx="1361" formatCode="0.0%">
                  <c:v>0.37786150466056567</c:v>
                </c:pt>
                <c:pt idx="1362" formatCode="0.0%">
                  <c:v>0.38331275674463372</c:v>
                </c:pt>
                <c:pt idx="1363" formatCode="0.0%">
                  <c:v>0.3820004416878976</c:v>
                </c:pt>
                <c:pt idx="1364" formatCode="0.0%">
                  <c:v>0.38068809051604319</c:v>
                </c:pt>
                <c:pt idx="1365" formatCode="0.0%">
                  <c:v>0.39371058824846555</c:v>
                </c:pt>
                <c:pt idx="1366" formatCode="0.0%">
                  <c:v>0.39825332841445432</c:v>
                </c:pt>
                <c:pt idx="1367" formatCode="0.0%">
                  <c:v>0.39825332841445432</c:v>
                </c:pt>
                <c:pt idx="1368" formatCode="0.0%">
                  <c:v>0.39825332841445432</c:v>
                </c:pt>
                <c:pt idx="1369" formatCode="0.0%">
                  <c:v>0.38926878983836133</c:v>
                </c:pt>
                <c:pt idx="1370" formatCode="0.0%">
                  <c:v>0.38694694887742459</c:v>
                </c:pt>
                <c:pt idx="1371" formatCode="0.0%">
                  <c:v>0.39078306063710327</c:v>
                </c:pt>
                <c:pt idx="1372" formatCode="0.0%">
                  <c:v>0.3847260857874909</c:v>
                </c:pt>
                <c:pt idx="1373" formatCode="0.0%">
                  <c:v>0.38745169377196559</c:v>
                </c:pt>
                <c:pt idx="1374" formatCode="0.0%">
                  <c:v>0.38745169377196559</c:v>
                </c:pt>
                <c:pt idx="1375" formatCode="0.0%">
                  <c:v>0.38745169377196559</c:v>
                </c:pt>
                <c:pt idx="1376" formatCode="0.0%">
                  <c:v>0.38805741653750997</c:v>
                </c:pt>
                <c:pt idx="1377" formatCode="0.0%">
                  <c:v>0.39007639611567468</c:v>
                </c:pt>
                <c:pt idx="1378" formatCode="0.0%">
                  <c:v>0.40047422761950602</c:v>
                </c:pt>
                <c:pt idx="1379" formatCode="0.0%">
                  <c:v>0.40451218677583539</c:v>
                </c:pt>
                <c:pt idx="1380" formatCode="0.0%">
                  <c:v>0.41127582614687613</c:v>
                </c:pt>
                <c:pt idx="1381" formatCode="0.0%">
                  <c:v>0.41127582614687613</c:v>
                </c:pt>
                <c:pt idx="1382" formatCode="0.0%">
                  <c:v>0.41127582614687613</c:v>
                </c:pt>
                <c:pt idx="1383" formatCode="0.0%">
                  <c:v>0.42338977584610066</c:v>
                </c:pt>
                <c:pt idx="1384" formatCode="0.0%">
                  <c:v>0.41763566237926031</c:v>
                </c:pt>
                <c:pt idx="1385" formatCode="0.0%">
                  <c:v>0.41329480572504051</c:v>
                </c:pt>
                <c:pt idx="1386" formatCode="0.0%">
                  <c:v>0.42550973329526814</c:v>
                </c:pt>
                <c:pt idx="1387" formatCode="0.0%">
                  <c:v>0.42349071760198487</c:v>
                </c:pt>
                <c:pt idx="1388" formatCode="0.0%">
                  <c:v>0.42349071760198487</c:v>
                </c:pt>
                <c:pt idx="1389" formatCode="0.0%">
                  <c:v>0.42349071760198487</c:v>
                </c:pt>
                <c:pt idx="1390" formatCode="0.0%">
                  <c:v>0.4230869144633283</c:v>
                </c:pt>
                <c:pt idx="1391" formatCode="0.0%">
                  <c:v>0.4175346845082572</c:v>
                </c:pt>
                <c:pt idx="1392" formatCode="0.0%">
                  <c:v>0.41561664668597731</c:v>
                </c:pt>
                <c:pt idx="1393" formatCode="0.0%">
                  <c:v>0.4101653584867907</c:v>
                </c:pt>
                <c:pt idx="1394" formatCode="0.0%">
                  <c:v>0.4092568465687117</c:v>
                </c:pt>
                <c:pt idx="1395" formatCode="0.0%">
                  <c:v>0.4092568465687117</c:v>
                </c:pt>
                <c:pt idx="1396" formatCode="0.0%">
                  <c:v>0.4092568465687117</c:v>
                </c:pt>
                <c:pt idx="1397" formatCode="0.0%">
                  <c:v>0.40844924029139806</c:v>
                </c:pt>
                <c:pt idx="1398" formatCode="0.0%">
                  <c:v>0.41036727811367824</c:v>
                </c:pt>
                <c:pt idx="1399" formatCode="0.0%">
                  <c:v>0.40239226544178619</c:v>
                </c:pt>
                <c:pt idx="1400" formatCode="0.0%">
                  <c:v>0.37341970625046145</c:v>
                </c:pt>
                <c:pt idx="1401" formatCode="0.0%">
                  <c:v>0.38947070946524887</c:v>
                </c:pt>
                <c:pt idx="1402" formatCode="0.0%">
                  <c:v>0.38947070946524887</c:v>
                </c:pt>
                <c:pt idx="1403" formatCode="0.0%">
                  <c:v>0.38947070946524887</c:v>
                </c:pt>
                <c:pt idx="1404" formatCode="0.0%">
                  <c:v>0.38149569679335682</c:v>
                </c:pt>
                <c:pt idx="1405" formatCode="0.0%">
                  <c:v>0.38583651733245772</c:v>
                </c:pt>
                <c:pt idx="1406" formatCode="0.0%">
                  <c:v>0.42076507350239184</c:v>
                </c:pt>
                <c:pt idx="1407" formatCode="0.0%">
                  <c:v>0.42530781366838055</c:v>
                </c:pt>
                <c:pt idx="1408" formatCode="0.0%">
                  <c:v>0.43449423575624252</c:v>
                </c:pt>
                <c:pt idx="1409" formatCode="0.0%">
                  <c:v>0.43449423575624252</c:v>
                </c:pt>
                <c:pt idx="1410" formatCode="0.0%">
                  <c:v>0.43449423575624252</c:v>
                </c:pt>
                <c:pt idx="1411" formatCode="0.0%">
                  <c:v>0.44751673348866433</c:v>
                </c:pt>
                <c:pt idx="1412" formatCode="0.0%">
                  <c:v>0.43984458219954403</c:v>
                </c:pt>
                <c:pt idx="1413" formatCode="0.0%">
                  <c:v>0.43257619793396229</c:v>
                </c:pt>
                <c:pt idx="1414" formatCode="0.0%">
                  <c:v>0.43732082161172003</c:v>
                </c:pt>
                <c:pt idx="1415" formatCode="0.0%">
                  <c:v>0.41480907652378252</c:v>
                </c:pt>
                <c:pt idx="1416" formatCode="0.0%">
                  <c:v>0.41480907652378252</c:v>
                </c:pt>
                <c:pt idx="1417" formatCode="0.0%">
                  <c:v>0.41480907652378252</c:v>
                </c:pt>
                <c:pt idx="1418" formatCode="0.0%">
                  <c:v>0.41279006083049952</c:v>
                </c:pt>
                <c:pt idx="1419" formatCode="0.0%">
                  <c:v>0.40885304343005513</c:v>
                </c:pt>
                <c:pt idx="1420" formatCode="0.0%">
                  <c:v>0.41612139158051831</c:v>
                </c:pt>
                <c:pt idx="1421" formatCode="0.0%">
                  <c:v>0.42248122781290276</c:v>
                </c:pt>
                <c:pt idx="1422" formatCode="0.0%">
                  <c:v>0.45165567051599653</c:v>
                </c:pt>
                <c:pt idx="1423" formatCode="0.0%">
                  <c:v>0.45165567051599653</c:v>
                </c:pt>
                <c:pt idx="1424" formatCode="0.0%">
                  <c:v>0.45165567051599653</c:v>
                </c:pt>
                <c:pt idx="1425" formatCode="0.0%">
                  <c:v>0.44993951620548556</c:v>
                </c:pt>
                <c:pt idx="1426" formatCode="0.0%">
                  <c:v>0.44882908466051874</c:v>
                </c:pt>
                <c:pt idx="1427" formatCode="0.0%">
                  <c:v>0.44176262002182398</c:v>
                </c:pt>
                <c:pt idx="1428" formatCode="0.0%">
                  <c:v>0.44812242013909015</c:v>
                </c:pt>
                <c:pt idx="1429" formatCode="0.0%">
                  <c:v>0.45014143583237287</c:v>
                </c:pt>
                <c:pt idx="1430" formatCode="0.0%">
                  <c:v>0.44983857444960107</c:v>
                </c:pt>
                <c:pt idx="1431" formatCode="0.0%">
                  <c:v>0.44983857444960107</c:v>
                </c:pt>
                <c:pt idx="1432" formatCode="0.0%">
                  <c:v>0.46286107218202288</c:v>
                </c:pt>
                <c:pt idx="1433" formatCode="0.0%">
                  <c:v>0.4613468374983995</c:v>
                </c:pt>
                <c:pt idx="1434" formatCode="0.0%">
                  <c:v>0.46720192883624262</c:v>
                </c:pt>
                <c:pt idx="1435" formatCode="0.0%">
                  <c:v>0.45932785792023512</c:v>
                </c:pt>
                <c:pt idx="1436" formatCode="0.0%">
                  <c:v>0.46064020909208919</c:v>
                </c:pt>
                <c:pt idx="1437" formatCode="0.0%">
                  <c:v>0.46064020909208919</c:v>
                </c:pt>
                <c:pt idx="1438" formatCode="0.0%">
                  <c:v>0.46064020909208919</c:v>
                </c:pt>
                <c:pt idx="1439" formatCode="0.0%">
                  <c:v>0.45417943110382053</c:v>
                </c:pt>
                <c:pt idx="1440" formatCode="0.0%">
                  <c:v>0.45074712248279863</c:v>
                </c:pt>
                <c:pt idx="1441" formatCode="0.0%">
                  <c:v>0.45528986264878768</c:v>
                </c:pt>
                <c:pt idx="1442" formatCode="0.0%">
                  <c:v>0.45458319812735881</c:v>
                </c:pt>
                <c:pt idx="1443" formatCode="0.0%">
                  <c:v>0.44388254135587346</c:v>
                </c:pt>
                <c:pt idx="1444" formatCode="0.0%">
                  <c:v>0.44388254135587346</c:v>
                </c:pt>
                <c:pt idx="1445" formatCode="0.0%">
                  <c:v>0.44388254135587346</c:v>
                </c:pt>
                <c:pt idx="1446" formatCode="0.0%">
                  <c:v>0.44368065784410421</c:v>
                </c:pt>
                <c:pt idx="1447" formatCode="0.0%">
                  <c:v>0.43560466730120906</c:v>
                </c:pt>
                <c:pt idx="1448" formatCode="0.0%">
                  <c:v>0.44196450353359323</c:v>
                </c:pt>
                <c:pt idx="1449" formatCode="0.0%">
                  <c:v>0.41470809865277969</c:v>
                </c:pt>
                <c:pt idx="1450" formatCode="0.0%">
                  <c:v>0.41036727811367824</c:v>
                </c:pt>
                <c:pt idx="1451" formatCode="0.0%">
                  <c:v>0.41036727811367824</c:v>
                </c:pt>
                <c:pt idx="1452" formatCode="0.0%">
                  <c:v>0.41036727811367824</c:v>
                </c:pt>
                <c:pt idx="1453" formatCode="0.0%">
                  <c:v>0.41339574748092534</c:v>
                </c:pt>
                <c:pt idx="1454" formatCode="0.0%">
                  <c:v>0.41339574748092534</c:v>
                </c:pt>
                <c:pt idx="1455" formatCode="0.0%">
                  <c:v>0.41339574748092534</c:v>
                </c:pt>
                <c:pt idx="1456" formatCode="0.0%">
                  <c:v>0.41339574748092534</c:v>
                </c:pt>
                <c:pt idx="1457" formatCode="0.0%">
                  <c:v>0.4157175884418618</c:v>
                </c:pt>
                <c:pt idx="1458" formatCode="0.0%">
                  <c:v>0.4157175884418618</c:v>
                </c:pt>
                <c:pt idx="1459" formatCode="0.0%">
                  <c:v>0.4157175884418618</c:v>
                </c:pt>
                <c:pt idx="1460" formatCode="0.0%">
                  <c:v>0.40562265443592083</c:v>
                </c:pt>
                <c:pt idx="1461" formatCode="0.0%">
                  <c:v>0.41218437418007398</c:v>
                </c:pt>
                <c:pt idx="1462" formatCode="0.0%">
                  <c:v>0.41218437418007398</c:v>
                </c:pt>
                <c:pt idx="1463" formatCode="0.0%">
                  <c:v>0.42520687191249579</c:v>
                </c:pt>
                <c:pt idx="1464" formatCode="0.0%">
                  <c:v>0.42268314743979007</c:v>
                </c:pt>
                <c:pt idx="1465" formatCode="0.0%">
                  <c:v>0.42268314743979007</c:v>
                </c:pt>
                <c:pt idx="1466" formatCode="0.0%">
                  <c:v>0.42268314743979007</c:v>
                </c:pt>
                <c:pt idx="1467" formatCode="0.0%">
                  <c:v>0.4321723947953055</c:v>
                </c:pt>
                <c:pt idx="1468" formatCode="0.0%">
                  <c:v>0.42793251601208937</c:v>
                </c:pt>
                <c:pt idx="1469" formatCode="0.0%">
                  <c:v>0.42662016484023468</c:v>
                </c:pt>
                <c:pt idx="1470" formatCode="0.0%">
                  <c:v>0.43005243734613802</c:v>
                </c:pt>
                <c:pt idx="1471" formatCode="0.0%">
                  <c:v>0.41985652546919394</c:v>
                </c:pt>
                <c:pt idx="1472" formatCode="0.0%">
                  <c:v>0.41985652546919394</c:v>
                </c:pt>
                <c:pt idx="1473" formatCode="0.0%">
                  <c:v>0.41985652546919394</c:v>
                </c:pt>
                <c:pt idx="1474" formatCode="0.0%">
                  <c:v>0.41803942940279853</c:v>
                </c:pt>
                <c:pt idx="1475" formatCode="0.0%">
                  <c:v>0.41824134902968579</c:v>
                </c:pt>
                <c:pt idx="1476" formatCode="0.0%">
                  <c:v>0.4338885491058167</c:v>
                </c:pt>
                <c:pt idx="1477" formatCode="0.0%">
                  <c:v>0.44196450353359323</c:v>
                </c:pt>
                <c:pt idx="1478" formatCode="0.0%">
                  <c:v>0.45316990519961992</c:v>
                </c:pt>
                <c:pt idx="1479" formatCode="0.0%">
                  <c:v>0.45316990519961992</c:v>
                </c:pt>
                <c:pt idx="1480" formatCode="0.0%">
                  <c:v>0.45316990519961992</c:v>
                </c:pt>
                <c:pt idx="1481" formatCode="0.0%">
                  <c:v>0.44761767524454882</c:v>
                </c:pt>
                <c:pt idx="1482" formatCode="0.0%">
                  <c:v>0.45347276658239194</c:v>
                </c:pt>
                <c:pt idx="1483" formatCode="0.0%">
                  <c:v>0.47255223916442618</c:v>
                </c:pt>
                <c:pt idx="1484" formatCode="0.0%">
                  <c:v>0.46992757293583592</c:v>
                </c:pt>
                <c:pt idx="1485" formatCode="0.0%">
                  <c:v>0.46508197138707513</c:v>
                </c:pt>
                <c:pt idx="1486" formatCode="0.0%">
                  <c:v>0.46508197138707513</c:v>
                </c:pt>
                <c:pt idx="1487" formatCode="0.0%">
                  <c:v>0.46508197138707513</c:v>
                </c:pt>
                <c:pt idx="1488" formatCode="0.0%">
                  <c:v>0.44600249880504095</c:v>
                </c:pt>
                <c:pt idx="1489" formatCode="0.0%">
                  <c:v>0.45589554929921322</c:v>
                </c:pt>
                <c:pt idx="1490" formatCode="0.0%">
                  <c:v>0.45387656972104851</c:v>
                </c:pt>
                <c:pt idx="1491" formatCode="0.0%">
                  <c:v>0.45932785792023512</c:v>
                </c:pt>
                <c:pt idx="1492" formatCode="0.0%">
                  <c:v>0.4602364059534324</c:v>
                </c:pt>
                <c:pt idx="1493" formatCode="0.0%">
                  <c:v>0.4602364059534324</c:v>
                </c:pt>
                <c:pt idx="1494" formatCode="0.0%">
                  <c:v>0.4602364059534324</c:v>
                </c:pt>
                <c:pt idx="1495" formatCode="0.0%">
                  <c:v>0.4602364059534324</c:v>
                </c:pt>
                <c:pt idx="1496" formatCode="0.0%">
                  <c:v>0.45049760312988041</c:v>
                </c:pt>
                <c:pt idx="1497" formatCode="0.0%">
                  <c:v>0.44690353489361484</c:v>
                </c:pt>
                <c:pt idx="1498" formatCode="0.0%">
                  <c:v>0.46174359818897104</c:v>
                </c:pt>
                <c:pt idx="1499" formatCode="0.0%">
                  <c:v>0.45699012630720914</c:v>
                </c:pt>
                <c:pt idx="1500" formatCode="0.0%">
                  <c:v>0.45699012630720914</c:v>
                </c:pt>
                <c:pt idx="1501" formatCode="0.0%">
                  <c:v>0.45699012630720914</c:v>
                </c:pt>
                <c:pt idx="1502" formatCode="0.0%">
                  <c:v>0.46591735019042602</c:v>
                </c:pt>
                <c:pt idx="1503" formatCode="0.0%">
                  <c:v>0.46151170301382477</c:v>
                </c:pt>
                <c:pt idx="1504" formatCode="0.0%">
                  <c:v>0.44980198983467745</c:v>
                </c:pt>
                <c:pt idx="1505" formatCode="0.0%">
                  <c:v>0.45420763701127898</c:v>
                </c:pt>
                <c:pt idx="1506" formatCode="0.0%">
                  <c:v>0.44991791936469155</c:v>
                </c:pt>
                <c:pt idx="1507" formatCode="0.0%">
                  <c:v>0.44991791936469155</c:v>
                </c:pt>
                <c:pt idx="1508" formatCode="0.0%">
                  <c:v>0.44991791936469155</c:v>
                </c:pt>
                <c:pt idx="1509" formatCode="0.0%">
                  <c:v>0.45409170748126487</c:v>
                </c:pt>
                <c:pt idx="1510" formatCode="0.0%">
                  <c:v>0.45548293407167051</c:v>
                </c:pt>
                <c:pt idx="1511" formatCode="0.0%">
                  <c:v>0.45362795324609012</c:v>
                </c:pt>
                <c:pt idx="1512" formatCode="0.0%">
                  <c:v>0.45049760312988041</c:v>
                </c:pt>
                <c:pt idx="1513" formatCode="0.0%">
                  <c:v>0.44748321865880369</c:v>
                </c:pt>
                <c:pt idx="1514" formatCode="0.0%">
                  <c:v>0.44748321865880369</c:v>
                </c:pt>
                <c:pt idx="1515" formatCode="0.0%">
                  <c:v>0.44748321865880369</c:v>
                </c:pt>
                <c:pt idx="1516" formatCode="0.0%">
                  <c:v>0.43183164865334844</c:v>
                </c:pt>
                <c:pt idx="1517" formatCode="0.0%">
                  <c:v>0.41710755100312441</c:v>
                </c:pt>
                <c:pt idx="1518" formatCode="0.0%">
                  <c:v>0.43229540288852319</c:v>
                </c:pt>
                <c:pt idx="1519" formatCode="0.0%">
                  <c:v>0.43287508665371177</c:v>
                </c:pt>
                <c:pt idx="1520" formatCode="0.0%">
                  <c:v>0.43136789441817369</c:v>
                </c:pt>
                <c:pt idx="1521" formatCode="0.0%">
                  <c:v>0.43136789441817369</c:v>
                </c:pt>
                <c:pt idx="1522" formatCode="0.0%">
                  <c:v>0.43136789441817369</c:v>
                </c:pt>
                <c:pt idx="1523" formatCode="0.0%">
                  <c:v>0.42568695018118036</c:v>
                </c:pt>
                <c:pt idx="1524" formatCode="0.0%">
                  <c:v>0.38592026829199144</c:v>
                </c:pt>
                <c:pt idx="1525" formatCode="0.0%">
                  <c:v>0.37618150158355745</c:v>
                </c:pt>
                <c:pt idx="1526" formatCode="0.0%">
                  <c:v>0.36829771570070446</c:v>
                </c:pt>
                <c:pt idx="1527" formatCode="0.0%">
                  <c:v>0.34325516757685792</c:v>
                </c:pt>
                <c:pt idx="1528" formatCode="0.0%">
                  <c:v>0.34325516757685792</c:v>
                </c:pt>
                <c:pt idx="1529" formatCode="0.0%">
                  <c:v>0.34325516757685792</c:v>
                </c:pt>
                <c:pt idx="1530" formatCode="0.0%">
                  <c:v>0.33815390710505366</c:v>
                </c:pt>
                <c:pt idx="1531" formatCode="0.0%">
                  <c:v>0.3129953933360744</c:v>
                </c:pt>
                <c:pt idx="1532" formatCode="0.0%">
                  <c:v>0.3138069722764098</c:v>
                </c:pt>
                <c:pt idx="1533" formatCode="0.0%">
                  <c:v>0.31345914757124915</c:v>
                </c:pt>
                <c:pt idx="1534" formatCode="0.0%">
                  <c:v>0.33084984110250787</c:v>
                </c:pt>
                <c:pt idx="1535" formatCode="0.0%">
                  <c:v>0.33084984110250787</c:v>
                </c:pt>
                <c:pt idx="1536" formatCode="0.0%">
                  <c:v>0.33084984110250787</c:v>
                </c:pt>
                <c:pt idx="1537" formatCode="0.0%">
                  <c:v>0.33108170016253607</c:v>
                </c:pt>
                <c:pt idx="1538" formatCode="0.0%">
                  <c:v>0.32690794816108137</c:v>
                </c:pt>
                <c:pt idx="1539" formatCode="0.0%">
                  <c:v>0.34163204581130513</c:v>
                </c:pt>
                <c:pt idx="1540" formatCode="0.0%">
                  <c:v>0.35148674204975322</c:v>
                </c:pt>
                <c:pt idx="1541" formatCode="0.0%">
                  <c:v>0.33931327463543115</c:v>
                </c:pt>
                <c:pt idx="1542" formatCode="0.0%">
                  <c:v>0.33931327463543115</c:v>
                </c:pt>
                <c:pt idx="1543" formatCode="0.0%">
                  <c:v>0.33931327463543115</c:v>
                </c:pt>
                <c:pt idx="1544" formatCode="0.0%">
                  <c:v>0.36447178840441041</c:v>
                </c:pt>
                <c:pt idx="1545" formatCode="0.0%">
                  <c:v>0.36505147216959954</c:v>
                </c:pt>
                <c:pt idx="1546" formatCode="0.0%">
                  <c:v>0.36134147440331932</c:v>
                </c:pt>
                <c:pt idx="1547" formatCode="0.0%">
                  <c:v>0.35253018005011683</c:v>
                </c:pt>
                <c:pt idx="1548" formatCode="0.0%">
                  <c:v>0.33571920639916558</c:v>
                </c:pt>
                <c:pt idx="1549" formatCode="0.0%">
                  <c:v>0.33571920639916558</c:v>
                </c:pt>
                <c:pt idx="1550" formatCode="0.0%">
                  <c:v>0.33571920639916558</c:v>
                </c:pt>
                <c:pt idx="1551" formatCode="0.0%">
                  <c:v>0.32864699945664827</c:v>
                </c:pt>
                <c:pt idx="1552" formatCode="0.0%">
                  <c:v>0.32853106992663383</c:v>
                </c:pt>
                <c:pt idx="1553" formatCode="0.0%">
                  <c:v>0.32748763192626995</c:v>
                </c:pt>
                <c:pt idx="1554" formatCode="0.0%">
                  <c:v>0.27218530956164</c:v>
                </c:pt>
                <c:pt idx="1555" formatCode="0.0%">
                  <c:v>0.2288245594361851</c:v>
                </c:pt>
                <c:pt idx="1556" formatCode="0.0%">
                  <c:v>0.2288245594361851</c:v>
                </c:pt>
                <c:pt idx="1557" formatCode="0.0%">
                  <c:v>0.2288245594361851</c:v>
                </c:pt>
                <c:pt idx="1558" formatCode="0.0%">
                  <c:v>0.19531854166429638</c:v>
                </c:pt>
                <c:pt idx="1559" formatCode="0.0%">
                  <c:v>0.21943361743291193</c:v>
                </c:pt>
                <c:pt idx="1560" formatCode="0.0%">
                  <c:v>0.18592759966102348</c:v>
                </c:pt>
                <c:pt idx="1561" formatCode="0.0%">
                  <c:v>0.23821553755457672</c:v>
                </c:pt>
                <c:pt idx="1562" formatCode="0.0%">
                  <c:v>0.20946295554933145</c:v>
                </c:pt>
                <c:pt idx="1563" formatCode="0.0%">
                  <c:v>0.20946295554933145</c:v>
                </c:pt>
                <c:pt idx="1564" formatCode="0.0%">
                  <c:v>0.20946295554933145</c:v>
                </c:pt>
                <c:pt idx="1565" formatCode="0.0%">
                  <c:v>0.24598335779229713</c:v>
                </c:pt>
                <c:pt idx="1566" formatCode="0.0%">
                  <c:v>0.25050493449891248</c:v>
                </c:pt>
                <c:pt idx="1567" formatCode="0.0%">
                  <c:v>0.23323020661278648</c:v>
                </c:pt>
                <c:pt idx="1568" formatCode="0.0%">
                  <c:v>0.23323020661278648</c:v>
                </c:pt>
                <c:pt idx="1569" formatCode="0.0%">
                  <c:v>0.23323020661278648</c:v>
                </c:pt>
                <c:pt idx="1570" formatCode="0.0%">
                  <c:v>0.23323020661278648</c:v>
                </c:pt>
                <c:pt idx="1571" formatCode="0.0%">
                  <c:v>0.23323020661278648</c:v>
                </c:pt>
                <c:pt idx="1572" formatCode="0.0%">
                  <c:v>0.23323020661278648</c:v>
                </c:pt>
                <c:pt idx="1573" formatCode="0.0%">
                  <c:v>0.20679639578341535</c:v>
                </c:pt>
                <c:pt idx="1574" formatCode="0.0%">
                  <c:v>0.25804089567660499</c:v>
                </c:pt>
                <c:pt idx="1575" formatCode="0.0%">
                  <c:v>0.249577426028563</c:v>
                </c:pt>
                <c:pt idx="1576" formatCode="0.0%">
                  <c:v>0.25212805626446522</c:v>
                </c:pt>
                <c:pt idx="1577" formatCode="0.0%">
                  <c:v>0.25212805626446522</c:v>
                </c:pt>
                <c:pt idx="1578" formatCode="0.0%">
                  <c:v>0.25212805626446522</c:v>
                </c:pt>
                <c:pt idx="1579" formatCode="0.0%">
                  <c:v>0.26082342108765361</c:v>
                </c:pt>
                <c:pt idx="1580" formatCode="0.0%">
                  <c:v>0.26059152591250706</c:v>
                </c:pt>
                <c:pt idx="1581" formatCode="0.0%">
                  <c:v>0.27566344826789163</c:v>
                </c:pt>
                <c:pt idx="1582" formatCode="0.0%">
                  <c:v>0.29317003521404617</c:v>
                </c:pt>
                <c:pt idx="1583" formatCode="0.0%">
                  <c:v>0.30511164356833975</c:v>
                </c:pt>
                <c:pt idx="1584" formatCode="0.0%">
                  <c:v>0.30511164356833975</c:v>
                </c:pt>
                <c:pt idx="1585" formatCode="0.0%">
                  <c:v>0.30511164356833975</c:v>
                </c:pt>
                <c:pt idx="1586" formatCode="0.0%">
                  <c:v>0.30905353650976619</c:v>
                </c:pt>
                <c:pt idx="1587" formatCode="0.0%">
                  <c:v>0.2996625583913749</c:v>
                </c:pt>
                <c:pt idx="1588" formatCode="0.0%">
                  <c:v>0.29722785768548676</c:v>
                </c:pt>
                <c:pt idx="1589" formatCode="0.0%">
                  <c:v>0.30940132509980856</c:v>
                </c:pt>
                <c:pt idx="1590" formatCode="0.0%">
                  <c:v>0.31438665604159866</c:v>
                </c:pt>
                <c:pt idx="1591" formatCode="0.0%">
                  <c:v>0.31438665604159866</c:v>
                </c:pt>
                <c:pt idx="1592" formatCode="0.0%">
                  <c:v>0.31438665604159866</c:v>
                </c:pt>
                <c:pt idx="1593" formatCode="0.0%">
                  <c:v>0.34499421887242449</c:v>
                </c:pt>
                <c:pt idx="1594" formatCode="0.0%">
                  <c:v>0.35566049405120792</c:v>
                </c:pt>
                <c:pt idx="1595" formatCode="0.0%">
                  <c:v>0.34592172734277427</c:v>
                </c:pt>
                <c:pt idx="1596" formatCode="0.0%">
                  <c:v>0.34476235981239595</c:v>
                </c:pt>
                <c:pt idx="1597" formatCode="0.0%">
                  <c:v>0.35577645969634036</c:v>
                </c:pt>
                <c:pt idx="1598" formatCode="0.0%">
                  <c:v>0.35577645969634036</c:v>
                </c:pt>
                <c:pt idx="1599" formatCode="0.0%">
                  <c:v>0.35577645969634036</c:v>
                </c:pt>
                <c:pt idx="1600" formatCode="0.0%">
                  <c:v>0.3532258294604384</c:v>
                </c:pt>
                <c:pt idx="1601" formatCode="0.0%">
                  <c:v>0.35716768628674628</c:v>
                </c:pt>
                <c:pt idx="1602" formatCode="0.0%">
                  <c:v>0.34209580004647988</c:v>
                </c:pt>
                <c:pt idx="1603" formatCode="0.0%">
                  <c:v>0.3337482599284522</c:v>
                </c:pt>
                <c:pt idx="1604" formatCode="0.0%">
                  <c:v>0.32087917921892739</c:v>
                </c:pt>
                <c:pt idx="1605" formatCode="0.0%">
                  <c:v>0.32087917921892739</c:v>
                </c:pt>
                <c:pt idx="1606" formatCode="0.0%">
                  <c:v>0.32087917921892739</c:v>
                </c:pt>
                <c:pt idx="1607" formatCode="0.0%">
                  <c:v>0.33224106769291384</c:v>
                </c:pt>
                <c:pt idx="1608" formatCode="0.0%">
                  <c:v>0.34244358863652224</c:v>
                </c:pt>
                <c:pt idx="1609" formatCode="0.0%">
                  <c:v>0.34197987051646578</c:v>
                </c:pt>
                <c:pt idx="1610" formatCode="0.0%">
                  <c:v>0.34197987051646578</c:v>
                </c:pt>
                <c:pt idx="1611" formatCode="0.0%">
                  <c:v>0.34197987051646578</c:v>
                </c:pt>
                <c:pt idx="1612" formatCode="0.0%">
                  <c:v>0.33687857392954329</c:v>
                </c:pt>
                <c:pt idx="1613" formatCode="0.0%">
                  <c:v>0.33687857392954329</c:v>
                </c:pt>
                <c:pt idx="1614" formatCode="0.0%">
                  <c:v>0.3228501256896405</c:v>
                </c:pt>
                <c:pt idx="1615" formatCode="0.0%">
                  <c:v>0.33247296286806033</c:v>
                </c:pt>
                <c:pt idx="1616" formatCode="0.0%">
                  <c:v>0.34012485357576677</c:v>
                </c:pt>
                <c:pt idx="1617" formatCode="0.0%">
                  <c:v>0.34012485357576677</c:v>
                </c:pt>
                <c:pt idx="1618" formatCode="0.0%">
                  <c:v>0.35206642581494207</c:v>
                </c:pt>
                <c:pt idx="1619" formatCode="0.0%">
                  <c:v>0.35206642581494207</c:v>
                </c:pt>
                <c:pt idx="1620" formatCode="0.0%">
                  <c:v>0.35206642581494207</c:v>
                </c:pt>
                <c:pt idx="1621" formatCode="0.0%">
                  <c:v>0.35206642581494207</c:v>
                </c:pt>
                <c:pt idx="1622" formatCode="0.0%">
                  <c:v>0.35125488298972468</c:v>
                </c:pt>
                <c:pt idx="1623" formatCode="0.0%">
                  <c:v>0.35102298781457819</c:v>
                </c:pt>
                <c:pt idx="1624" formatCode="0.0%">
                  <c:v>0.33803797757503956</c:v>
                </c:pt>
                <c:pt idx="1625" formatCode="0.0%">
                  <c:v>0.32528482639552891</c:v>
                </c:pt>
                <c:pt idx="1626" formatCode="0.0%">
                  <c:v>0.32528482639552891</c:v>
                </c:pt>
                <c:pt idx="1627" formatCode="0.0%">
                  <c:v>0.32528482639552891</c:v>
                </c:pt>
                <c:pt idx="1628" formatCode="0.0%">
                  <c:v>0.33166138392772493</c:v>
                </c:pt>
                <c:pt idx="1629" formatCode="0.0%">
                  <c:v>0.3287629289866621</c:v>
                </c:pt>
                <c:pt idx="1630" formatCode="0.0%">
                  <c:v>0.32957450792699744</c:v>
                </c:pt>
                <c:pt idx="1631" formatCode="0.0%">
                  <c:v>0.31438665604159866</c:v>
                </c:pt>
                <c:pt idx="1632" formatCode="0.0%">
                  <c:v>0.31670542721747269</c:v>
                </c:pt>
                <c:pt idx="1633" formatCode="0.0%">
                  <c:v>0.31670542721747269</c:v>
                </c:pt>
                <c:pt idx="1634" formatCode="0.0%">
                  <c:v>0.31670542721747269</c:v>
                </c:pt>
                <c:pt idx="1635" formatCode="0.0%">
                  <c:v>0.3139229018064239</c:v>
                </c:pt>
                <c:pt idx="1636" formatCode="0.0%">
                  <c:v>0.32134293345410214</c:v>
                </c:pt>
                <c:pt idx="1637" formatCode="0.0%">
                  <c:v>0.32273419615962667</c:v>
                </c:pt>
                <c:pt idx="1638" formatCode="0.0%">
                  <c:v>0.32064728404378057</c:v>
                </c:pt>
                <c:pt idx="1639" formatCode="0.0%">
                  <c:v>0.33154545439771083</c:v>
                </c:pt>
                <c:pt idx="1640" formatCode="0.0%">
                  <c:v>0.33154545439771083</c:v>
                </c:pt>
                <c:pt idx="1641" formatCode="0.0%">
                  <c:v>0.33154545439771083</c:v>
                </c:pt>
                <c:pt idx="1642" formatCode="0.0%">
                  <c:v>0.33189327910287147</c:v>
                </c:pt>
                <c:pt idx="1643" formatCode="0.0%">
                  <c:v>0.32598043969073187</c:v>
                </c:pt>
                <c:pt idx="1644" formatCode="0.0%">
                  <c:v>0.33258889239807443</c:v>
                </c:pt>
                <c:pt idx="1645" formatCode="0.0%">
                  <c:v>0.34499421887242449</c:v>
                </c:pt>
                <c:pt idx="1646" formatCode="0.0%">
                  <c:v>0.33711046910468978</c:v>
                </c:pt>
                <c:pt idx="1647" formatCode="0.0%">
                  <c:v>0.33711046910468978</c:v>
                </c:pt>
                <c:pt idx="1648" formatCode="0.0%">
                  <c:v>0.33711046910468978</c:v>
                </c:pt>
                <c:pt idx="1649" formatCode="0.0%">
                  <c:v>0.34012485357576677</c:v>
                </c:pt>
                <c:pt idx="1650" formatCode="0.0%">
                  <c:v>0.34545797310759924</c:v>
                </c:pt>
                <c:pt idx="1651" formatCode="0.0%">
                  <c:v>0.34441453510723563</c:v>
                </c:pt>
                <c:pt idx="1652" formatCode="0.0%">
                  <c:v>0.35241425052010272</c:v>
                </c:pt>
                <c:pt idx="1653" formatCode="0.0%">
                  <c:v>0.34684923581312377</c:v>
                </c:pt>
                <c:pt idx="1654" formatCode="0.0%">
                  <c:v>0.34684923581312377</c:v>
                </c:pt>
                <c:pt idx="1655" formatCode="0.0%">
                  <c:v>0.34684923581312377</c:v>
                </c:pt>
                <c:pt idx="1656" formatCode="0.0%">
                  <c:v>0.33931327463543115</c:v>
                </c:pt>
                <c:pt idx="1657" formatCode="0.0%">
                  <c:v>0.35055923357940372</c:v>
                </c:pt>
                <c:pt idx="1658" formatCode="0.0%">
                  <c:v>0.34418267604720737</c:v>
                </c:pt>
                <c:pt idx="1659" formatCode="0.0%">
                  <c:v>0.357283651931879</c:v>
                </c:pt>
                <c:pt idx="1660" formatCode="0.0%">
                  <c:v>0.35195049628492769</c:v>
                </c:pt>
                <c:pt idx="1661" formatCode="0.0%">
                  <c:v>0.35195049628492769</c:v>
                </c:pt>
                <c:pt idx="1662" formatCode="0.0%">
                  <c:v>0.35195049628492769</c:v>
                </c:pt>
                <c:pt idx="1663" formatCode="0.0%">
                  <c:v>0.35218239146007446</c:v>
                </c:pt>
                <c:pt idx="1664" formatCode="0.0%">
                  <c:v>0.34209580004647988</c:v>
                </c:pt>
                <c:pt idx="1665" formatCode="0.0%">
                  <c:v>0.35983428216778124</c:v>
                </c:pt>
                <c:pt idx="1666" formatCode="0.0%">
                  <c:v>0.36597898063994905</c:v>
                </c:pt>
                <c:pt idx="1667" formatCode="0.0%">
                  <c:v>0.36980490793624282</c:v>
                </c:pt>
                <c:pt idx="1668" formatCode="0.0%">
                  <c:v>0.36980490793624282</c:v>
                </c:pt>
                <c:pt idx="1669" formatCode="0.0%">
                  <c:v>0.36980490793624282</c:v>
                </c:pt>
                <c:pt idx="1670" formatCode="0.0%">
                  <c:v>0.37942774511466271</c:v>
                </c:pt>
                <c:pt idx="1671" formatCode="0.0%">
                  <c:v>0.38684777676234089</c:v>
                </c:pt>
                <c:pt idx="1672" formatCode="0.0%">
                  <c:v>0.38615216346713793</c:v>
                </c:pt>
                <c:pt idx="1673" formatCode="0.0%">
                  <c:v>0.37778815485512696</c:v>
                </c:pt>
                <c:pt idx="1674" formatCode="0.0%">
                  <c:v>0.34626955204793491</c:v>
                </c:pt>
                <c:pt idx="1675" formatCode="0.0%">
                  <c:v>0.34626955204793491</c:v>
                </c:pt>
                <c:pt idx="1676" formatCode="0.0%">
                  <c:v>0.34626955204793491</c:v>
                </c:pt>
                <c:pt idx="1677" formatCode="0.0%">
                  <c:v>0.35496488075600496</c:v>
                </c:pt>
                <c:pt idx="1678" formatCode="0.0%">
                  <c:v>0.35542863499117971</c:v>
                </c:pt>
                <c:pt idx="1679" formatCode="0.0%">
                  <c:v>0.34105236204611628</c:v>
                </c:pt>
                <c:pt idx="1680" formatCode="0.0%">
                  <c:v>0.35566049405120792</c:v>
                </c:pt>
                <c:pt idx="1681" formatCode="0.0%">
                  <c:v>0.35206642581494207</c:v>
                </c:pt>
                <c:pt idx="1682" formatCode="0.0%">
                  <c:v>0.35206642581494207</c:v>
                </c:pt>
                <c:pt idx="1683" formatCode="0.0%">
                  <c:v>0.35206642581494207</c:v>
                </c:pt>
                <c:pt idx="1684" formatCode="0.0%">
                  <c:v>0.35751551099190693</c:v>
                </c:pt>
                <c:pt idx="1685" formatCode="0.0%">
                  <c:v>0.35484895122599058</c:v>
                </c:pt>
                <c:pt idx="1686" formatCode="0.0%">
                  <c:v>0.36099364969815867</c:v>
                </c:pt>
                <c:pt idx="1687" formatCode="0.0%">
                  <c:v>0.36760210240550151</c:v>
                </c:pt>
                <c:pt idx="1688" formatCode="0.0%">
                  <c:v>0.36284866663885795</c:v>
                </c:pt>
                <c:pt idx="1689" formatCode="0.0%">
                  <c:v>0.36284866663885795</c:v>
                </c:pt>
                <c:pt idx="1690" formatCode="0.0%">
                  <c:v>0.36284866663885795</c:v>
                </c:pt>
                <c:pt idx="1691" formatCode="0.0%">
                  <c:v>0.36794992711066243</c:v>
                </c:pt>
                <c:pt idx="1692" formatCode="0.0%">
                  <c:v>0.36586305110993467</c:v>
                </c:pt>
                <c:pt idx="1693" formatCode="0.0%">
                  <c:v>0.35519677593115145</c:v>
                </c:pt>
                <c:pt idx="1694" formatCode="0.0%">
                  <c:v>0.36284866663885795</c:v>
                </c:pt>
                <c:pt idx="1695" formatCode="0.0%">
                  <c:v>0.36783396146552971</c:v>
                </c:pt>
                <c:pt idx="1696" formatCode="0.0%">
                  <c:v>0.36783396146552971</c:v>
                </c:pt>
                <c:pt idx="1697" formatCode="0.0%">
                  <c:v>0.36783396146552971</c:v>
                </c:pt>
                <c:pt idx="1698" formatCode="0.0%">
                  <c:v>0.36690648911029855</c:v>
                </c:pt>
                <c:pt idx="1699" formatCode="0.0%">
                  <c:v>0.36168926299336163</c:v>
                </c:pt>
                <c:pt idx="1700" formatCode="0.0%">
                  <c:v>0.37096431158173915</c:v>
                </c:pt>
                <c:pt idx="1701" formatCode="0.0%">
                  <c:v>0.36261677146371141</c:v>
                </c:pt>
                <c:pt idx="1702" formatCode="0.0%">
                  <c:v>0.3506751992245361</c:v>
                </c:pt>
                <c:pt idx="1703" formatCode="0.0%">
                  <c:v>0.3506751992245361</c:v>
                </c:pt>
                <c:pt idx="1704" formatCode="0.0%">
                  <c:v>0.34925807809424841</c:v>
                </c:pt>
                <c:pt idx="1705" formatCode="0.0%">
                  <c:v>0.35009551545934725</c:v>
                </c:pt>
                <c:pt idx="1706" formatCode="0.0%">
                  <c:v>0.33966109934059202</c:v>
                </c:pt>
                <c:pt idx="1707" formatCode="0.0%">
                  <c:v>0.34650141110796284</c:v>
                </c:pt>
                <c:pt idx="1708" formatCode="0.0%">
                  <c:v>0.35021144498936141</c:v>
                </c:pt>
                <c:pt idx="1709" formatCode="0.0%">
                  <c:v>0.34522611404757131</c:v>
                </c:pt>
                <c:pt idx="1710" formatCode="0.0%">
                  <c:v>0.34522611404757131</c:v>
                </c:pt>
                <c:pt idx="1711" formatCode="0.0%">
                  <c:v>0.34522611404757131</c:v>
                </c:pt>
                <c:pt idx="1712" formatCode="0.0%">
                  <c:v>0.35299393428529158</c:v>
                </c:pt>
                <c:pt idx="1713" formatCode="0.0%">
                  <c:v>0.35102298781457819</c:v>
                </c:pt>
                <c:pt idx="1714" formatCode="0.0%">
                  <c:v>0.37409462558283024</c:v>
                </c:pt>
                <c:pt idx="1715" formatCode="0.0%">
                  <c:v>0.37212367911211686</c:v>
                </c:pt>
                <c:pt idx="1716" formatCode="0.0%">
                  <c:v>0.37038459170143201</c:v>
                </c:pt>
                <c:pt idx="1717" formatCode="0.0%">
                  <c:v>0.37038459170143201</c:v>
                </c:pt>
                <c:pt idx="1718" formatCode="0.0%">
                  <c:v>0.37038459170143201</c:v>
                </c:pt>
                <c:pt idx="1719" formatCode="0.0%">
                  <c:v>0.36887743558101194</c:v>
                </c:pt>
                <c:pt idx="1720" formatCode="0.0%">
                  <c:v>0.35241425052010272</c:v>
                </c:pt>
                <c:pt idx="1721" formatCode="0.0%">
                  <c:v>0.35148674204975322</c:v>
                </c:pt>
                <c:pt idx="1722" formatCode="0.0%">
                  <c:v>0.36922522417105397</c:v>
                </c:pt>
                <c:pt idx="1723" formatCode="0.0%">
                  <c:v>0.3633124208740327</c:v>
                </c:pt>
                <c:pt idx="1724" formatCode="0.0%">
                  <c:v>0.3633124208740327</c:v>
                </c:pt>
                <c:pt idx="1725" formatCode="0.0%">
                  <c:v>0.3633124208740327</c:v>
                </c:pt>
                <c:pt idx="1726" formatCode="0.0%">
                  <c:v>0.36099364969815867</c:v>
                </c:pt>
                <c:pt idx="1727" formatCode="0.0%">
                  <c:v>0.3614574039333337</c:v>
                </c:pt>
                <c:pt idx="1728" formatCode="0.0%">
                  <c:v>0.35751551099190693</c:v>
                </c:pt>
                <c:pt idx="1729" formatCode="0.0%">
                  <c:v>0.35079112875455026</c:v>
                </c:pt>
                <c:pt idx="1730" formatCode="0.0%">
                  <c:v>0.34766081475345911</c:v>
                </c:pt>
                <c:pt idx="1731" formatCode="0.0%">
                  <c:v>0.34766081475345911</c:v>
                </c:pt>
                <c:pt idx="1732" formatCode="0.0%">
                  <c:v>0.34766081475345911</c:v>
                </c:pt>
                <c:pt idx="1733" formatCode="0.0%">
                  <c:v>0.35392144275564108</c:v>
                </c:pt>
                <c:pt idx="1734" formatCode="0.0%">
                  <c:v>0.3613362377111537</c:v>
                </c:pt>
                <c:pt idx="1735" formatCode="0.0%">
                  <c:v>0.36679052346516611</c:v>
                </c:pt>
                <c:pt idx="1736" formatCode="0.0%">
                  <c:v>0.37907995652462034</c:v>
                </c:pt>
                <c:pt idx="1737" formatCode="0.0%">
                  <c:v>0.38615216346713793</c:v>
                </c:pt>
                <c:pt idx="1738" formatCode="0.0%">
                  <c:v>0.38615216346713793</c:v>
                </c:pt>
                <c:pt idx="1739" formatCode="0.0%">
                  <c:v>0.38615216346713793</c:v>
                </c:pt>
                <c:pt idx="1740" formatCode="0.0%">
                  <c:v>0.38974623170340378</c:v>
                </c:pt>
                <c:pt idx="1741" formatCode="0.0%">
                  <c:v>0.39345622946968378</c:v>
                </c:pt>
                <c:pt idx="1742" formatCode="0.0%">
                  <c:v>0.3965865434707746</c:v>
                </c:pt>
                <c:pt idx="1743" formatCode="0.0%">
                  <c:v>0.39739812241111028</c:v>
                </c:pt>
                <c:pt idx="1744" formatCode="0.0%">
                  <c:v>0.39994875264701252</c:v>
                </c:pt>
                <c:pt idx="1745" formatCode="0.0%">
                  <c:v>0.39994875264701252</c:v>
                </c:pt>
                <c:pt idx="1746" formatCode="0.0%">
                  <c:v>0.39994875264701252</c:v>
                </c:pt>
                <c:pt idx="1747" formatCode="0.0%">
                  <c:v>0.38360153323123569</c:v>
                </c:pt>
                <c:pt idx="1748" formatCode="0.0%">
                  <c:v>0.37409462558283024</c:v>
                </c:pt>
                <c:pt idx="1749" formatCode="0.0%">
                  <c:v>0.38986216123341788</c:v>
                </c:pt>
                <c:pt idx="1750" formatCode="0.0%">
                  <c:v>0.38406525135129216</c:v>
                </c:pt>
                <c:pt idx="1751" formatCode="0.0%">
                  <c:v>0.37455837981800499</c:v>
                </c:pt>
                <c:pt idx="1752" formatCode="0.0%">
                  <c:v>0.37455837981800499</c:v>
                </c:pt>
                <c:pt idx="1753" formatCode="0.0%">
                  <c:v>0.37455837981800499</c:v>
                </c:pt>
                <c:pt idx="1754" formatCode="0.0%">
                  <c:v>0.39218089629417363</c:v>
                </c:pt>
                <c:pt idx="1755" formatCode="0.0%">
                  <c:v>0.40145594488255087</c:v>
                </c:pt>
                <c:pt idx="1756" formatCode="0.0%">
                  <c:v>0.40168780394257908</c:v>
                </c:pt>
                <c:pt idx="1757" formatCode="0.0%">
                  <c:v>0.40029654123705483</c:v>
                </c:pt>
                <c:pt idx="1758" formatCode="0.0%">
                  <c:v>0.40783250241474717</c:v>
                </c:pt>
                <c:pt idx="1759" formatCode="0.0%">
                  <c:v>0.40783250241474717</c:v>
                </c:pt>
                <c:pt idx="1760" formatCode="0.0%">
                  <c:v>0.40783250241474717</c:v>
                </c:pt>
                <c:pt idx="1761" formatCode="0.0%">
                  <c:v>0.41304972853168354</c:v>
                </c:pt>
                <c:pt idx="1762" formatCode="0.0%">
                  <c:v>0.40760064335471868</c:v>
                </c:pt>
                <c:pt idx="1763" formatCode="0.0%">
                  <c:v>0.41003534406060682</c:v>
                </c:pt>
                <c:pt idx="1764" formatCode="0.0%">
                  <c:v>0.40354282088327809</c:v>
                </c:pt>
                <c:pt idx="1765" formatCode="0.0%">
                  <c:v>0.39793248170272677</c:v>
                </c:pt>
                <c:pt idx="1766" formatCode="0.0%">
                  <c:v>0.39793248170272677</c:v>
                </c:pt>
                <c:pt idx="1767" formatCode="0.0%">
                  <c:v>0.39793248170272677</c:v>
                </c:pt>
                <c:pt idx="1768" formatCode="0.0%">
                  <c:v>0.39600685970558575</c:v>
                </c:pt>
                <c:pt idx="1769" formatCode="0.0%">
                  <c:v>0.39461559700006149</c:v>
                </c:pt>
                <c:pt idx="1770" formatCode="0.0%">
                  <c:v>0.39334029993966962</c:v>
                </c:pt>
                <c:pt idx="1771" formatCode="0.0%">
                  <c:v>0.37455837981800499</c:v>
                </c:pt>
                <c:pt idx="1772" formatCode="0.0%">
                  <c:v>0.35937052793260593</c:v>
                </c:pt>
                <c:pt idx="1773" formatCode="0.0%">
                  <c:v>0.35937052793260593</c:v>
                </c:pt>
                <c:pt idx="1774" formatCode="0.0%">
                  <c:v>0.35937052793260593</c:v>
                </c:pt>
                <c:pt idx="1775" formatCode="0.0%">
                  <c:v>0.3785002366443132</c:v>
                </c:pt>
                <c:pt idx="1776" formatCode="0.0%">
                  <c:v>0.38209434099569733</c:v>
                </c:pt>
                <c:pt idx="1777" formatCode="0.0%">
                  <c:v>0.390673704058635</c:v>
                </c:pt>
                <c:pt idx="1778" formatCode="0.0%">
                  <c:v>0.37861620228944559</c:v>
                </c:pt>
                <c:pt idx="1779" formatCode="0.0%">
                  <c:v>0.36400803416923566</c:v>
                </c:pt>
                <c:pt idx="1780" formatCode="0.0%">
                  <c:v>0.36400803416923566</c:v>
                </c:pt>
                <c:pt idx="1781" formatCode="0.0%">
                  <c:v>0.36400803416923566</c:v>
                </c:pt>
                <c:pt idx="1782" formatCode="0.0%">
                  <c:v>0.36029803640295571</c:v>
                </c:pt>
                <c:pt idx="1783" formatCode="0.0%">
                  <c:v>0.33038608686733312</c:v>
                </c:pt>
                <c:pt idx="1784" formatCode="0.0%">
                  <c:v>0.34279141334168317</c:v>
                </c:pt>
                <c:pt idx="1785" formatCode="0.0%">
                  <c:v>0.35902270322744556</c:v>
                </c:pt>
                <c:pt idx="1786" formatCode="0.0%">
                  <c:v>0.33258889239807443</c:v>
                </c:pt>
                <c:pt idx="1787" formatCode="0.0%">
                  <c:v>0.33258889239807443</c:v>
                </c:pt>
                <c:pt idx="1788" formatCode="0.0%">
                  <c:v>0.33258889239807443</c:v>
                </c:pt>
                <c:pt idx="1789" formatCode="0.0%">
                  <c:v>0.34383485134204678</c:v>
                </c:pt>
                <c:pt idx="1790" formatCode="0.0%">
                  <c:v>0.34603769298790665</c:v>
                </c:pt>
                <c:pt idx="1791" formatCode="0.0%">
                  <c:v>0.3625008419336973</c:v>
                </c:pt>
                <c:pt idx="1792" formatCode="0.0%">
                  <c:v>0.36377613899408912</c:v>
                </c:pt>
                <c:pt idx="1793" formatCode="0.0%">
                  <c:v>0.36922522417105397</c:v>
                </c:pt>
                <c:pt idx="1794" formatCode="0.0%">
                  <c:v>0.36922522417105397</c:v>
                </c:pt>
                <c:pt idx="1795" formatCode="0.0%">
                  <c:v>0.36846734841175616</c:v>
                </c:pt>
                <c:pt idx="1796" formatCode="0.0%">
                  <c:v>0.36215301722853666</c:v>
                </c:pt>
                <c:pt idx="1797" formatCode="0.0%">
                  <c:v>0.3623849124036832</c:v>
                </c:pt>
                <c:pt idx="1798" formatCode="0.0%">
                  <c:v>0.3623849124036832</c:v>
                </c:pt>
                <c:pt idx="1799" formatCode="0.0%">
                  <c:v>0.36621083969997725</c:v>
                </c:pt>
                <c:pt idx="1800" formatCode="0.0%">
                  <c:v>0.37386273040768342</c:v>
                </c:pt>
                <c:pt idx="1801" formatCode="0.0%">
                  <c:v>0.37386273040768342</c:v>
                </c:pt>
                <c:pt idx="1802" formatCode="0.0%">
                  <c:v>0.37386273040768342</c:v>
                </c:pt>
                <c:pt idx="1803" formatCode="0.0%">
                  <c:v>0.36713834817032648</c:v>
                </c:pt>
                <c:pt idx="1804" formatCode="0.0%">
                  <c:v>0.36354427993406091</c:v>
                </c:pt>
                <c:pt idx="1805" formatCode="0.0%">
                  <c:v>0.36192115816850817</c:v>
                </c:pt>
                <c:pt idx="1806" formatCode="0.0%">
                  <c:v>0.36203708769852228</c:v>
                </c:pt>
                <c:pt idx="1807" formatCode="0.0%">
                  <c:v>0.36586305110993467</c:v>
                </c:pt>
                <c:pt idx="1808" formatCode="0.0%">
                  <c:v>0.36586305110993467</c:v>
                </c:pt>
                <c:pt idx="1809" formatCode="0.0%">
                  <c:v>0.36586305110993467</c:v>
                </c:pt>
                <c:pt idx="1810" formatCode="0.0%">
                  <c:v>0.3573995814618931</c:v>
                </c:pt>
                <c:pt idx="1811" formatCode="0.0%">
                  <c:v>0.34893611181385098</c:v>
                </c:pt>
                <c:pt idx="1812" formatCode="0.0%">
                  <c:v>0.3533417589904525</c:v>
                </c:pt>
                <c:pt idx="1813" formatCode="0.0%">
                  <c:v>0.36041396593296982</c:v>
                </c:pt>
                <c:pt idx="1814" formatCode="0.0%">
                  <c:v>0.36296459616887206</c:v>
                </c:pt>
                <c:pt idx="1815" formatCode="0.0%">
                  <c:v>0.36296459616887206</c:v>
                </c:pt>
                <c:pt idx="1816" formatCode="0.0%">
                  <c:v>0.36296459616887206</c:v>
                </c:pt>
                <c:pt idx="1817" formatCode="0.0%">
                  <c:v>0.36644273487512352</c:v>
                </c:pt>
                <c:pt idx="1818" formatCode="0.0%">
                  <c:v>0.37084834593660676</c:v>
                </c:pt>
                <c:pt idx="1819" formatCode="0.0%">
                  <c:v>0.37084834593660676</c:v>
                </c:pt>
                <c:pt idx="1820" formatCode="0.0%">
                  <c:v>0.37084834593660676</c:v>
                </c:pt>
                <c:pt idx="1821" formatCode="0.0%">
                  <c:v>0.37084834593660676</c:v>
                </c:pt>
                <c:pt idx="1822" formatCode="0.0%">
                  <c:v>0.37084834593660676</c:v>
                </c:pt>
                <c:pt idx="1823" formatCode="0.0%">
                  <c:v>0.37084834593660676</c:v>
                </c:pt>
                <c:pt idx="1824" formatCode="0.0%">
                  <c:v>0.37444241417287233</c:v>
                </c:pt>
                <c:pt idx="1825" formatCode="0.0%">
                  <c:v>0.37536992264322211</c:v>
                </c:pt>
                <c:pt idx="1826" formatCode="0.0%">
                  <c:v>0.3706585609894964</c:v>
                </c:pt>
              </c:numCache>
            </c:numRef>
          </c:val>
          <c:smooth val="0"/>
          <c:extLst>
            <c:ext xmlns:c16="http://schemas.microsoft.com/office/drawing/2014/chart" uri="{C3380CC4-5D6E-409C-BE32-E72D297353CC}">
              <c16:uniqueId val="{00000003-C592-43EE-8D08-8400729D0F8F}"/>
            </c:ext>
          </c:extLst>
        </c:ser>
        <c:ser>
          <c:idx val="4"/>
          <c:order val="3"/>
          <c:tx>
            <c:strRef>
              <c:f>Sheet1!$F$1</c:f>
              <c:strCache>
                <c:ptCount val="1"/>
                <c:pt idx="0">
                  <c:v>Peer #4</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F$2:$F$2069</c:f>
              <c:numCache>
                <c:formatCode>0.00%</c:formatCode>
                <c:ptCount val="2068"/>
                <c:pt idx="0">
                  <c:v>0</c:v>
                </c:pt>
                <c:pt idx="1">
                  <c:v>0</c:v>
                </c:pt>
                <c:pt idx="2">
                  <c:v>0</c:v>
                </c:pt>
                <c:pt idx="3">
                  <c:v>0</c:v>
                </c:pt>
                <c:pt idx="4">
                  <c:v>-2.1363796195885245E-3</c:v>
                </c:pt>
                <c:pt idx="5">
                  <c:v>-9.8190725807643271E-3</c:v>
                </c:pt>
                <c:pt idx="6">
                  <c:v>-7.1596788634342087E-3</c:v>
                </c:pt>
                <c:pt idx="7">
                  <c:v>8.3042031225221535E-3</c:v>
                </c:pt>
                <c:pt idx="8">
                  <c:v>1.7661329164979804E-2</c:v>
                </c:pt>
                <c:pt idx="9">
                  <c:v>1.7661329164979804E-2</c:v>
                </c:pt>
                <c:pt idx="10">
                  <c:v>1.7661329164979804E-2</c:v>
                </c:pt>
                <c:pt idx="11">
                  <c:v>1.6479376401722163E-2</c:v>
                </c:pt>
                <c:pt idx="12">
                  <c:v>1.7267344910560638E-2</c:v>
                </c:pt>
                <c:pt idx="13">
                  <c:v>1.657787246532692E-2</c:v>
                </c:pt>
                <c:pt idx="14">
                  <c:v>2.3472596917664106E-2</c:v>
                </c:pt>
                <c:pt idx="15">
                  <c:v>1.2933518111948815E-2</c:v>
                </c:pt>
                <c:pt idx="16">
                  <c:v>1.2933518111948815E-2</c:v>
                </c:pt>
                <c:pt idx="17">
                  <c:v>1.2933518111948815E-2</c:v>
                </c:pt>
                <c:pt idx="18">
                  <c:v>1.6873360656141329E-2</c:v>
                </c:pt>
                <c:pt idx="19">
                  <c:v>1.657787246532692E-2</c:v>
                </c:pt>
                <c:pt idx="20">
                  <c:v>2.6131990634994367E-2</c:v>
                </c:pt>
                <c:pt idx="21">
                  <c:v>2.8594392225114829E-2</c:v>
                </c:pt>
                <c:pt idx="22">
                  <c:v>2.1404179581963091E-2</c:v>
                </c:pt>
                <c:pt idx="23">
                  <c:v>2.1404179581963091E-2</c:v>
                </c:pt>
                <c:pt idx="24">
                  <c:v>2.1404179581963091E-2</c:v>
                </c:pt>
                <c:pt idx="25">
                  <c:v>2.6427478825808776E-2</c:v>
                </c:pt>
                <c:pt idx="26">
                  <c:v>2.6328982762204019E-2</c:v>
                </c:pt>
                <c:pt idx="27">
                  <c:v>1.4903439384045071E-2</c:v>
                </c:pt>
                <c:pt idx="28">
                  <c:v>1.1948557475900401E-2</c:v>
                </c:pt>
                <c:pt idx="29">
                  <c:v>-5.6044260191129075E-4</c:v>
                </c:pt>
                <c:pt idx="30">
                  <c:v>-5.6044260191129075E-4</c:v>
                </c:pt>
                <c:pt idx="31">
                  <c:v>-8.6755332823122439E-3</c:v>
                </c:pt>
                <c:pt idx="32">
                  <c:v>3.6748881330959191E-3</c:v>
                </c:pt>
                <c:pt idx="33">
                  <c:v>2.4753045744526789E-2</c:v>
                </c:pt>
                <c:pt idx="34">
                  <c:v>2.9480856797557919E-2</c:v>
                </c:pt>
                <c:pt idx="35">
                  <c:v>3.1647770196863975E-2</c:v>
                </c:pt>
                <c:pt idx="36">
                  <c:v>4.0512415921297701E-2</c:v>
                </c:pt>
                <c:pt idx="37">
                  <c:v>4.0512415921297701E-2</c:v>
                </c:pt>
                <c:pt idx="38">
                  <c:v>4.0512415921297701E-2</c:v>
                </c:pt>
                <c:pt idx="39">
                  <c:v>4.5240226974329119E-2</c:v>
                </c:pt>
                <c:pt idx="40">
                  <c:v>4.0019935603273778E-2</c:v>
                </c:pt>
                <c:pt idx="41">
                  <c:v>4.2777825384208656E-2</c:v>
                </c:pt>
                <c:pt idx="42">
                  <c:v>4.2777825384208656E-2</c:v>
                </c:pt>
                <c:pt idx="43">
                  <c:v>4.4550754529095259E-2</c:v>
                </c:pt>
                <c:pt idx="44">
                  <c:v>4.4550754529095259E-2</c:v>
                </c:pt>
                <c:pt idx="45">
                  <c:v>4.4550754529095259E-2</c:v>
                </c:pt>
                <c:pt idx="46">
                  <c:v>5.1445478981432445E-2</c:v>
                </c:pt>
                <c:pt idx="47">
                  <c:v>5.1937959299456653E-2</c:v>
                </c:pt>
                <c:pt idx="48">
                  <c:v>4.6126691546772347E-2</c:v>
                </c:pt>
                <c:pt idx="49">
                  <c:v>4.307331357502292E-2</c:v>
                </c:pt>
                <c:pt idx="50">
                  <c:v>4.4649250592700016E-2</c:v>
                </c:pt>
                <c:pt idx="51">
                  <c:v>4.4649250592700016E-2</c:v>
                </c:pt>
                <c:pt idx="52">
                  <c:v>4.4649250592700016E-2</c:v>
                </c:pt>
                <c:pt idx="53">
                  <c:v>3.2632730832912384E-2</c:v>
                </c:pt>
                <c:pt idx="54">
                  <c:v>2.2586132345220732E-2</c:v>
                </c:pt>
                <c:pt idx="55">
                  <c:v>2.5639510316970159E-2</c:v>
                </c:pt>
                <c:pt idx="56">
                  <c:v>3.1647770196863975E-2</c:v>
                </c:pt>
                <c:pt idx="57">
                  <c:v>1.8547793737423178E-2</c:v>
                </c:pt>
                <c:pt idx="58">
                  <c:v>1.8547793737423178E-2</c:v>
                </c:pt>
                <c:pt idx="59">
                  <c:v>1.0622800459779711E-2</c:v>
                </c:pt>
                <c:pt idx="60">
                  <c:v>3.0071833179186883E-2</c:v>
                </c:pt>
                <c:pt idx="61">
                  <c:v>3.8247006458386891E-2</c:v>
                </c:pt>
                <c:pt idx="62">
                  <c:v>3.0564313497211087E-2</c:v>
                </c:pt>
                <c:pt idx="63">
                  <c:v>2.0419218945914679E-2</c:v>
                </c:pt>
                <c:pt idx="64">
                  <c:v>2.2290644154406465E-2</c:v>
                </c:pt>
                <c:pt idx="65">
                  <c:v>2.2290644154406465E-2</c:v>
                </c:pt>
                <c:pt idx="66">
                  <c:v>2.2290644154406465E-2</c:v>
                </c:pt>
                <c:pt idx="67">
                  <c:v>4.0019935603273778E-2</c:v>
                </c:pt>
                <c:pt idx="68">
                  <c:v>4.8293604946078546E-2</c:v>
                </c:pt>
                <c:pt idx="69">
                  <c:v>5.3415400253528984E-2</c:v>
                </c:pt>
                <c:pt idx="70">
                  <c:v>5.853719556097943E-2</c:v>
                </c:pt>
                <c:pt idx="71">
                  <c:v>5.7453738861326258E-2</c:v>
                </c:pt>
                <c:pt idx="72">
                  <c:v>5.7453738861326258E-2</c:v>
                </c:pt>
                <c:pt idx="73">
                  <c:v>5.7453738861326258E-2</c:v>
                </c:pt>
                <c:pt idx="74">
                  <c:v>6.3166510550405799E-2</c:v>
                </c:pt>
                <c:pt idx="75">
                  <c:v>7.4395061801355092E-2</c:v>
                </c:pt>
                <c:pt idx="76">
                  <c:v>6.5825904267735783E-2</c:v>
                </c:pt>
                <c:pt idx="77">
                  <c:v>6.6712368840179434E-2</c:v>
                </c:pt>
                <c:pt idx="78">
                  <c:v>5.9620652260632456E-2</c:v>
                </c:pt>
                <c:pt idx="79">
                  <c:v>5.9620652260632456E-2</c:v>
                </c:pt>
                <c:pt idx="80">
                  <c:v>5.9620652260632456E-2</c:v>
                </c:pt>
                <c:pt idx="81">
                  <c:v>6.4742447568082895E-2</c:v>
                </c:pt>
                <c:pt idx="82">
                  <c:v>7.2129652338444289E-2</c:v>
                </c:pt>
                <c:pt idx="83">
                  <c:v>7.0652211384372096E-2</c:v>
                </c:pt>
                <c:pt idx="84">
                  <c:v>6.0211628642261414E-2</c:v>
                </c:pt>
                <c:pt idx="85">
                  <c:v>7.9516857108805683E-2</c:v>
                </c:pt>
                <c:pt idx="86">
                  <c:v>7.9516857108805683E-2</c:v>
                </c:pt>
                <c:pt idx="87">
                  <c:v>7.9516857108805683E-2</c:v>
                </c:pt>
                <c:pt idx="88">
                  <c:v>8.7199550069981341E-2</c:v>
                </c:pt>
                <c:pt idx="89">
                  <c:v>9.0745408359754975E-2</c:v>
                </c:pt>
                <c:pt idx="90">
                  <c:v>9.2802991128459522E-2</c:v>
                </c:pt>
                <c:pt idx="91">
                  <c:v>9.2802991128459522E-2</c:v>
                </c:pt>
                <c:pt idx="92">
                  <c:v>9.2802991128459522E-2</c:v>
                </c:pt>
                <c:pt idx="93">
                  <c:v>9.2802991128459522E-2</c:v>
                </c:pt>
                <c:pt idx="94">
                  <c:v>9.2802991128459522E-2</c:v>
                </c:pt>
                <c:pt idx="95">
                  <c:v>9.2802991128459522E-2</c:v>
                </c:pt>
                <c:pt idx="96">
                  <c:v>0.1106416132079282</c:v>
                </c:pt>
                <c:pt idx="97">
                  <c:v>0.10758823523617878</c:v>
                </c:pt>
                <c:pt idx="98">
                  <c:v>0.11211905416200026</c:v>
                </c:pt>
                <c:pt idx="99">
                  <c:v>0.11615739276979781</c:v>
                </c:pt>
                <c:pt idx="100">
                  <c:v>0.11615739276979781</c:v>
                </c:pt>
                <c:pt idx="101">
                  <c:v>0.11615739276979781</c:v>
                </c:pt>
                <c:pt idx="102">
                  <c:v>0.11911227467794248</c:v>
                </c:pt>
                <c:pt idx="103">
                  <c:v>0.11901377861433772</c:v>
                </c:pt>
                <c:pt idx="104">
                  <c:v>0.11999873925038586</c:v>
                </c:pt>
                <c:pt idx="105">
                  <c:v>0.12275662903132073</c:v>
                </c:pt>
                <c:pt idx="106">
                  <c:v>0.12896188103842435</c:v>
                </c:pt>
                <c:pt idx="107">
                  <c:v>0.12896188103842435</c:v>
                </c:pt>
                <c:pt idx="108">
                  <c:v>0.12896188103842435</c:v>
                </c:pt>
                <c:pt idx="109">
                  <c:v>0.12669647157551339</c:v>
                </c:pt>
                <c:pt idx="110">
                  <c:v>0.11625588883340285</c:v>
                </c:pt>
                <c:pt idx="111">
                  <c:v>0.11261153448002446</c:v>
                </c:pt>
                <c:pt idx="112">
                  <c:v>0.12206715658608715</c:v>
                </c:pt>
                <c:pt idx="113">
                  <c:v>0.11596040064258829</c:v>
                </c:pt>
                <c:pt idx="114">
                  <c:v>0.11596040064258829</c:v>
                </c:pt>
                <c:pt idx="115">
                  <c:v>0.11596040064258829</c:v>
                </c:pt>
                <c:pt idx="116">
                  <c:v>0.12344610147655445</c:v>
                </c:pt>
                <c:pt idx="117">
                  <c:v>0.12029422744120026</c:v>
                </c:pt>
                <c:pt idx="118">
                  <c:v>0.12068821169561957</c:v>
                </c:pt>
                <c:pt idx="119">
                  <c:v>0.1216731723316677</c:v>
                </c:pt>
                <c:pt idx="120">
                  <c:v>0.11937722908903964</c:v>
                </c:pt>
                <c:pt idx="121">
                  <c:v>0.11937722908903964</c:v>
                </c:pt>
                <c:pt idx="122">
                  <c:v>0.11937722908903964</c:v>
                </c:pt>
                <c:pt idx="123">
                  <c:v>0.12206715658608715</c:v>
                </c:pt>
                <c:pt idx="124">
                  <c:v>0.11625588883340285</c:v>
                </c:pt>
                <c:pt idx="125">
                  <c:v>0.12118069201364377</c:v>
                </c:pt>
                <c:pt idx="126">
                  <c:v>0.11586190457898354</c:v>
                </c:pt>
                <c:pt idx="127">
                  <c:v>0.12512053455783659</c:v>
                </c:pt>
                <c:pt idx="128">
                  <c:v>0.12512053455783659</c:v>
                </c:pt>
                <c:pt idx="129">
                  <c:v>0.12512053455783659</c:v>
                </c:pt>
                <c:pt idx="130">
                  <c:v>0.12492354243062678</c:v>
                </c:pt>
                <c:pt idx="131">
                  <c:v>9.9610054084188701E-2</c:v>
                </c:pt>
                <c:pt idx="132">
                  <c:v>0.10246643992872834</c:v>
                </c:pt>
                <c:pt idx="133">
                  <c:v>0.10246643992872834</c:v>
                </c:pt>
                <c:pt idx="134">
                  <c:v>0.10246643992872834</c:v>
                </c:pt>
                <c:pt idx="135">
                  <c:v>0.10246643992872834</c:v>
                </c:pt>
                <c:pt idx="136">
                  <c:v>0.10246643992872834</c:v>
                </c:pt>
                <c:pt idx="137">
                  <c:v>0.10748973917257403</c:v>
                </c:pt>
                <c:pt idx="138">
                  <c:v>0.10374688875559102</c:v>
                </c:pt>
                <c:pt idx="139">
                  <c:v>7.9812345299619947E-2</c:v>
                </c:pt>
                <c:pt idx="140">
                  <c:v>9.8132613130116078E-2</c:v>
                </c:pt>
                <c:pt idx="141">
                  <c:v>0.11349799905246784</c:v>
                </c:pt>
                <c:pt idx="142">
                  <c:v>0.11349799905246784</c:v>
                </c:pt>
                <c:pt idx="143">
                  <c:v>0.11349799905246784</c:v>
                </c:pt>
                <c:pt idx="144">
                  <c:v>0.11349799905246784</c:v>
                </c:pt>
                <c:pt idx="145">
                  <c:v>0.11576340851537864</c:v>
                </c:pt>
                <c:pt idx="146">
                  <c:v>0.11339950298886307</c:v>
                </c:pt>
                <c:pt idx="147">
                  <c:v>0.12147618020445819</c:v>
                </c:pt>
                <c:pt idx="148">
                  <c:v>0.12738594402074724</c:v>
                </c:pt>
                <c:pt idx="149">
                  <c:v>0.12738594402074724</c:v>
                </c:pt>
                <c:pt idx="150">
                  <c:v>0.12738594402074724</c:v>
                </c:pt>
                <c:pt idx="151">
                  <c:v>0.1178781190009741</c:v>
                </c:pt>
                <c:pt idx="152">
                  <c:v>0.12226414871329666</c:v>
                </c:pt>
                <c:pt idx="153">
                  <c:v>0.12029422744120026</c:v>
                </c:pt>
                <c:pt idx="154">
                  <c:v>0.11763483372387014</c:v>
                </c:pt>
                <c:pt idx="155">
                  <c:v>0.12452955817620762</c:v>
                </c:pt>
                <c:pt idx="156">
                  <c:v>0.12452955817620762</c:v>
                </c:pt>
                <c:pt idx="157">
                  <c:v>0.12452955817620762</c:v>
                </c:pt>
                <c:pt idx="158">
                  <c:v>0.12925736922923889</c:v>
                </c:pt>
                <c:pt idx="159">
                  <c:v>0.12994684167447246</c:v>
                </c:pt>
                <c:pt idx="160">
                  <c:v>0.12699195976632807</c:v>
                </c:pt>
                <c:pt idx="161">
                  <c:v>0.1316212747557543</c:v>
                </c:pt>
                <c:pt idx="162">
                  <c:v>0.13782652676285806</c:v>
                </c:pt>
                <c:pt idx="163">
                  <c:v>0.13782652676285806</c:v>
                </c:pt>
                <c:pt idx="164">
                  <c:v>0.13782652676285806</c:v>
                </c:pt>
                <c:pt idx="165">
                  <c:v>0.13743254250843862</c:v>
                </c:pt>
                <c:pt idx="166">
                  <c:v>0.14058441654379281</c:v>
                </c:pt>
                <c:pt idx="167">
                  <c:v>0.14078140867100244</c:v>
                </c:pt>
                <c:pt idx="168">
                  <c:v>0.14777462918694467</c:v>
                </c:pt>
                <c:pt idx="169">
                  <c:v>0.14304681813391326</c:v>
                </c:pt>
                <c:pt idx="170">
                  <c:v>0.14304681813391326</c:v>
                </c:pt>
                <c:pt idx="171">
                  <c:v>0.14304681813391326</c:v>
                </c:pt>
                <c:pt idx="172">
                  <c:v>0.14107689686181688</c:v>
                </c:pt>
                <c:pt idx="173">
                  <c:v>0.14816861344136384</c:v>
                </c:pt>
                <c:pt idx="174">
                  <c:v>0.14935056620462178</c:v>
                </c:pt>
                <c:pt idx="175">
                  <c:v>0.15673777097498318</c:v>
                </c:pt>
                <c:pt idx="176">
                  <c:v>0.1563437867205637</c:v>
                </c:pt>
                <c:pt idx="177">
                  <c:v>0.1563437867205637</c:v>
                </c:pt>
                <c:pt idx="178">
                  <c:v>0.1563437867205637</c:v>
                </c:pt>
                <c:pt idx="179">
                  <c:v>0.1637309914909251</c:v>
                </c:pt>
                <c:pt idx="180">
                  <c:v>0.1687542907347708</c:v>
                </c:pt>
                <c:pt idx="181">
                  <c:v>0.16812884073088027</c:v>
                </c:pt>
                <c:pt idx="182">
                  <c:v>0.16845880254395637</c:v>
                </c:pt>
                <c:pt idx="183">
                  <c:v>0.17880088922246246</c:v>
                </c:pt>
                <c:pt idx="184">
                  <c:v>0.17880088922246246</c:v>
                </c:pt>
                <c:pt idx="185">
                  <c:v>0.17880088922246246</c:v>
                </c:pt>
                <c:pt idx="186">
                  <c:v>0.18136178687618737</c:v>
                </c:pt>
                <c:pt idx="187">
                  <c:v>0.18333170814828392</c:v>
                </c:pt>
                <c:pt idx="188">
                  <c:v>0.18766553494689589</c:v>
                </c:pt>
                <c:pt idx="189">
                  <c:v>0.16579940882662642</c:v>
                </c:pt>
                <c:pt idx="190">
                  <c:v>0.17623999156873693</c:v>
                </c:pt>
                <c:pt idx="191">
                  <c:v>0.17623999156873693</c:v>
                </c:pt>
                <c:pt idx="192">
                  <c:v>0.17623999156873693</c:v>
                </c:pt>
                <c:pt idx="193">
                  <c:v>0.18589260580200914</c:v>
                </c:pt>
                <c:pt idx="194">
                  <c:v>0.19150688142748379</c:v>
                </c:pt>
                <c:pt idx="195">
                  <c:v>0.19327981057237054</c:v>
                </c:pt>
                <c:pt idx="196">
                  <c:v>0.18254373963944531</c:v>
                </c:pt>
                <c:pt idx="197">
                  <c:v>0.18668057431084775</c:v>
                </c:pt>
                <c:pt idx="198">
                  <c:v>0.18668057431084775</c:v>
                </c:pt>
                <c:pt idx="199">
                  <c:v>0.18668057431084775</c:v>
                </c:pt>
                <c:pt idx="200">
                  <c:v>0.15870769224707942</c:v>
                </c:pt>
                <c:pt idx="201">
                  <c:v>0.1676708340351179</c:v>
                </c:pt>
                <c:pt idx="202">
                  <c:v>0.18037682624013926</c:v>
                </c:pt>
                <c:pt idx="203">
                  <c:v>0.18411967665712253</c:v>
                </c:pt>
                <c:pt idx="204">
                  <c:v>0.197810629498192</c:v>
                </c:pt>
                <c:pt idx="205">
                  <c:v>0.197810629498192</c:v>
                </c:pt>
                <c:pt idx="206">
                  <c:v>0.197810629498192</c:v>
                </c:pt>
                <c:pt idx="207">
                  <c:v>0.19751514130737774</c:v>
                </c:pt>
                <c:pt idx="208">
                  <c:v>0.19170387355469345</c:v>
                </c:pt>
                <c:pt idx="209">
                  <c:v>0.19308281844516073</c:v>
                </c:pt>
                <c:pt idx="210">
                  <c:v>0.19347680269958004</c:v>
                </c:pt>
                <c:pt idx="211">
                  <c:v>0.18707455856526692</c:v>
                </c:pt>
                <c:pt idx="212">
                  <c:v>0.18819248888718149</c:v>
                </c:pt>
                <c:pt idx="213">
                  <c:v>0.18819248888718149</c:v>
                </c:pt>
                <c:pt idx="214">
                  <c:v>0.19416627514481391</c:v>
                </c:pt>
                <c:pt idx="215">
                  <c:v>0.18796102313771029</c:v>
                </c:pt>
                <c:pt idx="216">
                  <c:v>0.19456025939923308</c:v>
                </c:pt>
                <c:pt idx="217">
                  <c:v>0.2015534799151753</c:v>
                </c:pt>
                <c:pt idx="218">
                  <c:v>0.20982714925797993</c:v>
                </c:pt>
                <c:pt idx="219">
                  <c:v>0.20982714925797993</c:v>
                </c:pt>
                <c:pt idx="220">
                  <c:v>0.20982714925797993</c:v>
                </c:pt>
                <c:pt idx="221">
                  <c:v>0.20697076341344028</c:v>
                </c:pt>
                <c:pt idx="222">
                  <c:v>0.21435796818380168</c:v>
                </c:pt>
                <c:pt idx="223">
                  <c:v>0.21573691307426898</c:v>
                </c:pt>
                <c:pt idx="224">
                  <c:v>0.21573691307426898</c:v>
                </c:pt>
                <c:pt idx="225">
                  <c:v>0.21691886583752676</c:v>
                </c:pt>
                <c:pt idx="226">
                  <c:v>0.21691886583752676</c:v>
                </c:pt>
                <c:pt idx="227">
                  <c:v>0.21691886583752676</c:v>
                </c:pt>
                <c:pt idx="228">
                  <c:v>0.21130459021205225</c:v>
                </c:pt>
                <c:pt idx="229">
                  <c:v>0.21396398392938237</c:v>
                </c:pt>
                <c:pt idx="230">
                  <c:v>0.21396398392938237</c:v>
                </c:pt>
                <c:pt idx="231">
                  <c:v>0.19968205470668351</c:v>
                </c:pt>
                <c:pt idx="232">
                  <c:v>0.21297902329333426</c:v>
                </c:pt>
                <c:pt idx="233">
                  <c:v>0.21297902329333426</c:v>
                </c:pt>
                <c:pt idx="234">
                  <c:v>0.21297902329333426</c:v>
                </c:pt>
                <c:pt idx="235">
                  <c:v>0.21721435402834133</c:v>
                </c:pt>
                <c:pt idx="236">
                  <c:v>0.22332110997184004</c:v>
                </c:pt>
                <c:pt idx="237">
                  <c:v>0.22627599187998457</c:v>
                </c:pt>
                <c:pt idx="238">
                  <c:v>0.22509403911672662</c:v>
                </c:pt>
                <c:pt idx="239">
                  <c:v>0.22076021231811466</c:v>
                </c:pt>
                <c:pt idx="240">
                  <c:v>0.22076021231811466</c:v>
                </c:pt>
                <c:pt idx="241">
                  <c:v>0.22076021231811466</c:v>
                </c:pt>
                <c:pt idx="242">
                  <c:v>0.22854140134289552</c:v>
                </c:pt>
                <c:pt idx="243">
                  <c:v>0.22791496637836858</c:v>
                </c:pt>
                <c:pt idx="244">
                  <c:v>0.22785192889766165</c:v>
                </c:pt>
                <c:pt idx="245">
                  <c:v>0.22913237772452447</c:v>
                </c:pt>
                <c:pt idx="246">
                  <c:v>0.22332110997184004</c:v>
                </c:pt>
                <c:pt idx="247">
                  <c:v>0.22332110997184004</c:v>
                </c:pt>
                <c:pt idx="248">
                  <c:v>0.22332110997184004</c:v>
                </c:pt>
                <c:pt idx="249">
                  <c:v>0.23435266909557953</c:v>
                </c:pt>
                <c:pt idx="250">
                  <c:v>0.22863989740649998</c:v>
                </c:pt>
                <c:pt idx="251">
                  <c:v>0.22676847219800864</c:v>
                </c:pt>
                <c:pt idx="252">
                  <c:v>0.22824591315208081</c:v>
                </c:pt>
                <c:pt idx="253">
                  <c:v>0.22775343283405688</c:v>
                </c:pt>
                <c:pt idx="254">
                  <c:v>0.22775343283405688</c:v>
                </c:pt>
                <c:pt idx="255">
                  <c:v>0.22775343283405688</c:v>
                </c:pt>
                <c:pt idx="256">
                  <c:v>0.22558651943475083</c:v>
                </c:pt>
                <c:pt idx="257">
                  <c:v>0.22332110997184004</c:v>
                </c:pt>
                <c:pt idx="258">
                  <c:v>0.213077519356939</c:v>
                </c:pt>
                <c:pt idx="259">
                  <c:v>0.22430607060788815</c:v>
                </c:pt>
                <c:pt idx="260">
                  <c:v>0.22391208635346899</c:v>
                </c:pt>
                <c:pt idx="261">
                  <c:v>0.22391208635346899</c:v>
                </c:pt>
                <c:pt idx="262">
                  <c:v>0.22391208635346899</c:v>
                </c:pt>
                <c:pt idx="263">
                  <c:v>0.19751514130737774</c:v>
                </c:pt>
                <c:pt idx="264">
                  <c:v>0.20214445629680397</c:v>
                </c:pt>
                <c:pt idx="265">
                  <c:v>0.2015534799151753</c:v>
                </c:pt>
                <c:pt idx="266">
                  <c:v>0.21632788945589795</c:v>
                </c:pt>
                <c:pt idx="267">
                  <c:v>0.21760833828276049</c:v>
                </c:pt>
                <c:pt idx="268">
                  <c:v>0.21760833828276049</c:v>
                </c:pt>
                <c:pt idx="269">
                  <c:v>0.21760833828276049</c:v>
                </c:pt>
                <c:pt idx="270">
                  <c:v>0.2170173619011318</c:v>
                </c:pt>
                <c:pt idx="271">
                  <c:v>0.20096250353354633</c:v>
                </c:pt>
                <c:pt idx="272">
                  <c:v>0.20312941693285239</c:v>
                </c:pt>
                <c:pt idx="273">
                  <c:v>0.19192450473716832</c:v>
                </c:pt>
                <c:pt idx="274">
                  <c:v>0.19121139323666925</c:v>
                </c:pt>
                <c:pt idx="275">
                  <c:v>0.19121139323666925</c:v>
                </c:pt>
                <c:pt idx="276">
                  <c:v>0.19121139323666925</c:v>
                </c:pt>
                <c:pt idx="277">
                  <c:v>0.19259033812713683</c:v>
                </c:pt>
                <c:pt idx="278">
                  <c:v>0.18746854281968622</c:v>
                </c:pt>
                <c:pt idx="279">
                  <c:v>0.19002944047341144</c:v>
                </c:pt>
                <c:pt idx="280">
                  <c:v>0.21100910202123771</c:v>
                </c:pt>
                <c:pt idx="281">
                  <c:v>0.20854670043111725</c:v>
                </c:pt>
                <c:pt idx="282">
                  <c:v>0.20854670043111725</c:v>
                </c:pt>
                <c:pt idx="283">
                  <c:v>0.20854670043111725</c:v>
                </c:pt>
                <c:pt idx="284">
                  <c:v>0.20874369255832703</c:v>
                </c:pt>
                <c:pt idx="285">
                  <c:v>0.2047053539505295</c:v>
                </c:pt>
                <c:pt idx="286">
                  <c:v>0.20165197597878007</c:v>
                </c:pt>
                <c:pt idx="287">
                  <c:v>0.21455496031101134</c:v>
                </c:pt>
                <c:pt idx="288">
                  <c:v>0.22706396038882318</c:v>
                </c:pt>
                <c:pt idx="289">
                  <c:v>0.22706396038882318</c:v>
                </c:pt>
                <c:pt idx="290">
                  <c:v>0.22706396038882318</c:v>
                </c:pt>
                <c:pt idx="291">
                  <c:v>0.22440456667149306</c:v>
                </c:pt>
                <c:pt idx="292">
                  <c:v>0.23120079506022548</c:v>
                </c:pt>
                <c:pt idx="293">
                  <c:v>0.23848950376698183</c:v>
                </c:pt>
                <c:pt idx="294">
                  <c:v>0.23514063760441828</c:v>
                </c:pt>
                <c:pt idx="295">
                  <c:v>0.24321731482001327</c:v>
                </c:pt>
                <c:pt idx="296">
                  <c:v>0.24321731482001327</c:v>
                </c:pt>
                <c:pt idx="297">
                  <c:v>0.24321731482001327</c:v>
                </c:pt>
                <c:pt idx="298">
                  <c:v>0.24213385812036023</c:v>
                </c:pt>
                <c:pt idx="299">
                  <c:v>0.25434737000735752</c:v>
                </c:pt>
                <c:pt idx="300">
                  <c:v>0.24843760619106875</c:v>
                </c:pt>
                <c:pt idx="301">
                  <c:v>0.24873309438188301</c:v>
                </c:pt>
                <c:pt idx="302">
                  <c:v>0.25286992905328548</c:v>
                </c:pt>
                <c:pt idx="303">
                  <c:v>0.25286992905328548</c:v>
                </c:pt>
                <c:pt idx="304">
                  <c:v>0.26285841486345007</c:v>
                </c:pt>
                <c:pt idx="305">
                  <c:v>0.26606840157633099</c:v>
                </c:pt>
                <c:pt idx="306">
                  <c:v>0.26843230710284671</c:v>
                </c:pt>
                <c:pt idx="307">
                  <c:v>0.26951576380249948</c:v>
                </c:pt>
                <c:pt idx="308">
                  <c:v>0.28823001588741504</c:v>
                </c:pt>
                <c:pt idx="309">
                  <c:v>0.29413977970370409</c:v>
                </c:pt>
                <c:pt idx="310">
                  <c:v>0.29413977970370409</c:v>
                </c:pt>
                <c:pt idx="311">
                  <c:v>0.29413977970370409</c:v>
                </c:pt>
                <c:pt idx="312">
                  <c:v>0.29098790566834992</c:v>
                </c:pt>
                <c:pt idx="313">
                  <c:v>0.28694956706055252</c:v>
                </c:pt>
                <c:pt idx="314">
                  <c:v>0.28488114972485107</c:v>
                </c:pt>
                <c:pt idx="315">
                  <c:v>0.29216985843160759</c:v>
                </c:pt>
                <c:pt idx="316">
                  <c:v>0.29561722065777618</c:v>
                </c:pt>
                <c:pt idx="317">
                  <c:v>0.29561722065777618</c:v>
                </c:pt>
                <c:pt idx="318">
                  <c:v>0.29561722065777618</c:v>
                </c:pt>
                <c:pt idx="319">
                  <c:v>0.30714126009954013</c:v>
                </c:pt>
                <c:pt idx="320">
                  <c:v>0.31659688220560267</c:v>
                </c:pt>
                <c:pt idx="321">
                  <c:v>0.31669537826920757</c:v>
                </c:pt>
                <c:pt idx="322">
                  <c:v>0.31571041763315949</c:v>
                </c:pt>
                <c:pt idx="323">
                  <c:v>0.31866529954130385</c:v>
                </c:pt>
                <c:pt idx="324">
                  <c:v>0.31866529954130385</c:v>
                </c:pt>
                <c:pt idx="325">
                  <c:v>0.31866529954130385</c:v>
                </c:pt>
                <c:pt idx="326">
                  <c:v>0.3309773074919059</c:v>
                </c:pt>
                <c:pt idx="327">
                  <c:v>0.31374049636106294</c:v>
                </c:pt>
                <c:pt idx="328">
                  <c:v>0.31305102391582923</c:v>
                </c:pt>
                <c:pt idx="329">
                  <c:v>0.32171867751305316</c:v>
                </c:pt>
                <c:pt idx="330">
                  <c:v>0.29177587417718853</c:v>
                </c:pt>
                <c:pt idx="331">
                  <c:v>0.29177587417718853</c:v>
                </c:pt>
                <c:pt idx="332">
                  <c:v>0.29177587417718853</c:v>
                </c:pt>
                <c:pt idx="333">
                  <c:v>0.29640518916661507</c:v>
                </c:pt>
                <c:pt idx="334">
                  <c:v>0.27734029109526648</c:v>
                </c:pt>
                <c:pt idx="335">
                  <c:v>0.28399468515240811</c:v>
                </c:pt>
                <c:pt idx="336">
                  <c:v>0.26784133072121774</c:v>
                </c:pt>
                <c:pt idx="337">
                  <c:v>0.27542552761878897</c:v>
                </c:pt>
                <c:pt idx="338">
                  <c:v>0.27542552761878897</c:v>
                </c:pt>
                <c:pt idx="339">
                  <c:v>0.27542552761878897</c:v>
                </c:pt>
                <c:pt idx="340">
                  <c:v>0.27572101580960323</c:v>
                </c:pt>
                <c:pt idx="341">
                  <c:v>0.31226305540699056</c:v>
                </c:pt>
                <c:pt idx="342">
                  <c:v>0.30842170892640269</c:v>
                </c:pt>
                <c:pt idx="343">
                  <c:v>0.31098260658012805</c:v>
                </c:pt>
                <c:pt idx="344">
                  <c:v>0.30763374041756408</c:v>
                </c:pt>
                <c:pt idx="345">
                  <c:v>0.30763374041756408</c:v>
                </c:pt>
                <c:pt idx="346">
                  <c:v>0.30763374041756408</c:v>
                </c:pt>
                <c:pt idx="347">
                  <c:v>0.3089141892444266</c:v>
                </c:pt>
                <c:pt idx="348">
                  <c:v>0.29364729938567991</c:v>
                </c:pt>
                <c:pt idx="349">
                  <c:v>0.29384429151288971</c:v>
                </c:pt>
                <c:pt idx="350">
                  <c:v>0.3091111813716364</c:v>
                </c:pt>
                <c:pt idx="351">
                  <c:v>0.28379769302519831</c:v>
                </c:pt>
                <c:pt idx="352">
                  <c:v>0.28379769302519831</c:v>
                </c:pt>
                <c:pt idx="353">
                  <c:v>0.28379769302519831</c:v>
                </c:pt>
                <c:pt idx="354">
                  <c:v>0.26892478742087095</c:v>
                </c:pt>
                <c:pt idx="355">
                  <c:v>0.28517663791566578</c:v>
                </c:pt>
                <c:pt idx="356">
                  <c:v>0.29423827576730899</c:v>
                </c:pt>
                <c:pt idx="357">
                  <c:v>0.31255854359780499</c:v>
                </c:pt>
                <c:pt idx="358">
                  <c:v>0.31255854359780499</c:v>
                </c:pt>
                <c:pt idx="359">
                  <c:v>0.31255854359780499</c:v>
                </c:pt>
                <c:pt idx="360">
                  <c:v>0.31255854359780499</c:v>
                </c:pt>
                <c:pt idx="361">
                  <c:v>0.31994574836816642</c:v>
                </c:pt>
                <c:pt idx="362">
                  <c:v>0.33245474844597822</c:v>
                </c:pt>
                <c:pt idx="363">
                  <c:v>0.32743144920213296</c:v>
                </c:pt>
                <c:pt idx="364">
                  <c:v>0.33334121301842201</c:v>
                </c:pt>
                <c:pt idx="365">
                  <c:v>0.32112376128888032</c:v>
                </c:pt>
                <c:pt idx="366">
                  <c:v>0.32112376128888032</c:v>
                </c:pt>
                <c:pt idx="367">
                  <c:v>0.32112376128888032</c:v>
                </c:pt>
                <c:pt idx="368">
                  <c:v>0.33275023663679293</c:v>
                </c:pt>
                <c:pt idx="369">
                  <c:v>0.34171337842483124</c:v>
                </c:pt>
                <c:pt idx="370">
                  <c:v>0.32890889015620473</c:v>
                </c:pt>
                <c:pt idx="371">
                  <c:v>0.30615629946349204</c:v>
                </c:pt>
                <c:pt idx="372">
                  <c:v>0.30576231520907271</c:v>
                </c:pt>
                <c:pt idx="373">
                  <c:v>0.30576231520907271</c:v>
                </c:pt>
                <c:pt idx="374">
                  <c:v>0.30576231520907271</c:v>
                </c:pt>
                <c:pt idx="375">
                  <c:v>0.28103980324426348</c:v>
                </c:pt>
                <c:pt idx="376">
                  <c:v>0.29581421278498626</c:v>
                </c:pt>
                <c:pt idx="377">
                  <c:v>0.30733825222674965</c:v>
                </c:pt>
                <c:pt idx="378">
                  <c:v>0.305466827018258</c:v>
                </c:pt>
                <c:pt idx="379">
                  <c:v>0.28478265366124644</c:v>
                </c:pt>
                <c:pt idx="380">
                  <c:v>0.28478265366124644</c:v>
                </c:pt>
                <c:pt idx="381">
                  <c:v>0.28478265366124644</c:v>
                </c:pt>
                <c:pt idx="382">
                  <c:v>0.29295782694044648</c:v>
                </c:pt>
                <c:pt idx="383">
                  <c:v>0.27916837803577182</c:v>
                </c:pt>
                <c:pt idx="384">
                  <c:v>0.28281273238915022</c:v>
                </c:pt>
                <c:pt idx="385">
                  <c:v>0.27838040952693305</c:v>
                </c:pt>
                <c:pt idx="386">
                  <c:v>0.25208196054444687</c:v>
                </c:pt>
                <c:pt idx="387">
                  <c:v>0.25208196054444687</c:v>
                </c:pt>
                <c:pt idx="388">
                  <c:v>0.25208196054444687</c:v>
                </c:pt>
                <c:pt idx="389">
                  <c:v>0.2331697313716859</c:v>
                </c:pt>
                <c:pt idx="390">
                  <c:v>0.21105421321836887</c:v>
                </c:pt>
                <c:pt idx="391">
                  <c:v>0.2433356085924025</c:v>
                </c:pt>
                <c:pt idx="392">
                  <c:v>0.24892063088698663</c:v>
                </c:pt>
                <c:pt idx="393">
                  <c:v>0.22200086873528108</c:v>
                </c:pt>
                <c:pt idx="394">
                  <c:v>0.22200086873528108</c:v>
                </c:pt>
                <c:pt idx="395">
                  <c:v>0.22200086873528108</c:v>
                </c:pt>
                <c:pt idx="396">
                  <c:v>0.2663245898377673</c:v>
                </c:pt>
                <c:pt idx="397">
                  <c:v>0.26656925405976151</c:v>
                </c:pt>
                <c:pt idx="398">
                  <c:v>0.27785099318505746</c:v>
                </c:pt>
                <c:pt idx="399">
                  <c:v>0.25316522025197274</c:v>
                </c:pt>
                <c:pt idx="400">
                  <c:v>0.23540490254306973</c:v>
                </c:pt>
                <c:pt idx="401">
                  <c:v>0.23540490254306973</c:v>
                </c:pt>
                <c:pt idx="402">
                  <c:v>0.23540490254306973</c:v>
                </c:pt>
                <c:pt idx="403">
                  <c:v>0.24478763756206476</c:v>
                </c:pt>
                <c:pt idx="404">
                  <c:v>0.24098982634159014</c:v>
                </c:pt>
                <c:pt idx="405">
                  <c:v>0.26534051566629158</c:v>
                </c:pt>
                <c:pt idx="406">
                  <c:v>0.25841506044210943</c:v>
                </c:pt>
                <c:pt idx="407">
                  <c:v>0.25327691478810038</c:v>
                </c:pt>
                <c:pt idx="408">
                  <c:v>0.25327691478810038</c:v>
                </c:pt>
                <c:pt idx="409">
                  <c:v>0.25327691478810038</c:v>
                </c:pt>
                <c:pt idx="410">
                  <c:v>0.2341761641495998</c:v>
                </c:pt>
                <c:pt idx="411">
                  <c:v>0.24713341981287712</c:v>
                </c:pt>
                <c:pt idx="412">
                  <c:v>0.24322391405627486</c:v>
                </c:pt>
                <c:pt idx="413">
                  <c:v>0.23529310951087837</c:v>
                </c:pt>
                <c:pt idx="414">
                  <c:v>0.22725070892541793</c:v>
                </c:pt>
                <c:pt idx="415">
                  <c:v>0.22725070892541793</c:v>
                </c:pt>
                <c:pt idx="416">
                  <c:v>0.22725070892541793</c:v>
                </c:pt>
                <c:pt idx="417">
                  <c:v>0.21060743507385737</c:v>
                </c:pt>
                <c:pt idx="418">
                  <c:v>0.21339989697311751</c:v>
                </c:pt>
                <c:pt idx="419">
                  <c:v>0.20949039121651508</c:v>
                </c:pt>
                <c:pt idx="420">
                  <c:v>0.16883151164863691</c:v>
                </c:pt>
                <c:pt idx="421">
                  <c:v>0.21429355175820405</c:v>
                </c:pt>
                <c:pt idx="422">
                  <c:v>0.21429355175820405</c:v>
                </c:pt>
                <c:pt idx="423">
                  <c:v>0.21429355175820405</c:v>
                </c:pt>
                <c:pt idx="424">
                  <c:v>0.22740603721772246</c:v>
                </c:pt>
                <c:pt idx="425">
                  <c:v>0.23194217493097896</c:v>
                </c:pt>
                <c:pt idx="426">
                  <c:v>0.22367628677719892</c:v>
                </c:pt>
                <c:pt idx="427">
                  <c:v>0.23987288098031173</c:v>
                </c:pt>
                <c:pt idx="428" formatCode="0.0%">
                  <c:v>0.22591037449188334</c:v>
                </c:pt>
                <c:pt idx="429" formatCode="0.0%">
                  <c:v>0.22591037449188334</c:v>
                </c:pt>
                <c:pt idx="430" formatCode="0.0%">
                  <c:v>0.22591037449188334</c:v>
                </c:pt>
                <c:pt idx="431" formatCode="0.0%">
                  <c:v>0.21161268589900814</c:v>
                </c:pt>
                <c:pt idx="432" formatCode="0.0%">
                  <c:v>0.18212385092029806</c:v>
                </c:pt>
                <c:pt idx="433" formatCode="0.0%">
                  <c:v>0.19709170672994047</c:v>
                </c:pt>
                <c:pt idx="434" formatCode="0.0%">
                  <c:v>0.2008895179504151</c:v>
                </c:pt>
                <c:pt idx="435" formatCode="0.0%">
                  <c:v>0.21161268589900814</c:v>
                </c:pt>
                <c:pt idx="436" formatCode="0.0%">
                  <c:v>0.21161268589900814</c:v>
                </c:pt>
                <c:pt idx="437" formatCode="0.0%">
                  <c:v>0.21161268589900814</c:v>
                </c:pt>
                <c:pt idx="438" formatCode="0.0%">
                  <c:v>0.20837334735917296</c:v>
                </c:pt>
                <c:pt idx="439" formatCode="0.0%">
                  <c:v>0.20033094677371224</c:v>
                </c:pt>
                <c:pt idx="440" formatCode="0.0%">
                  <c:v>0.23987288098031173</c:v>
                </c:pt>
                <c:pt idx="441" formatCode="0.0%">
                  <c:v>0.23629845883209286</c:v>
                </c:pt>
                <c:pt idx="442" formatCode="0.0%">
                  <c:v>0.25573429307897699</c:v>
                </c:pt>
                <c:pt idx="443" formatCode="0.0%">
                  <c:v>0.25573429307897699</c:v>
                </c:pt>
                <c:pt idx="444" formatCode="0.0%">
                  <c:v>0.25573429307897699</c:v>
                </c:pt>
                <c:pt idx="445" formatCode="0.0%">
                  <c:v>0.26668094859588948</c:v>
                </c:pt>
                <c:pt idx="446" formatCode="0.0%">
                  <c:v>0.2803083714759339</c:v>
                </c:pt>
                <c:pt idx="447" formatCode="0.0%">
                  <c:v>0.27718072747222666</c:v>
                </c:pt>
                <c:pt idx="448" formatCode="0.0%">
                  <c:v>0.27170739971377017</c:v>
                </c:pt>
                <c:pt idx="449" formatCode="0.0%">
                  <c:v>0.28332422244745004</c:v>
                </c:pt>
                <c:pt idx="450" formatCode="0.0%">
                  <c:v>0.28332422244745004</c:v>
                </c:pt>
                <c:pt idx="451" formatCode="0.0%">
                  <c:v>0.28332422244745004</c:v>
                </c:pt>
                <c:pt idx="452" formatCode="0.0%">
                  <c:v>0.28779229938075529</c:v>
                </c:pt>
                <c:pt idx="453" formatCode="0.0%">
                  <c:v>0.29616978357459944</c:v>
                </c:pt>
                <c:pt idx="454" formatCode="0.0%">
                  <c:v>0.2906964558161434</c:v>
                </c:pt>
                <c:pt idx="455" formatCode="0.0%">
                  <c:v>0.27175989811567192</c:v>
                </c:pt>
                <c:pt idx="456" formatCode="0.0%">
                  <c:v>0.28466465537704805</c:v>
                </c:pt>
                <c:pt idx="457" formatCode="0.0%">
                  <c:v>0.28466465537704805</c:v>
                </c:pt>
                <c:pt idx="458" formatCode="0.0%">
                  <c:v>0.28466465537704805</c:v>
                </c:pt>
                <c:pt idx="459" formatCode="0.0%">
                  <c:v>0.2902496776716319</c:v>
                </c:pt>
                <c:pt idx="460" formatCode="0.0%">
                  <c:v>0.29974420572281846</c:v>
                </c:pt>
                <c:pt idx="461" formatCode="0.0%">
                  <c:v>0.27260105449885685</c:v>
                </c:pt>
                <c:pt idx="462" formatCode="0.0%">
                  <c:v>0.27036706528023613</c:v>
                </c:pt>
                <c:pt idx="463" formatCode="0.0%">
                  <c:v>0.2788562440102082</c:v>
                </c:pt>
                <c:pt idx="464" formatCode="0.0%">
                  <c:v>0.2788562440102082</c:v>
                </c:pt>
                <c:pt idx="465" formatCode="0.0%">
                  <c:v>0.2788562440102082</c:v>
                </c:pt>
                <c:pt idx="466" formatCode="0.0%">
                  <c:v>0.26813307606161518</c:v>
                </c:pt>
                <c:pt idx="467" formatCode="0.0%">
                  <c:v>0.26522882113016349</c:v>
                </c:pt>
                <c:pt idx="468" formatCode="0.0%">
                  <c:v>0.25439386014937909</c:v>
                </c:pt>
                <c:pt idx="469" formatCode="0.0%">
                  <c:v>0.25439386014937909</c:v>
                </c:pt>
                <c:pt idx="470" formatCode="0.0%">
                  <c:v>0.25439386014937909</c:v>
                </c:pt>
                <c:pt idx="471" formatCode="0.0%">
                  <c:v>0.25439386014937909</c:v>
                </c:pt>
                <c:pt idx="472" formatCode="0.0%">
                  <c:v>0.25439386014937909</c:v>
                </c:pt>
                <c:pt idx="473" formatCode="0.0%">
                  <c:v>0.25439386014937909</c:v>
                </c:pt>
                <c:pt idx="474" formatCode="0.0%">
                  <c:v>0.26221287166258406</c:v>
                </c:pt>
                <c:pt idx="475" formatCode="0.0%">
                  <c:v>0.27327122171562407</c:v>
                </c:pt>
                <c:pt idx="476" formatCode="0.0%">
                  <c:v>0.28365940455189731</c:v>
                </c:pt>
                <c:pt idx="477" formatCode="0.0%">
                  <c:v>0.25238326000301398</c:v>
                </c:pt>
                <c:pt idx="478" formatCode="0.0%">
                  <c:v>0.25238326000301398</c:v>
                </c:pt>
                <c:pt idx="479" formatCode="0.0%">
                  <c:v>0.25238326000301398</c:v>
                </c:pt>
                <c:pt idx="480" formatCode="0.0%">
                  <c:v>0.22881453092727155</c:v>
                </c:pt>
                <c:pt idx="481" formatCode="0.0%">
                  <c:v>0.23909092073135299</c:v>
                </c:pt>
                <c:pt idx="482" formatCode="0.0%">
                  <c:v>0.23462294229411129</c:v>
                </c:pt>
                <c:pt idx="483" formatCode="0.0%">
                  <c:v>0.24769189249351656</c:v>
                </c:pt>
                <c:pt idx="484" formatCode="0.0%">
                  <c:v>0.25886193708268451</c:v>
                </c:pt>
                <c:pt idx="485" formatCode="0.0%">
                  <c:v>0.22810860963941579</c:v>
                </c:pt>
                <c:pt idx="486" formatCode="0.0%">
                  <c:v>0.22810860963941579</c:v>
                </c:pt>
                <c:pt idx="487" formatCode="0.0%">
                  <c:v>0.21976678102059652</c:v>
                </c:pt>
                <c:pt idx="488" formatCode="0.0%">
                  <c:v>0.22859114185501567</c:v>
                </c:pt>
                <c:pt idx="489" formatCode="0.0%">
                  <c:v>0.23160709132259541</c:v>
                </c:pt>
                <c:pt idx="490" formatCode="0.0%">
                  <c:v>0.24054304819707895</c:v>
                </c:pt>
                <c:pt idx="491" formatCode="0.0%">
                  <c:v>0.19005455696963083</c:v>
                </c:pt>
                <c:pt idx="492" formatCode="0.0%">
                  <c:v>0.19005455696963083</c:v>
                </c:pt>
                <c:pt idx="493" formatCode="0.0%">
                  <c:v>0.19005455696963083</c:v>
                </c:pt>
                <c:pt idx="494" formatCode="0.0%">
                  <c:v>0.18357597838602374</c:v>
                </c:pt>
                <c:pt idx="495" formatCode="0.0%">
                  <c:v>0.17988986170167706</c:v>
                </c:pt>
                <c:pt idx="496" formatCode="0.0%">
                  <c:v>0.17419314487096529</c:v>
                </c:pt>
                <c:pt idx="497" formatCode="0.0%">
                  <c:v>0.1555391723769759</c:v>
                </c:pt>
                <c:pt idx="498" formatCode="0.0%">
                  <c:v>0.1555391723769759</c:v>
                </c:pt>
                <c:pt idx="499" formatCode="0.0%">
                  <c:v>0.1555391723769759</c:v>
                </c:pt>
                <c:pt idx="500" formatCode="0.0%">
                  <c:v>0.1555391723769759</c:v>
                </c:pt>
                <c:pt idx="501" formatCode="0.0%">
                  <c:v>0.18860242950390499</c:v>
                </c:pt>
                <c:pt idx="502" formatCode="0.0%">
                  <c:v>0.19675652462549323</c:v>
                </c:pt>
                <c:pt idx="503" formatCode="0.0%">
                  <c:v>0.18759717867875408</c:v>
                </c:pt>
                <c:pt idx="504" formatCode="0.0%">
                  <c:v>0.15308179408609932</c:v>
                </c:pt>
                <c:pt idx="505" formatCode="0.0%">
                  <c:v>0.16581556218105731</c:v>
                </c:pt>
                <c:pt idx="506" formatCode="0.0%">
                  <c:v>0.16581556218105731</c:v>
                </c:pt>
                <c:pt idx="507" formatCode="0.0%">
                  <c:v>0.16581556218105731</c:v>
                </c:pt>
                <c:pt idx="508" formatCode="0.0%">
                  <c:v>0.15766146705946896</c:v>
                </c:pt>
                <c:pt idx="509" formatCode="0.0%">
                  <c:v>0.14693820061481261</c:v>
                </c:pt>
                <c:pt idx="510" formatCode="0.0%">
                  <c:v>0.15855512184455564</c:v>
                </c:pt>
                <c:pt idx="511" formatCode="0.0%">
                  <c:v>0.15855512184455564</c:v>
                </c:pt>
                <c:pt idx="512" formatCode="0.0%">
                  <c:v>0.15855512184455564</c:v>
                </c:pt>
                <c:pt idx="513" formatCode="0.0%">
                  <c:v>0.15855512184455564</c:v>
                </c:pt>
                <c:pt idx="514" formatCode="0.0%">
                  <c:v>0.15855512184455564</c:v>
                </c:pt>
                <c:pt idx="515" formatCode="0.0%">
                  <c:v>0.21071912960998504</c:v>
                </c:pt>
                <c:pt idx="516" formatCode="0.0%">
                  <c:v>0.2032094942325631</c:v>
                </c:pt>
                <c:pt idx="517" formatCode="0.0%">
                  <c:v>0.20826165282304501</c:v>
                </c:pt>
                <c:pt idx="518" formatCode="0.0%">
                  <c:v>0.19295871340501874</c:v>
                </c:pt>
                <c:pt idx="519" formatCode="0.0%">
                  <c:v>0.19988416862920075</c:v>
                </c:pt>
                <c:pt idx="520" formatCode="0.0%">
                  <c:v>0.19988416862920075</c:v>
                </c:pt>
                <c:pt idx="521" formatCode="0.0%">
                  <c:v>0.19988416862920075</c:v>
                </c:pt>
                <c:pt idx="522" formatCode="0.0%">
                  <c:v>0.19988416862920075</c:v>
                </c:pt>
                <c:pt idx="523" formatCode="0.0%">
                  <c:v>0.19765017941057977</c:v>
                </c:pt>
                <c:pt idx="524" formatCode="0.0%">
                  <c:v>0.2002192522375843</c:v>
                </c:pt>
                <c:pt idx="525" formatCode="0.0%">
                  <c:v>0.19530449565583127</c:v>
                </c:pt>
                <c:pt idx="526" formatCode="0.0%">
                  <c:v>0.16525708950041818</c:v>
                </c:pt>
                <c:pt idx="527" formatCode="0.0%">
                  <c:v>0.16525708950041818</c:v>
                </c:pt>
                <c:pt idx="528" formatCode="0.0%">
                  <c:v>0.16525708950041818</c:v>
                </c:pt>
                <c:pt idx="529" formatCode="0.0%">
                  <c:v>0.1350979888088773</c:v>
                </c:pt>
                <c:pt idx="530" formatCode="0.0%">
                  <c:v>0.12258760978617488</c:v>
                </c:pt>
                <c:pt idx="531" formatCode="0.0%">
                  <c:v>0.13152356666065843</c:v>
                </c:pt>
                <c:pt idx="532" formatCode="0.0%">
                  <c:v>0.10549745929403941</c:v>
                </c:pt>
                <c:pt idx="533" formatCode="0.0%">
                  <c:v>0.1005826042162225</c:v>
                </c:pt>
                <c:pt idx="534" formatCode="0.0%">
                  <c:v>0.1005826042162225</c:v>
                </c:pt>
                <c:pt idx="535" formatCode="0.0%">
                  <c:v>0.1005826042162225</c:v>
                </c:pt>
                <c:pt idx="536" formatCode="0.0%">
                  <c:v>9.8348614997601655E-2</c:v>
                </c:pt>
                <c:pt idx="537" formatCode="0.0%">
                  <c:v>0.11130587066087898</c:v>
                </c:pt>
                <c:pt idx="538" formatCode="0.0%">
                  <c:v>0.10404533182831344</c:v>
                </c:pt>
                <c:pt idx="539" formatCode="0.0%">
                  <c:v>0.11733767109997445</c:v>
                </c:pt>
                <c:pt idx="540" formatCode="0.0%">
                  <c:v>0.14012453842282199</c:v>
                </c:pt>
                <c:pt idx="541" formatCode="0.0%">
                  <c:v>0.14012453842282199</c:v>
                </c:pt>
                <c:pt idx="542" formatCode="0.0%">
                  <c:v>0.14012453842282199</c:v>
                </c:pt>
                <c:pt idx="543" formatCode="0.0%">
                  <c:v>0.14950737193788058</c:v>
                </c:pt>
                <c:pt idx="544" formatCode="0.0%">
                  <c:v>0.15721468891495746</c:v>
                </c:pt>
                <c:pt idx="545" formatCode="0.0%">
                  <c:v>0.13420443251985431</c:v>
                </c:pt>
                <c:pt idx="546" formatCode="0.0%">
                  <c:v>0.12716511584614509</c:v>
                </c:pt>
                <c:pt idx="547" formatCode="0.0%">
                  <c:v>0.13789054920420113</c:v>
                </c:pt>
                <c:pt idx="548" formatCode="0.0%">
                  <c:v>0.13789054920420113</c:v>
                </c:pt>
                <c:pt idx="549" formatCode="0.0%">
                  <c:v>0.13789054920420113</c:v>
                </c:pt>
                <c:pt idx="550" formatCode="0.0%">
                  <c:v>0.13554486544945221</c:v>
                </c:pt>
                <c:pt idx="551" formatCode="0.0%">
                  <c:v>0.13342247227089557</c:v>
                </c:pt>
                <c:pt idx="552" formatCode="0.0%">
                  <c:v>0.16123588920768797</c:v>
                </c:pt>
                <c:pt idx="553" formatCode="0.0%">
                  <c:v>0.17508670115998812</c:v>
                </c:pt>
                <c:pt idx="554" formatCode="0.0%">
                  <c:v>0.18335249081770441</c:v>
                </c:pt>
                <c:pt idx="555" formatCode="0.0%">
                  <c:v>0.18335249081770441</c:v>
                </c:pt>
                <c:pt idx="556" formatCode="0.0%">
                  <c:v>0.18335249081770441</c:v>
                </c:pt>
                <c:pt idx="557" formatCode="0.0%">
                  <c:v>0.18469292374730245</c:v>
                </c:pt>
                <c:pt idx="558" formatCode="0.0%">
                  <c:v>0.18245893452868159</c:v>
                </c:pt>
                <c:pt idx="559" formatCode="0.0%">
                  <c:v>0.16838473350412556</c:v>
                </c:pt>
                <c:pt idx="560" formatCode="0.0%">
                  <c:v>0.15922528906132258</c:v>
                </c:pt>
                <c:pt idx="561" formatCode="0.0%">
                  <c:v>0.17832603969982344</c:v>
                </c:pt>
                <c:pt idx="562" formatCode="0.0%">
                  <c:v>0.17832603969982344</c:v>
                </c:pt>
                <c:pt idx="563" formatCode="0.0%">
                  <c:v>0.17832603969982344</c:v>
                </c:pt>
                <c:pt idx="564" formatCode="0.0%">
                  <c:v>0.18614505121302827</c:v>
                </c:pt>
                <c:pt idx="565" formatCode="0.0%">
                  <c:v>0.17218254472460018</c:v>
                </c:pt>
                <c:pt idx="566" formatCode="0.0%">
                  <c:v>0.19273532433276303</c:v>
                </c:pt>
                <c:pt idx="567" formatCode="0.0%">
                  <c:v>0.19988416862920075</c:v>
                </c:pt>
                <c:pt idx="568" formatCode="0.0%">
                  <c:v>0.21418175872601239</c:v>
                </c:pt>
                <c:pt idx="569" formatCode="0.0%">
                  <c:v>0.21418175872601239</c:v>
                </c:pt>
                <c:pt idx="570" formatCode="0.0%">
                  <c:v>0.21418175872601239</c:v>
                </c:pt>
                <c:pt idx="571" formatCode="0.0%">
                  <c:v>0.19999586316532869</c:v>
                </c:pt>
                <c:pt idx="572" formatCode="0.0%">
                  <c:v>0.20703301292563836</c:v>
                </c:pt>
                <c:pt idx="573" formatCode="0.0%">
                  <c:v>0.21183607497126375</c:v>
                </c:pt>
                <c:pt idx="574" formatCode="0.0%">
                  <c:v>0.22445824702615752</c:v>
                </c:pt>
                <c:pt idx="575" formatCode="0.0%">
                  <c:v>0.25193648185850265</c:v>
                </c:pt>
                <c:pt idx="576" formatCode="0.0%">
                  <c:v>0.25193648185850265</c:v>
                </c:pt>
                <c:pt idx="577" formatCode="0.0%">
                  <c:v>0.25483847138049143</c:v>
                </c:pt>
                <c:pt idx="578" formatCode="0.0%">
                  <c:v>0.24523451420263995</c:v>
                </c:pt>
                <c:pt idx="579" formatCode="0.0%">
                  <c:v>0.24445255395368121</c:v>
                </c:pt>
                <c:pt idx="580" formatCode="0.0%">
                  <c:v>0.25294183117971697</c:v>
                </c:pt>
                <c:pt idx="581" formatCode="0.0%">
                  <c:v>0.26009057698009114</c:v>
                </c:pt>
                <c:pt idx="582" formatCode="0.0%">
                  <c:v>0.25316522025197274</c:v>
                </c:pt>
                <c:pt idx="583" formatCode="0.0%">
                  <c:v>0.25316522025197274</c:v>
                </c:pt>
                <c:pt idx="584" formatCode="0.0%">
                  <c:v>0.25316522025197274</c:v>
                </c:pt>
                <c:pt idx="585" formatCode="0.0%">
                  <c:v>0.26567559927467516</c:v>
                </c:pt>
                <c:pt idx="586" formatCode="0.0%">
                  <c:v>0.24668654317230221</c:v>
                </c:pt>
                <c:pt idx="587" formatCode="0.0%">
                  <c:v>0.25629276575961657</c:v>
                </c:pt>
                <c:pt idx="588" formatCode="0.0%">
                  <c:v>0.26489373752177997</c:v>
                </c:pt>
                <c:pt idx="589" formatCode="0.0%">
                  <c:v>0.27081384342474762</c:v>
                </c:pt>
                <c:pt idx="590" formatCode="0.0%">
                  <c:v>0.27081384342474762</c:v>
                </c:pt>
                <c:pt idx="591" formatCode="0.0%">
                  <c:v>0.27081384342474762</c:v>
                </c:pt>
                <c:pt idx="592" formatCode="0.0%">
                  <c:v>0.2908081503522712</c:v>
                </c:pt>
                <c:pt idx="593" formatCode="0.0%">
                  <c:v>0.29695174382355816</c:v>
                </c:pt>
                <c:pt idx="594" formatCode="0.0%">
                  <c:v>0.29348901621146695</c:v>
                </c:pt>
                <c:pt idx="595" formatCode="0.0%">
                  <c:v>0.29672825625523896</c:v>
                </c:pt>
                <c:pt idx="596" formatCode="0.0%">
                  <c:v>0.29561131089396014</c:v>
                </c:pt>
                <c:pt idx="597" formatCode="0.0%">
                  <c:v>0.29561131089396014</c:v>
                </c:pt>
                <c:pt idx="598" formatCode="0.0%">
                  <c:v>0.29561131089396014</c:v>
                </c:pt>
                <c:pt idx="599" formatCode="0.0%">
                  <c:v>0.28198388801391533</c:v>
                </c:pt>
                <c:pt idx="600" formatCode="0.0%">
                  <c:v>0.27416487650071075</c:v>
                </c:pt>
                <c:pt idx="601" formatCode="0.0%">
                  <c:v>0.2782977713295689</c:v>
                </c:pt>
                <c:pt idx="602" formatCode="0.0%">
                  <c:v>0.27986159333142252</c:v>
                </c:pt>
                <c:pt idx="603" formatCode="0.0%">
                  <c:v>0.28075514962044534</c:v>
                </c:pt>
                <c:pt idx="604" formatCode="0.0%">
                  <c:v>0.28075514962044534</c:v>
                </c:pt>
                <c:pt idx="605" formatCode="0.0%">
                  <c:v>0.28075514962044534</c:v>
                </c:pt>
                <c:pt idx="606" formatCode="0.0%">
                  <c:v>0.24031965912482306</c:v>
                </c:pt>
                <c:pt idx="607" formatCode="0.0%">
                  <c:v>0.23909092073135299</c:v>
                </c:pt>
                <c:pt idx="608" formatCode="0.0%">
                  <c:v>0.21438505460129292</c:v>
                </c:pt>
                <c:pt idx="609" formatCode="0.0%">
                  <c:v>0.20993716936102658</c:v>
                </c:pt>
                <c:pt idx="610" formatCode="0.0%">
                  <c:v>0.22077213034181084</c:v>
                </c:pt>
                <c:pt idx="611" formatCode="0.0%">
                  <c:v>0.22077213034181084</c:v>
                </c:pt>
                <c:pt idx="612" formatCode="0.0%">
                  <c:v>0.22077213034181084</c:v>
                </c:pt>
                <c:pt idx="613" formatCode="0.0%">
                  <c:v>0.21418175872601239</c:v>
                </c:pt>
                <c:pt idx="614" formatCode="0.0%">
                  <c:v>0.20926700214425936</c:v>
                </c:pt>
                <c:pt idx="615" formatCode="0.0%">
                  <c:v>0.21138929682675239</c:v>
                </c:pt>
                <c:pt idx="616" formatCode="0.0%">
                  <c:v>0.21954339194834091</c:v>
                </c:pt>
                <c:pt idx="617" formatCode="0.0%">
                  <c:v>0.23529310951087837</c:v>
                </c:pt>
                <c:pt idx="618" formatCode="0.0%">
                  <c:v>0.23529310951087837</c:v>
                </c:pt>
                <c:pt idx="619" formatCode="0.0%">
                  <c:v>0.23529310951087837</c:v>
                </c:pt>
                <c:pt idx="620" formatCode="0.0%">
                  <c:v>0.24635145956391866</c:v>
                </c:pt>
                <c:pt idx="621" formatCode="0.0%">
                  <c:v>0.22903791999952744</c:v>
                </c:pt>
                <c:pt idx="622" formatCode="0.0%">
                  <c:v>0.21284142429247838</c:v>
                </c:pt>
                <c:pt idx="623" formatCode="0.0%">
                  <c:v>0.2071447074617663</c:v>
                </c:pt>
                <c:pt idx="624" formatCode="0.0%">
                  <c:v>0.18759717867875408</c:v>
                </c:pt>
                <c:pt idx="625" formatCode="0.0%">
                  <c:v>0.18759717867875408</c:v>
                </c:pt>
                <c:pt idx="626" formatCode="0.0%">
                  <c:v>0.18759717867875408</c:v>
                </c:pt>
                <c:pt idx="627" formatCode="0.0%">
                  <c:v>0.18223554545642601</c:v>
                </c:pt>
                <c:pt idx="628" formatCode="0.0%">
                  <c:v>0.18290571267319294</c:v>
                </c:pt>
                <c:pt idx="629" formatCode="0.0%">
                  <c:v>0.19396406272623309</c:v>
                </c:pt>
                <c:pt idx="630" formatCode="0.0%">
                  <c:v>0.17441653394322118</c:v>
                </c:pt>
                <c:pt idx="631" formatCode="0.0%">
                  <c:v>0.1645869222836511</c:v>
                </c:pt>
                <c:pt idx="632" formatCode="0.0%">
                  <c:v>0.1645869222836511</c:v>
                </c:pt>
                <c:pt idx="633" formatCode="0.0%">
                  <c:v>0.1645869222836511</c:v>
                </c:pt>
                <c:pt idx="634" formatCode="0.0%">
                  <c:v>0.16346987842630867</c:v>
                </c:pt>
                <c:pt idx="635" formatCode="0.0%">
                  <c:v>0.17184736262015293</c:v>
                </c:pt>
                <c:pt idx="636" formatCode="0.0%">
                  <c:v>0.15833163427623617</c:v>
                </c:pt>
                <c:pt idx="637" formatCode="0.0%">
                  <c:v>0.13532137788113302</c:v>
                </c:pt>
                <c:pt idx="638" formatCode="0.0%">
                  <c:v>0.12391681416452201</c:v>
                </c:pt>
                <c:pt idx="639" formatCode="0.0%">
                  <c:v>0.12391681416452201</c:v>
                </c:pt>
                <c:pt idx="640" formatCode="0.0%">
                  <c:v>0.12391681416452201</c:v>
                </c:pt>
                <c:pt idx="641" formatCode="0.0%">
                  <c:v>0.13331077773476793</c:v>
                </c:pt>
                <c:pt idx="642" formatCode="0.0%">
                  <c:v>0.16235293306503024</c:v>
                </c:pt>
                <c:pt idx="643" formatCode="0.0%">
                  <c:v>0.16581556218105731</c:v>
                </c:pt>
                <c:pt idx="644" formatCode="0.0%">
                  <c:v>0.17765577398699264</c:v>
                </c:pt>
                <c:pt idx="645" formatCode="0.0%">
                  <c:v>0.14861371715279389</c:v>
                </c:pt>
                <c:pt idx="646" formatCode="0.0%">
                  <c:v>0.14861371715279389</c:v>
                </c:pt>
                <c:pt idx="647" formatCode="0.0%">
                  <c:v>0.14861371715279389</c:v>
                </c:pt>
                <c:pt idx="648" formatCode="0.0%">
                  <c:v>0.14727338271925958</c:v>
                </c:pt>
                <c:pt idx="649" formatCode="0.0%">
                  <c:v>0.13453951612823786</c:v>
                </c:pt>
                <c:pt idx="650" formatCode="0.0%">
                  <c:v>0.13688519988298681</c:v>
                </c:pt>
                <c:pt idx="651" formatCode="0.0%">
                  <c:v>0.1159972381703767</c:v>
                </c:pt>
                <c:pt idx="652" formatCode="0.0%">
                  <c:v>0.14939567740175264</c:v>
                </c:pt>
                <c:pt idx="653" formatCode="0.0%">
                  <c:v>0.14939567740175264</c:v>
                </c:pt>
                <c:pt idx="654" formatCode="0.0%">
                  <c:v>0.14939567740175264</c:v>
                </c:pt>
                <c:pt idx="655" formatCode="0.0%">
                  <c:v>0.1504009282269034</c:v>
                </c:pt>
                <c:pt idx="656" formatCode="0.0%">
                  <c:v>0.16816134443186997</c:v>
                </c:pt>
                <c:pt idx="657" formatCode="0.0%">
                  <c:v>0.15810824520398042</c:v>
                </c:pt>
                <c:pt idx="658" formatCode="0.0%">
                  <c:v>0.15364026676673873</c:v>
                </c:pt>
                <c:pt idx="659" formatCode="0.0%">
                  <c:v>0.14559786618127801</c:v>
                </c:pt>
                <c:pt idx="660" formatCode="0.0%">
                  <c:v>0.14559786618127801</c:v>
                </c:pt>
                <c:pt idx="661" formatCode="0.0%">
                  <c:v>0.14559786618127801</c:v>
                </c:pt>
                <c:pt idx="662" formatCode="0.0%">
                  <c:v>0.16916659525702044</c:v>
                </c:pt>
                <c:pt idx="663" formatCode="0.0%">
                  <c:v>0.17262932286911167</c:v>
                </c:pt>
                <c:pt idx="664" formatCode="0.0%">
                  <c:v>0.17396975579870941</c:v>
                </c:pt>
                <c:pt idx="665" formatCode="0.0%">
                  <c:v>0.17631543955345833</c:v>
                </c:pt>
                <c:pt idx="666" formatCode="0.0%">
                  <c:v>0.17642713408958599</c:v>
                </c:pt>
                <c:pt idx="667" formatCode="0.0%">
                  <c:v>0.17642713408958599</c:v>
                </c:pt>
                <c:pt idx="668" formatCode="0.0%">
                  <c:v>0.17642713408958599</c:v>
                </c:pt>
                <c:pt idx="669" formatCode="0.0%">
                  <c:v>0.19275768293920151</c:v>
                </c:pt>
                <c:pt idx="670" formatCode="0.0%">
                  <c:v>0.189719473361247</c:v>
                </c:pt>
                <c:pt idx="671" formatCode="0.0%">
                  <c:v>0.18424614560279109</c:v>
                </c:pt>
                <c:pt idx="672" formatCode="0.0%">
                  <c:v>0.15967206720583405</c:v>
                </c:pt>
                <c:pt idx="673" formatCode="0.0%">
                  <c:v>0.16402835110694811</c:v>
                </c:pt>
                <c:pt idx="674" formatCode="0.0%">
                  <c:v>0.16402835110694811</c:v>
                </c:pt>
                <c:pt idx="675" formatCode="0.0%">
                  <c:v>0.16402835110694811</c:v>
                </c:pt>
                <c:pt idx="676" formatCode="0.0%">
                  <c:v>0.16235293306503024</c:v>
                </c:pt>
                <c:pt idx="677" formatCode="0.0%">
                  <c:v>0.17385796276651816</c:v>
                </c:pt>
                <c:pt idx="678" formatCode="0.0%">
                  <c:v>0.17017194457823479</c:v>
                </c:pt>
                <c:pt idx="679" formatCode="0.0%">
                  <c:v>0.18268232360093734</c:v>
                </c:pt>
                <c:pt idx="680" formatCode="0.0%">
                  <c:v>0.18916090218454415</c:v>
                </c:pt>
                <c:pt idx="681" formatCode="0.0%">
                  <c:v>0.18916090218454415</c:v>
                </c:pt>
                <c:pt idx="682" formatCode="0.0%">
                  <c:v>0.18916090218454415</c:v>
                </c:pt>
                <c:pt idx="683" formatCode="0.0%">
                  <c:v>0.1910598077947816</c:v>
                </c:pt>
                <c:pt idx="684" formatCode="0.0%">
                  <c:v>0.19351728458172177</c:v>
                </c:pt>
                <c:pt idx="685" formatCode="0.0%">
                  <c:v>0.18391106199440727</c:v>
                </c:pt>
                <c:pt idx="686" formatCode="0.0%">
                  <c:v>0.17262932286911167</c:v>
                </c:pt>
                <c:pt idx="687" formatCode="0.0%">
                  <c:v>0.18871412404003279</c:v>
                </c:pt>
                <c:pt idx="688" formatCode="0.0%">
                  <c:v>0.18871412404003279</c:v>
                </c:pt>
                <c:pt idx="689" formatCode="0.0%">
                  <c:v>0.18871412404003279</c:v>
                </c:pt>
                <c:pt idx="690" formatCode="0.0%">
                  <c:v>0.19072472418639791</c:v>
                </c:pt>
                <c:pt idx="691" formatCode="0.0%">
                  <c:v>0.19519280111970333</c:v>
                </c:pt>
                <c:pt idx="692" formatCode="0.0%">
                  <c:v>0.19765017941057977</c:v>
                </c:pt>
                <c:pt idx="693" formatCode="0.0%">
                  <c:v>0.20167137970331026</c:v>
                </c:pt>
                <c:pt idx="694" formatCode="0.0%">
                  <c:v>0.20066603038209579</c:v>
                </c:pt>
                <c:pt idx="695" formatCode="0.0%">
                  <c:v>0.20066603038209579</c:v>
                </c:pt>
                <c:pt idx="696" formatCode="0.0%">
                  <c:v>0.20066603038209579</c:v>
                </c:pt>
                <c:pt idx="697" formatCode="0.0%">
                  <c:v>0.19340559004559382</c:v>
                </c:pt>
                <c:pt idx="698" formatCode="0.0%">
                  <c:v>0.18983116789737495</c:v>
                </c:pt>
                <c:pt idx="699" formatCode="0.0%">
                  <c:v>0.21943169741221297</c:v>
                </c:pt>
                <c:pt idx="700" formatCode="0.0%">
                  <c:v>0.20781487467853352</c:v>
                </c:pt>
                <c:pt idx="701" formatCode="0.0%">
                  <c:v>0.19943739048468928</c:v>
                </c:pt>
                <c:pt idx="702" formatCode="0.0%">
                  <c:v>0.19943739048468928</c:v>
                </c:pt>
                <c:pt idx="703" formatCode="0.0%">
                  <c:v>0.19943739048468928</c:v>
                </c:pt>
                <c:pt idx="704" formatCode="0.0%">
                  <c:v>0.19385236819010515</c:v>
                </c:pt>
                <c:pt idx="705" formatCode="0.0%">
                  <c:v>0.18502800735568598</c:v>
                </c:pt>
                <c:pt idx="706" formatCode="0.0%">
                  <c:v>0.17508670115998812</c:v>
                </c:pt>
                <c:pt idx="707" formatCode="0.0%">
                  <c:v>0.17385796276651816</c:v>
                </c:pt>
                <c:pt idx="708" formatCode="0.0%">
                  <c:v>0.17631543955345833</c:v>
                </c:pt>
                <c:pt idx="709" formatCode="0.0%">
                  <c:v>0.17631543955345833</c:v>
                </c:pt>
                <c:pt idx="710" formatCode="0.0%">
                  <c:v>0.17631543955345833</c:v>
                </c:pt>
                <c:pt idx="711" formatCode="0.0%">
                  <c:v>0.16715599511065535</c:v>
                </c:pt>
                <c:pt idx="712" formatCode="0.0%">
                  <c:v>0.20010755770145636</c:v>
                </c:pt>
                <c:pt idx="713" formatCode="0.0%">
                  <c:v>0.18391106199440727</c:v>
                </c:pt>
                <c:pt idx="714" formatCode="0.0%">
                  <c:v>0.15229983383714057</c:v>
                </c:pt>
                <c:pt idx="715" formatCode="0.0%">
                  <c:v>0.13822563281258454</c:v>
                </c:pt>
                <c:pt idx="716" formatCode="0.0%">
                  <c:v>0.13822563281258454</c:v>
                </c:pt>
                <c:pt idx="717" formatCode="0.0%">
                  <c:v>0.13822563281258454</c:v>
                </c:pt>
                <c:pt idx="718" formatCode="0.0%">
                  <c:v>0.13800224374032893</c:v>
                </c:pt>
                <c:pt idx="719" formatCode="0.0%">
                  <c:v>0.12772585393624752</c:v>
                </c:pt>
                <c:pt idx="720" formatCode="0.0%">
                  <c:v>0.13856071642096807</c:v>
                </c:pt>
                <c:pt idx="721" formatCode="0.0%">
                  <c:v>0.13554486544945221</c:v>
                </c:pt>
                <c:pt idx="722" formatCode="0.0%">
                  <c:v>0.12694389368728892</c:v>
                </c:pt>
                <c:pt idx="723" formatCode="0.0%">
                  <c:v>0.12694389368728892</c:v>
                </c:pt>
                <c:pt idx="724" formatCode="0.0%">
                  <c:v>0.12694389368728892</c:v>
                </c:pt>
                <c:pt idx="725" formatCode="0.0%">
                  <c:v>0.12694389368728892</c:v>
                </c:pt>
                <c:pt idx="726" formatCode="0.0%">
                  <c:v>0.13185874876510553</c:v>
                </c:pt>
                <c:pt idx="727" formatCode="0.0%">
                  <c:v>0.13208213783736128</c:v>
                </c:pt>
                <c:pt idx="728" formatCode="0.0%">
                  <c:v>0.12727897729567247</c:v>
                </c:pt>
                <c:pt idx="729" formatCode="0.0%">
                  <c:v>0.12560346075769074</c:v>
                </c:pt>
                <c:pt idx="730" formatCode="0.0%">
                  <c:v>0.12769561564472071</c:v>
                </c:pt>
                <c:pt idx="731" formatCode="0.0%">
                  <c:v>0.12769561564472071</c:v>
                </c:pt>
                <c:pt idx="732" formatCode="0.0%">
                  <c:v>0.12769561564472071</c:v>
                </c:pt>
                <c:pt idx="733" formatCode="0.0%">
                  <c:v>0.14816693900828257</c:v>
                </c:pt>
                <c:pt idx="734" formatCode="0.0%">
                  <c:v>0.14369896057104087</c:v>
                </c:pt>
                <c:pt idx="735" formatCode="0.0%">
                  <c:v>0.13990114935056625</c:v>
                </c:pt>
                <c:pt idx="736" formatCode="0.0%">
                  <c:v>0.14224683310531488</c:v>
                </c:pt>
                <c:pt idx="737" formatCode="0.0%">
                  <c:v>0.14224683310531488</c:v>
                </c:pt>
                <c:pt idx="738" formatCode="0.0%">
                  <c:v>0.14224683310531488</c:v>
                </c:pt>
                <c:pt idx="739" formatCode="0.0%">
                  <c:v>0.15028923369077574</c:v>
                </c:pt>
                <c:pt idx="740" formatCode="0.0%">
                  <c:v>0.14548617164515007</c:v>
                </c:pt>
                <c:pt idx="741" formatCode="0.0%">
                  <c:v>0.15565086691310384</c:v>
                </c:pt>
                <c:pt idx="742" formatCode="0.0%">
                  <c:v>0.16380496203469236</c:v>
                </c:pt>
                <c:pt idx="743" formatCode="0.0%">
                  <c:v>0.16168266735219944</c:v>
                </c:pt>
                <c:pt idx="744" formatCode="0.0%">
                  <c:v>0.16168266735219944</c:v>
                </c:pt>
                <c:pt idx="745" formatCode="0.0%">
                  <c:v>0.16168266735219944</c:v>
                </c:pt>
                <c:pt idx="746" formatCode="0.0%">
                  <c:v>0.17240593379685579</c:v>
                </c:pt>
                <c:pt idx="747" formatCode="0.0%">
                  <c:v>0.17575686837675519</c:v>
                </c:pt>
                <c:pt idx="748" formatCode="0.0%">
                  <c:v>0.17631543955345833</c:v>
                </c:pt>
                <c:pt idx="749" formatCode="0.0%">
                  <c:v>0.15911359452519463</c:v>
                </c:pt>
                <c:pt idx="750" formatCode="0.0%">
                  <c:v>0.15520408876859235</c:v>
                </c:pt>
                <c:pt idx="751" formatCode="0.0%">
                  <c:v>0.15520408876859235</c:v>
                </c:pt>
                <c:pt idx="752" formatCode="0.0%">
                  <c:v>0.15520408876859235</c:v>
                </c:pt>
                <c:pt idx="753" formatCode="0.0%">
                  <c:v>0.17061872272274642</c:v>
                </c:pt>
                <c:pt idx="754" formatCode="0.0%">
                  <c:v>0.17184736262015293</c:v>
                </c:pt>
                <c:pt idx="755" formatCode="0.0%">
                  <c:v>0.1622411400328386</c:v>
                </c:pt>
                <c:pt idx="756" formatCode="0.0%">
                  <c:v>0.18467726287318939</c:v>
                </c:pt>
                <c:pt idx="757" formatCode="0.0%">
                  <c:v>0.18356967463795315</c:v>
                </c:pt>
                <c:pt idx="758" formatCode="0.0%">
                  <c:v>0.18356967463795315</c:v>
                </c:pt>
                <c:pt idx="759" formatCode="0.0%">
                  <c:v>0.18356967463795315</c:v>
                </c:pt>
                <c:pt idx="760" formatCode="0.0%">
                  <c:v>0.18042430134279683</c:v>
                </c:pt>
                <c:pt idx="761" formatCode="0.0%">
                  <c:v>0.18771931379762408</c:v>
                </c:pt>
                <c:pt idx="762" formatCode="0.0%">
                  <c:v>0.18210927350288444</c:v>
                </c:pt>
                <c:pt idx="763" formatCode="0.0%">
                  <c:v>0.20041998721521112</c:v>
                </c:pt>
                <c:pt idx="764" formatCode="0.0%">
                  <c:v>0.20165571882919722</c:v>
                </c:pt>
                <c:pt idx="765" formatCode="0.0%">
                  <c:v>0.20165571882919722</c:v>
                </c:pt>
                <c:pt idx="766" formatCode="0.0%">
                  <c:v>0.20165571882919722</c:v>
                </c:pt>
                <c:pt idx="767" formatCode="0.0%">
                  <c:v>0.2027790664346098</c:v>
                </c:pt>
                <c:pt idx="768" formatCode="0.0%">
                  <c:v>0.20547510068760105</c:v>
                </c:pt>
                <c:pt idx="769" formatCode="0.0%">
                  <c:v>0.213675685951211</c:v>
                </c:pt>
                <c:pt idx="770" formatCode="0.0%">
                  <c:v>0.21165356176540398</c:v>
                </c:pt>
                <c:pt idx="771" formatCode="0.0%">
                  <c:v>0.20041998721521112</c:v>
                </c:pt>
                <c:pt idx="772" formatCode="0.0%">
                  <c:v>0.20041998721521112</c:v>
                </c:pt>
                <c:pt idx="773" formatCode="0.0%">
                  <c:v>0.20041998721521112</c:v>
                </c:pt>
                <c:pt idx="774" formatCode="0.0%">
                  <c:v>0.20637387726799503</c:v>
                </c:pt>
                <c:pt idx="775" formatCode="0.0%">
                  <c:v>0.21412502499337621</c:v>
                </c:pt>
                <c:pt idx="776" formatCode="0.0%">
                  <c:v>0.21277700786688072</c:v>
                </c:pt>
                <c:pt idx="777" formatCode="0.0%">
                  <c:v>0.20895752751241289</c:v>
                </c:pt>
                <c:pt idx="778" formatCode="0.0%">
                  <c:v>0.20536281517509153</c:v>
                </c:pt>
                <c:pt idx="779" formatCode="0.0%">
                  <c:v>0.20536281517509153</c:v>
                </c:pt>
                <c:pt idx="780" formatCode="0.0%">
                  <c:v>0.20536281517509153</c:v>
                </c:pt>
                <c:pt idx="781" formatCode="0.0%">
                  <c:v>0.20491347613292632</c:v>
                </c:pt>
                <c:pt idx="782" formatCode="0.0%">
                  <c:v>0.19918435409728857</c:v>
                </c:pt>
                <c:pt idx="783" formatCode="0.0%">
                  <c:v>0.1906468138000865</c:v>
                </c:pt>
                <c:pt idx="784" formatCode="0.0%">
                  <c:v>0.19749928344113726</c:v>
                </c:pt>
                <c:pt idx="785" formatCode="0.0%">
                  <c:v>0.18907412715250843</c:v>
                </c:pt>
                <c:pt idx="786" formatCode="0.0%">
                  <c:v>0.18907412715250843</c:v>
                </c:pt>
                <c:pt idx="787" formatCode="0.0%">
                  <c:v>0.18907412715250843</c:v>
                </c:pt>
                <c:pt idx="788" formatCode="0.0%">
                  <c:v>0.18886186813543987</c:v>
                </c:pt>
                <c:pt idx="789" formatCode="0.0%">
                  <c:v>0.18388761993126934</c:v>
                </c:pt>
                <c:pt idx="790" formatCode="0.0%">
                  <c:v>0.17682949050941191</c:v>
                </c:pt>
                <c:pt idx="791" formatCode="0.0%">
                  <c:v>0.17413345625642079</c:v>
                </c:pt>
                <c:pt idx="792" formatCode="0.0%">
                  <c:v>0.1910961528422517</c:v>
                </c:pt>
                <c:pt idx="793" formatCode="0.0%">
                  <c:v>0.1910961528422517</c:v>
                </c:pt>
                <c:pt idx="794" formatCode="0.0%">
                  <c:v>0.1910961528422517</c:v>
                </c:pt>
                <c:pt idx="795" formatCode="0.0%">
                  <c:v>0.19895968457620583</c:v>
                </c:pt>
                <c:pt idx="796" formatCode="0.0%">
                  <c:v>0.19929663960979796</c:v>
                </c:pt>
                <c:pt idx="797" formatCode="0.0%">
                  <c:v>0.19300589301948562</c:v>
                </c:pt>
                <c:pt idx="798" formatCode="0.0%">
                  <c:v>0.19660060535680698</c:v>
                </c:pt>
                <c:pt idx="799" formatCode="0.0%">
                  <c:v>0.15952983888998887</c:v>
                </c:pt>
                <c:pt idx="800" formatCode="0.0%">
                  <c:v>0.15952983888998887</c:v>
                </c:pt>
                <c:pt idx="801" formatCode="0.0%">
                  <c:v>0.15952983888998887</c:v>
                </c:pt>
                <c:pt idx="802" formatCode="0.0%">
                  <c:v>0.13706268978960254</c:v>
                </c:pt>
                <c:pt idx="803" formatCode="0.0%">
                  <c:v>0.15537340350192891</c:v>
                </c:pt>
                <c:pt idx="804" formatCode="0.0%">
                  <c:v>0.14908255841555301</c:v>
                </c:pt>
                <c:pt idx="805" formatCode="0.0%">
                  <c:v>0.15323899380361269</c:v>
                </c:pt>
                <c:pt idx="806" formatCode="0.0%">
                  <c:v>0.15481168045119076</c:v>
                </c:pt>
                <c:pt idx="807" formatCode="0.0%">
                  <c:v>0.15481168045119076</c:v>
                </c:pt>
                <c:pt idx="808" formatCode="0.0%">
                  <c:v>0.15481168045119076</c:v>
                </c:pt>
                <c:pt idx="809" formatCode="0.0%">
                  <c:v>0.1536883328457779</c:v>
                </c:pt>
                <c:pt idx="810" formatCode="0.0%">
                  <c:v>0.16211348913440687</c:v>
                </c:pt>
                <c:pt idx="811" formatCode="0.0%">
                  <c:v>0.16784261117004462</c:v>
                </c:pt>
                <c:pt idx="812" formatCode="0.0%">
                  <c:v>0.15829410727600263</c:v>
                </c:pt>
                <c:pt idx="813" formatCode="0.0%">
                  <c:v>0.15312670829110317</c:v>
                </c:pt>
                <c:pt idx="814" formatCode="0.0%">
                  <c:v>0.15312670829110317</c:v>
                </c:pt>
                <c:pt idx="815" formatCode="0.0%">
                  <c:v>0.15312670829110317</c:v>
                </c:pt>
                <c:pt idx="816" formatCode="0.0%">
                  <c:v>0.16436028284129647</c:v>
                </c:pt>
                <c:pt idx="817" formatCode="0.0%">
                  <c:v>0.15559807302301182</c:v>
                </c:pt>
                <c:pt idx="818" formatCode="0.0%">
                  <c:v>0.16739327212787941</c:v>
                </c:pt>
                <c:pt idx="819" formatCode="0.0%">
                  <c:v>0.17278543912992533</c:v>
                </c:pt>
                <c:pt idx="820" formatCode="0.0%">
                  <c:v>0.19154549188441677</c:v>
                </c:pt>
                <c:pt idx="821" formatCode="0.0%">
                  <c:v>0.19154549188441677</c:v>
                </c:pt>
                <c:pt idx="822" formatCode="0.0%">
                  <c:v>0.19154549188441677</c:v>
                </c:pt>
                <c:pt idx="823" formatCode="0.0%">
                  <c:v>0.19165787589299016</c:v>
                </c:pt>
                <c:pt idx="824" formatCode="0.0%">
                  <c:v>0.19356751757416021</c:v>
                </c:pt>
                <c:pt idx="825" formatCode="0.0%">
                  <c:v>0.17930095373738397</c:v>
                </c:pt>
                <c:pt idx="826" formatCode="0.0%">
                  <c:v>0.17930095373738397</c:v>
                </c:pt>
                <c:pt idx="827" formatCode="0.0%">
                  <c:v>0.17930095373738397</c:v>
                </c:pt>
                <c:pt idx="828" formatCode="0.0%">
                  <c:v>0.17930095373738397</c:v>
                </c:pt>
                <c:pt idx="829" formatCode="0.0%">
                  <c:v>0.17930095373738397</c:v>
                </c:pt>
                <c:pt idx="830" formatCode="0.0%">
                  <c:v>0.17930095373738397</c:v>
                </c:pt>
                <c:pt idx="831" formatCode="0.0%">
                  <c:v>0.18570408433626967</c:v>
                </c:pt>
                <c:pt idx="832" formatCode="0.0%">
                  <c:v>0.18873707362285258</c:v>
                </c:pt>
                <c:pt idx="833" formatCode="0.0%">
                  <c:v>0.17784055260231527</c:v>
                </c:pt>
                <c:pt idx="834" formatCode="0.0%">
                  <c:v>0.19233188445623767</c:v>
                </c:pt>
                <c:pt idx="835" formatCode="0.0%">
                  <c:v>0.19233188445623767</c:v>
                </c:pt>
                <c:pt idx="836" formatCode="0.0%">
                  <c:v>0.19233188445623767</c:v>
                </c:pt>
                <c:pt idx="837" formatCode="0.0%">
                  <c:v>0.19704994439897219</c:v>
                </c:pt>
                <c:pt idx="838" formatCode="0.0%">
                  <c:v>0.20086942475343975</c:v>
                </c:pt>
                <c:pt idx="839" formatCode="0.0%">
                  <c:v>0.19424152613740803</c:v>
                </c:pt>
                <c:pt idx="840" formatCode="0.0%">
                  <c:v>0.18974813571575594</c:v>
                </c:pt>
                <c:pt idx="841" formatCode="0.0%">
                  <c:v>0.19323056254056808</c:v>
                </c:pt>
                <c:pt idx="842" formatCode="0.0%">
                  <c:v>0.19323056254056808</c:v>
                </c:pt>
                <c:pt idx="843" formatCode="0.0%">
                  <c:v>0.19323056254056808</c:v>
                </c:pt>
                <c:pt idx="844" formatCode="0.0%">
                  <c:v>0.19030985876649439</c:v>
                </c:pt>
                <c:pt idx="845" formatCode="0.0%">
                  <c:v>0.18671504793310945</c:v>
                </c:pt>
                <c:pt idx="846" formatCode="0.0%">
                  <c:v>0.16559591595921888</c:v>
                </c:pt>
                <c:pt idx="847" formatCode="0.0%">
                  <c:v>0.17491984882824169</c:v>
                </c:pt>
                <c:pt idx="848" formatCode="0.0%">
                  <c:v>0.18525474529410416</c:v>
                </c:pt>
                <c:pt idx="849" formatCode="0.0%">
                  <c:v>0.18525474529410416</c:v>
                </c:pt>
                <c:pt idx="850" formatCode="0.0%">
                  <c:v>0.18952681506083607</c:v>
                </c:pt>
                <c:pt idx="851" formatCode="0.0%">
                  <c:v>0.19221950044766459</c:v>
                </c:pt>
                <c:pt idx="852" formatCode="0.0%">
                  <c:v>0.18896174314393518</c:v>
                </c:pt>
                <c:pt idx="853" formatCode="0.0%">
                  <c:v>0.18087364038496204</c:v>
                </c:pt>
                <c:pt idx="854" formatCode="0.0%">
                  <c:v>0.17020169038944361</c:v>
                </c:pt>
                <c:pt idx="855" formatCode="0.0%">
                  <c:v>0.17020169038944361</c:v>
                </c:pt>
                <c:pt idx="856" formatCode="0.0%">
                  <c:v>0.17020169038944361</c:v>
                </c:pt>
                <c:pt idx="857" formatCode="0.0%">
                  <c:v>0.17020169038944361</c:v>
                </c:pt>
                <c:pt idx="858" formatCode="0.0%">
                  <c:v>0.18682743194168253</c:v>
                </c:pt>
                <c:pt idx="859" formatCode="0.0%">
                  <c:v>0.1906468138000865</c:v>
                </c:pt>
                <c:pt idx="860" formatCode="0.0%">
                  <c:v>0.19300589301948562</c:v>
                </c:pt>
                <c:pt idx="861" formatCode="0.0%">
                  <c:v>0.19828567601295816</c:v>
                </c:pt>
                <c:pt idx="862" formatCode="0.0%">
                  <c:v>0.20614910925084901</c:v>
                </c:pt>
                <c:pt idx="863" formatCode="0.0%">
                  <c:v>0.20614910925084901</c:v>
                </c:pt>
                <c:pt idx="864" formatCode="0.0%">
                  <c:v>0.20614910925084901</c:v>
                </c:pt>
                <c:pt idx="865" formatCode="0.0%">
                  <c:v>0.20401479804859604</c:v>
                </c:pt>
                <c:pt idx="866" formatCode="0.0%">
                  <c:v>0.20457642260327064</c:v>
                </c:pt>
                <c:pt idx="867" formatCode="0.0%">
                  <c:v>0.20918219703349578</c:v>
                </c:pt>
                <c:pt idx="868" formatCode="0.0%">
                  <c:v>0.20918219703349578</c:v>
                </c:pt>
                <c:pt idx="869" formatCode="0.0%">
                  <c:v>0.20918219703349578</c:v>
                </c:pt>
                <c:pt idx="870" formatCode="0.0%">
                  <c:v>0.20918219703349578</c:v>
                </c:pt>
                <c:pt idx="871" formatCode="0.0%">
                  <c:v>0.20918219703349578</c:v>
                </c:pt>
                <c:pt idx="872" formatCode="0.0%">
                  <c:v>0.23198639966353737</c:v>
                </c:pt>
                <c:pt idx="873" formatCode="0.0%">
                  <c:v>0.22625727762789949</c:v>
                </c:pt>
                <c:pt idx="874" formatCode="0.0%">
                  <c:v>0.20760951038591741</c:v>
                </c:pt>
                <c:pt idx="875" formatCode="0.0%">
                  <c:v>0.21648400571671148</c:v>
                </c:pt>
                <c:pt idx="876" formatCode="0.0%">
                  <c:v>0.22592022409824408</c:v>
                </c:pt>
                <c:pt idx="877" formatCode="0.0%">
                  <c:v>0.22592022409824408</c:v>
                </c:pt>
                <c:pt idx="878" formatCode="0.0%">
                  <c:v>0.22592022409824408</c:v>
                </c:pt>
                <c:pt idx="879" formatCode="0.0%">
                  <c:v>0.22592022409824408</c:v>
                </c:pt>
                <c:pt idx="880" formatCode="0.0%">
                  <c:v>0.2353564424797763</c:v>
                </c:pt>
                <c:pt idx="881" formatCode="0.0%">
                  <c:v>0.2242768172769975</c:v>
                </c:pt>
                <c:pt idx="882" formatCode="0.0%">
                  <c:v>0.22176378871018415</c:v>
                </c:pt>
                <c:pt idx="883" formatCode="0.0%">
                  <c:v>0.2442309378105702</c:v>
                </c:pt>
                <c:pt idx="884" formatCode="0.0%">
                  <c:v>0.2442309378105702</c:v>
                </c:pt>
                <c:pt idx="885" formatCode="0.0%">
                  <c:v>0.2442309378105702</c:v>
                </c:pt>
                <c:pt idx="886" formatCode="0.0%">
                  <c:v>0.2442309378105702</c:v>
                </c:pt>
                <c:pt idx="887" formatCode="0.0%">
                  <c:v>0.25355487067959331</c:v>
                </c:pt>
                <c:pt idx="888" formatCode="0.0%">
                  <c:v>0.25557689636933661</c:v>
                </c:pt>
                <c:pt idx="889" formatCode="0.0%">
                  <c:v>0.24468037534879911</c:v>
                </c:pt>
                <c:pt idx="890" formatCode="0.0%">
                  <c:v>0.2534424866710201</c:v>
                </c:pt>
                <c:pt idx="891" formatCode="0.0%">
                  <c:v>0.2534424866710201</c:v>
                </c:pt>
                <c:pt idx="892" formatCode="0.0%">
                  <c:v>0.2534424866710201</c:v>
                </c:pt>
                <c:pt idx="893" formatCode="0.0%">
                  <c:v>0.25636328894115762</c:v>
                </c:pt>
                <c:pt idx="894" formatCode="0.0%">
                  <c:v>0.26770914900386017</c:v>
                </c:pt>
                <c:pt idx="895" formatCode="0.0%">
                  <c:v>0.26501311475086892</c:v>
                </c:pt>
                <c:pt idx="896" formatCode="0.0%">
                  <c:v>0.25771130606765297</c:v>
                </c:pt>
                <c:pt idx="897" formatCode="0.0%">
                  <c:v>0.26838315756710784</c:v>
                </c:pt>
                <c:pt idx="898" formatCode="0.0%">
                  <c:v>0.26838315756710784</c:v>
                </c:pt>
                <c:pt idx="899" formatCode="0.0%">
                  <c:v>0.26838315756710784</c:v>
                </c:pt>
                <c:pt idx="900" formatCode="0.0%">
                  <c:v>0.25737425253799739</c:v>
                </c:pt>
                <c:pt idx="901" formatCode="0.0%">
                  <c:v>0.25714958301691482</c:v>
                </c:pt>
                <c:pt idx="902" formatCode="0.0%">
                  <c:v>0.24838737319863013</c:v>
                </c:pt>
                <c:pt idx="903" formatCode="0.0%">
                  <c:v>0.24029927043965699</c:v>
                </c:pt>
                <c:pt idx="904" formatCode="0.0%">
                  <c:v>0.24254596565048289</c:v>
                </c:pt>
                <c:pt idx="905" formatCode="0.0%">
                  <c:v>0.24254596565048289</c:v>
                </c:pt>
                <c:pt idx="906" formatCode="0.0%">
                  <c:v>0.24254596565048289</c:v>
                </c:pt>
                <c:pt idx="907" formatCode="0.0%">
                  <c:v>0.24209662660831754</c:v>
                </c:pt>
                <c:pt idx="908" formatCode="0.0%">
                  <c:v>0.23524415696726678</c:v>
                </c:pt>
                <c:pt idx="909" formatCode="0.0%">
                  <c:v>0.24670240103854255</c:v>
                </c:pt>
                <c:pt idx="910" formatCode="0.0%">
                  <c:v>0.25580156589041936</c:v>
                </c:pt>
                <c:pt idx="911" formatCode="0.0%">
                  <c:v>0.26934704004554461</c:v>
                </c:pt>
                <c:pt idx="912" formatCode="0.0%">
                  <c:v>0.26934704004554461</c:v>
                </c:pt>
                <c:pt idx="913" formatCode="0.0%">
                  <c:v>0.26934704004554461</c:v>
                </c:pt>
                <c:pt idx="914" formatCode="0.0%">
                  <c:v>0.26905716613035552</c:v>
                </c:pt>
                <c:pt idx="915" formatCode="0.0%">
                  <c:v>0.26883249660927305</c:v>
                </c:pt>
                <c:pt idx="916" formatCode="0.0%">
                  <c:v>0.26433910618762124</c:v>
                </c:pt>
                <c:pt idx="917" formatCode="0.0%">
                  <c:v>0.251869800023442</c:v>
                </c:pt>
                <c:pt idx="918" formatCode="0.0%">
                  <c:v>0.25018482786335455</c:v>
                </c:pt>
                <c:pt idx="919" formatCode="0.0%">
                  <c:v>0.25018482786335455</c:v>
                </c:pt>
                <c:pt idx="920" formatCode="0.0%">
                  <c:v>0.25018482786335455</c:v>
                </c:pt>
                <c:pt idx="921" formatCode="0.0%">
                  <c:v>0.24793803415646493</c:v>
                </c:pt>
                <c:pt idx="922" formatCode="0.0%">
                  <c:v>0.25097112193911175</c:v>
                </c:pt>
                <c:pt idx="923" formatCode="0.0%">
                  <c:v>0.25568928037790956</c:v>
                </c:pt>
                <c:pt idx="924" formatCode="0.0%">
                  <c:v>0.25838531463090092</c:v>
                </c:pt>
                <c:pt idx="925" formatCode="0.0%">
                  <c:v>0.26051962583315375</c:v>
                </c:pt>
                <c:pt idx="926" formatCode="0.0%">
                  <c:v>0.26051962583315375</c:v>
                </c:pt>
                <c:pt idx="927" formatCode="0.0%">
                  <c:v>0.26051962583315375</c:v>
                </c:pt>
                <c:pt idx="928" formatCode="0.0%">
                  <c:v>0.25804826110124507</c:v>
                </c:pt>
                <c:pt idx="929" formatCode="0.0%">
                  <c:v>0.26007028679098854</c:v>
                </c:pt>
                <c:pt idx="930" formatCode="0.0%">
                  <c:v>0.27456161864491091</c:v>
                </c:pt>
                <c:pt idx="931" formatCode="0.0%">
                  <c:v>0.27512334169564912</c:v>
                </c:pt>
                <c:pt idx="932" formatCode="0.0%">
                  <c:v>0.27770709043613068</c:v>
                </c:pt>
                <c:pt idx="933" formatCode="0.0%">
                  <c:v>0.27770709043613068</c:v>
                </c:pt>
                <c:pt idx="934" formatCode="0.0%">
                  <c:v>0.27770709043613068</c:v>
                </c:pt>
                <c:pt idx="935" formatCode="0.0%">
                  <c:v>0.28141408828596182</c:v>
                </c:pt>
                <c:pt idx="936" formatCode="0.0%">
                  <c:v>0.28736787984268231</c:v>
                </c:pt>
                <c:pt idx="937" formatCode="0.0%">
                  <c:v>0.28354849798427806</c:v>
                </c:pt>
                <c:pt idx="938" formatCode="0.0%">
                  <c:v>0.30331961283167319</c:v>
                </c:pt>
                <c:pt idx="939" formatCode="0.0%">
                  <c:v>0.29511912606412694</c:v>
                </c:pt>
                <c:pt idx="940" formatCode="0.0%">
                  <c:v>0.29511912606412694</c:v>
                </c:pt>
                <c:pt idx="941" formatCode="0.0%">
                  <c:v>0.29511912606412694</c:v>
                </c:pt>
                <c:pt idx="942" formatCode="0.0%">
                  <c:v>0.2971152472891424</c:v>
                </c:pt>
                <c:pt idx="943" formatCode="0.0%">
                  <c:v>0.29579313462737472</c:v>
                </c:pt>
                <c:pt idx="944" formatCode="0.0%">
                  <c:v>0.28512118463185632</c:v>
                </c:pt>
                <c:pt idx="945" formatCode="0.0%">
                  <c:v>0.27433694912382833</c:v>
                </c:pt>
                <c:pt idx="946" formatCode="0.0%">
                  <c:v>0.27141624534975478</c:v>
                </c:pt>
                <c:pt idx="947" formatCode="0.0%">
                  <c:v>0.27141624534975478</c:v>
                </c:pt>
                <c:pt idx="948" formatCode="0.0%">
                  <c:v>0.27141624534975478</c:v>
                </c:pt>
                <c:pt idx="949" formatCode="0.0%">
                  <c:v>0.27287664648482335</c:v>
                </c:pt>
                <c:pt idx="950" formatCode="0.0%">
                  <c:v>0.2737753245691536</c:v>
                </c:pt>
                <c:pt idx="951" formatCode="0.0%">
                  <c:v>0.27399999409023623</c:v>
                </c:pt>
                <c:pt idx="952" formatCode="0.0%">
                  <c:v>0.27355065504807102</c:v>
                </c:pt>
                <c:pt idx="953" formatCode="0.0%">
                  <c:v>0.26523778427195155</c:v>
                </c:pt>
                <c:pt idx="954" formatCode="0.0%">
                  <c:v>0.26523778427195155</c:v>
                </c:pt>
                <c:pt idx="955" formatCode="0.0%">
                  <c:v>0.26523778427195155</c:v>
                </c:pt>
                <c:pt idx="956" formatCode="0.0%">
                  <c:v>0.27062985277793361</c:v>
                </c:pt>
                <c:pt idx="957" formatCode="0.0%">
                  <c:v>0.26377738313688298</c:v>
                </c:pt>
                <c:pt idx="958" formatCode="0.0%">
                  <c:v>0.2626540355314701</c:v>
                </c:pt>
                <c:pt idx="959" formatCode="0.0%">
                  <c:v>0.25602623541150166</c:v>
                </c:pt>
                <c:pt idx="960" formatCode="0.0%">
                  <c:v>0.24018688643108391</c:v>
                </c:pt>
                <c:pt idx="961" formatCode="0.0%">
                  <c:v>0.24018688643108391</c:v>
                </c:pt>
                <c:pt idx="962" formatCode="0.0%">
                  <c:v>0.24018688643108391</c:v>
                </c:pt>
                <c:pt idx="963" formatCode="0.0%">
                  <c:v>0.25209446954452458</c:v>
                </c:pt>
                <c:pt idx="964" formatCode="0.0%">
                  <c:v>0.26175535744713985</c:v>
                </c:pt>
                <c:pt idx="965" formatCode="0.0%">
                  <c:v>0.26344042810329099</c:v>
                </c:pt>
                <c:pt idx="966" formatCode="0.0%">
                  <c:v>0.27287664648482335</c:v>
                </c:pt>
                <c:pt idx="967" formatCode="0.0%">
                  <c:v>0.2659117928351995</c:v>
                </c:pt>
                <c:pt idx="968" formatCode="0.0%">
                  <c:v>0.2659117928351995</c:v>
                </c:pt>
                <c:pt idx="969" formatCode="0.0%">
                  <c:v>0.2659117928351995</c:v>
                </c:pt>
                <c:pt idx="970" formatCode="0.0%">
                  <c:v>0.27489867217456648</c:v>
                </c:pt>
                <c:pt idx="971" formatCode="0.0%">
                  <c:v>0.27860576852046121</c:v>
                </c:pt>
                <c:pt idx="972" formatCode="0.0%">
                  <c:v>0.28264981989994764</c:v>
                </c:pt>
                <c:pt idx="973" formatCode="0.0%">
                  <c:v>0.29076274366694949</c:v>
                </c:pt>
                <c:pt idx="974" formatCode="0.0%">
                  <c:v>0.2973658212749527</c:v>
                </c:pt>
                <c:pt idx="975" formatCode="0.0%">
                  <c:v>0.2973658212749527</c:v>
                </c:pt>
                <c:pt idx="976" formatCode="0.0%">
                  <c:v>0.2973658212749527</c:v>
                </c:pt>
                <c:pt idx="977" formatCode="0.0%">
                  <c:v>0.30129758714193</c:v>
                </c:pt>
                <c:pt idx="978" formatCode="0.0%">
                  <c:v>0.30185921169660446</c:v>
                </c:pt>
                <c:pt idx="979" formatCode="0.0%">
                  <c:v>0.29579313462737472</c:v>
                </c:pt>
                <c:pt idx="980" formatCode="0.0%">
                  <c:v>0.28995162858316348</c:v>
                </c:pt>
                <c:pt idx="981" formatCode="0.0%">
                  <c:v>0.28983934307065423</c:v>
                </c:pt>
                <c:pt idx="982" formatCode="0.0%">
                  <c:v>0.28983934307065423</c:v>
                </c:pt>
                <c:pt idx="983" formatCode="0.0%">
                  <c:v>0.28983934307065423</c:v>
                </c:pt>
                <c:pt idx="984" formatCode="0.0%">
                  <c:v>0.29219832379398952</c:v>
                </c:pt>
                <c:pt idx="985" formatCode="0.0%">
                  <c:v>0.29669181271170514</c:v>
                </c:pt>
                <c:pt idx="986" formatCode="0.0%">
                  <c:v>0.29073802115498465</c:v>
                </c:pt>
                <c:pt idx="987" formatCode="0.0%">
                  <c:v>0.30444296043708619</c:v>
                </c:pt>
                <c:pt idx="988" formatCode="0.0%">
                  <c:v>0.30208388121768709</c:v>
                </c:pt>
                <c:pt idx="989" formatCode="0.0%">
                  <c:v>0.30208388121768709</c:v>
                </c:pt>
                <c:pt idx="990" formatCode="0.0%">
                  <c:v>0.30208388121768709</c:v>
                </c:pt>
                <c:pt idx="991" formatCode="0.0%">
                  <c:v>0.29276004684472812</c:v>
                </c:pt>
                <c:pt idx="992" formatCode="0.0%">
                  <c:v>0.28669387127943424</c:v>
                </c:pt>
                <c:pt idx="993" formatCode="0.0%">
                  <c:v>0.29040096762532897</c:v>
                </c:pt>
                <c:pt idx="994" formatCode="0.0%">
                  <c:v>0.27332598552698828</c:v>
                </c:pt>
                <c:pt idx="995" formatCode="0.0%">
                  <c:v>0.26478844522978662</c:v>
                </c:pt>
                <c:pt idx="996" formatCode="0.0%">
                  <c:v>0.26478844522978662</c:v>
                </c:pt>
                <c:pt idx="997" formatCode="0.0%">
                  <c:v>0.26478844522978662</c:v>
                </c:pt>
                <c:pt idx="998" formatCode="0.0%">
                  <c:v>0.26141840241354769</c:v>
                </c:pt>
                <c:pt idx="999" formatCode="0.0%">
                  <c:v>0.25849760014341028</c:v>
                </c:pt>
                <c:pt idx="1000" formatCode="0.0%">
                  <c:v>0.26040734032064422</c:v>
                </c:pt>
                <c:pt idx="1001" formatCode="0.0%">
                  <c:v>0.25479050379751583</c:v>
                </c:pt>
                <c:pt idx="1002" formatCode="0.0%">
                  <c:v>0.26669818540702023</c:v>
                </c:pt>
                <c:pt idx="1003" formatCode="0.0%">
                  <c:v>0.2544670427246376</c:v>
                </c:pt>
                <c:pt idx="1004" formatCode="0.0%">
                  <c:v>0.2544670427246376</c:v>
                </c:pt>
                <c:pt idx="1005" formatCode="0.0%">
                  <c:v>0.25838531463090092</c:v>
                </c:pt>
                <c:pt idx="1006" formatCode="0.0%">
                  <c:v>0.2526561925952629</c:v>
                </c:pt>
                <c:pt idx="1007" formatCode="0.0%">
                  <c:v>0.24434332181914356</c:v>
                </c:pt>
                <c:pt idx="1008" formatCode="0.0%">
                  <c:v>0.24670240103854255</c:v>
                </c:pt>
                <c:pt idx="1009" formatCode="0.0%">
                  <c:v>0.24366931325589575</c:v>
                </c:pt>
                <c:pt idx="1010" formatCode="0.0%">
                  <c:v>0.24366931325589575</c:v>
                </c:pt>
                <c:pt idx="1011" formatCode="0.0%">
                  <c:v>0.24366931325589575</c:v>
                </c:pt>
                <c:pt idx="1012" formatCode="0.0%">
                  <c:v>0.24827508768612064</c:v>
                </c:pt>
                <c:pt idx="1013" formatCode="0.0%">
                  <c:v>0.26310337457363503</c:v>
                </c:pt>
                <c:pt idx="1014" formatCode="0.0%">
                  <c:v>0.26748447948277759</c:v>
                </c:pt>
                <c:pt idx="1015" formatCode="0.0%">
                  <c:v>0.27725765289790189</c:v>
                </c:pt>
                <c:pt idx="1016" formatCode="0.0%">
                  <c:v>0.27456161864491091</c:v>
                </c:pt>
                <c:pt idx="1017" formatCode="0.0%">
                  <c:v>0.27456161864491091</c:v>
                </c:pt>
                <c:pt idx="1018" formatCode="0.0%">
                  <c:v>0.27456161864491091</c:v>
                </c:pt>
                <c:pt idx="1019" formatCode="0.0%">
                  <c:v>0.26872021109676369</c:v>
                </c:pt>
                <c:pt idx="1020" formatCode="0.0%">
                  <c:v>0.26332804409471761</c:v>
                </c:pt>
                <c:pt idx="1021" formatCode="0.0%">
                  <c:v>0.26332804409471761</c:v>
                </c:pt>
                <c:pt idx="1022" formatCode="0.0%">
                  <c:v>0.24861204271971274</c:v>
                </c:pt>
                <c:pt idx="1023" formatCode="0.0%">
                  <c:v>0.23457014840401896</c:v>
                </c:pt>
                <c:pt idx="1024" formatCode="0.0%">
                  <c:v>0.23457014840401896</c:v>
                </c:pt>
                <c:pt idx="1025" formatCode="0.0%">
                  <c:v>0.23457014840401896</c:v>
                </c:pt>
                <c:pt idx="1026" formatCode="0.0%">
                  <c:v>0.21569771164095414</c:v>
                </c:pt>
                <c:pt idx="1027" formatCode="0.0%">
                  <c:v>0.22457220697174848</c:v>
                </c:pt>
                <c:pt idx="1028" formatCode="0.0%">
                  <c:v>0.22165150319767463</c:v>
                </c:pt>
                <c:pt idx="1029" formatCode="0.0%">
                  <c:v>0.2168210592463673</c:v>
                </c:pt>
                <c:pt idx="1030" formatCode="0.0%">
                  <c:v>0.20659854678907763</c:v>
                </c:pt>
                <c:pt idx="1031" formatCode="0.0%">
                  <c:v>0.20659854678907763</c:v>
                </c:pt>
                <c:pt idx="1032" formatCode="0.0%">
                  <c:v>0.20659854678907763</c:v>
                </c:pt>
                <c:pt idx="1033" formatCode="0.0%">
                  <c:v>0.20289145044318319</c:v>
                </c:pt>
                <c:pt idx="1034" formatCode="0.0%">
                  <c:v>0.21683898552994335</c:v>
                </c:pt>
                <c:pt idx="1035" formatCode="0.0%">
                  <c:v>0.22805463379656032</c:v>
                </c:pt>
                <c:pt idx="1036" formatCode="0.0%">
                  <c:v>0.23827714625384999</c:v>
                </c:pt>
                <c:pt idx="1037" formatCode="0.0%">
                  <c:v>0.24996005984620837</c:v>
                </c:pt>
                <c:pt idx="1038" formatCode="0.0%">
                  <c:v>0.24996005984620837</c:v>
                </c:pt>
                <c:pt idx="1039" formatCode="0.0%">
                  <c:v>0.24996005984620837</c:v>
                </c:pt>
                <c:pt idx="1040" formatCode="0.0%">
                  <c:v>0.24928605128296041</c:v>
                </c:pt>
                <c:pt idx="1041" formatCode="0.0%">
                  <c:v>0.25254380858668979</c:v>
                </c:pt>
                <c:pt idx="1042" formatCode="0.0%">
                  <c:v>0.25737425253799739</c:v>
                </c:pt>
                <c:pt idx="1043" formatCode="0.0%">
                  <c:v>0.25456583427643326</c:v>
                </c:pt>
                <c:pt idx="1044" formatCode="0.0%">
                  <c:v>0.25119579146019433</c:v>
                </c:pt>
                <c:pt idx="1045" formatCode="0.0%">
                  <c:v>0.25119579146019433</c:v>
                </c:pt>
                <c:pt idx="1046" formatCode="0.0%">
                  <c:v>0.25119579146019433</c:v>
                </c:pt>
                <c:pt idx="1047" formatCode="0.0%">
                  <c:v>0.2615306879260571</c:v>
                </c:pt>
                <c:pt idx="1048" formatCode="0.0%">
                  <c:v>0.26737219397026807</c:v>
                </c:pt>
                <c:pt idx="1049" formatCode="0.0%">
                  <c:v>0.27613430529248889</c:v>
                </c:pt>
                <c:pt idx="1050" formatCode="0.0%">
                  <c:v>0.26647341738987396</c:v>
                </c:pt>
                <c:pt idx="1051" formatCode="0.0%">
                  <c:v>0.27051756726542436</c:v>
                </c:pt>
                <c:pt idx="1052" formatCode="0.0%">
                  <c:v>0.27051756726542436</c:v>
                </c:pt>
                <c:pt idx="1053" formatCode="0.0%">
                  <c:v>0.27051756726542436</c:v>
                </c:pt>
                <c:pt idx="1054" formatCode="0.0%">
                  <c:v>0.26512540026337872</c:v>
                </c:pt>
                <c:pt idx="1055" formatCode="0.0%">
                  <c:v>0.26692285492810269</c:v>
                </c:pt>
                <c:pt idx="1056" formatCode="0.0%">
                  <c:v>0.28197581133670013</c:v>
                </c:pt>
                <c:pt idx="1057" formatCode="0.0%">
                  <c:v>0.27961673211730087</c:v>
                </c:pt>
                <c:pt idx="1058" formatCode="0.0%">
                  <c:v>0.27422466361131881</c:v>
                </c:pt>
                <c:pt idx="1059" formatCode="0.0%">
                  <c:v>0.27422466361131881</c:v>
                </c:pt>
                <c:pt idx="1060" formatCode="0.0%">
                  <c:v>0.27422466361131881</c:v>
                </c:pt>
                <c:pt idx="1061" formatCode="0.0%">
                  <c:v>0.27433694912382833</c:v>
                </c:pt>
                <c:pt idx="1062" formatCode="0.0%">
                  <c:v>0.26636113187736443</c:v>
                </c:pt>
                <c:pt idx="1063" formatCode="0.0%">
                  <c:v>0.2757973502588969</c:v>
                </c:pt>
                <c:pt idx="1064" formatCode="0.0%">
                  <c:v>0.28086142687307503</c:v>
                </c:pt>
                <c:pt idx="1065" formatCode="0.0%">
                  <c:v>0.28770493337233771</c:v>
                </c:pt>
                <c:pt idx="1066" formatCode="0.0%">
                  <c:v>0.28770493337233771</c:v>
                </c:pt>
                <c:pt idx="1067" formatCode="0.0%">
                  <c:v>0.28770493337233771</c:v>
                </c:pt>
                <c:pt idx="1068" formatCode="0.0%">
                  <c:v>0.2905133516339018</c:v>
                </c:pt>
                <c:pt idx="1069" formatCode="0.0%">
                  <c:v>0.29096269067606728</c:v>
                </c:pt>
                <c:pt idx="1070" formatCode="0.0%">
                  <c:v>0.30242093474734305</c:v>
                </c:pt>
                <c:pt idx="1071" formatCode="0.0%">
                  <c:v>0.30073586409119146</c:v>
                </c:pt>
                <c:pt idx="1072" formatCode="0.0%">
                  <c:v>0.30399362139492098</c:v>
                </c:pt>
                <c:pt idx="1073" formatCode="0.0%">
                  <c:v>0.30399362139492098</c:v>
                </c:pt>
                <c:pt idx="1074" formatCode="0.0%">
                  <c:v>0.30399362139492098</c:v>
                </c:pt>
                <c:pt idx="1075" formatCode="0.0%">
                  <c:v>0.31174476912030202</c:v>
                </c:pt>
                <c:pt idx="1076" formatCode="0.0%">
                  <c:v>0.30972274343055889</c:v>
                </c:pt>
                <c:pt idx="1077" formatCode="0.0%">
                  <c:v>0.31691226660126548</c:v>
                </c:pt>
                <c:pt idx="1078" formatCode="0.0%">
                  <c:v>0.31724922163485758</c:v>
                </c:pt>
                <c:pt idx="1079" formatCode="0.0%">
                  <c:v>0.31679988259269209</c:v>
                </c:pt>
                <c:pt idx="1080" formatCode="0.0%">
                  <c:v>0.31679988259269209</c:v>
                </c:pt>
                <c:pt idx="1081" formatCode="0.0%">
                  <c:v>0.31679988259269209</c:v>
                </c:pt>
                <c:pt idx="1082" formatCode="0.0%">
                  <c:v>0.31870962276992598</c:v>
                </c:pt>
                <c:pt idx="1083" formatCode="0.0%">
                  <c:v>0.31949591684568335</c:v>
                </c:pt>
                <c:pt idx="1084" formatCode="0.0%">
                  <c:v>0.32522503888132093</c:v>
                </c:pt>
                <c:pt idx="1085" formatCode="0.0%">
                  <c:v>0.31713693612234806</c:v>
                </c:pt>
                <c:pt idx="1086" formatCode="0.0%">
                  <c:v>0.32028230941750424</c:v>
                </c:pt>
                <c:pt idx="1087" formatCode="0.0%">
                  <c:v>0.32028230941750424</c:v>
                </c:pt>
                <c:pt idx="1088" formatCode="0.0%">
                  <c:v>0.32028230941750424</c:v>
                </c:pt>
                <c:pt idx="1089" formatCode="0.0%">
                  <c:v>0.32028230941750424</c:v>
                </c:pt>
                <c:pt idx="1090" formatCode="0.0%">
                  <c:v>0.32028230941750424</c:v>
                </c:pt>
                <c:pt idx="1091" formatCode="0.0%">
                  <c:v>0.31915896181209119</c:v>
                </c:pt>
                <c:pt idx="1092" formatCode="0.0%">
                  <c:v>0.32163032654399953</c:v>
                </c:pt>
                <c:pt idx="1093" formatCode="0.0%">
                  <c:v>0.32443874480556389</c:v>
                </c:pt>
                <c:pt idx="1094" formatCode="0.0%">
                  <c:v>0.32443874480556389</c:v>
                </c:pt>
                <c:pt idx="1095" formatCode="0.0%">
                  <c:v>0.32457132050717602</c:v>
                </c:pt>
                <c:pt idx="1096" formatCode="0.0%">
                  <c:v>0.32457132050717602</c:v>
                </c:pt>
                <c:pt idx="1097" formatCode="0.0%">
                  <c:v>0.32443874480556389</c:v>
                </c:pt>
                <c:pt idx="1098" formatCode="0.0%">
                  <c:v>0.31814789971918772</c:v>
                </c:pt>
                <c:pt idx="1099" formatCode="0.0%">
                  <c:v>0.31376679481004544</c:v>
                </c:pt>
                <c:pt idx="1100" formatCode="0.0%">
                  <c:v>0.31129543007813709</c:v>
                </c:pt>
                <c:pt idx="1101" formatCode="0.0%">
                  <c:v>0.31129543007813709</c:v>
                </c:pt>
                <c:pt idx="1102" formatCode="0.0%">
                  <c:v>0.31129543007813709</c:v>
                </c:pt>
                <c:pt idx="1103" formatCode="0.0%">
                  <c:v>0.31533948145762364</c:v>
                </c:pt>
                <c:pt idx="1104" formatCode="0.0%">
                  <c:v>0.32061926445109634</c:v>
                </c:pt>
                <c:pt idx="1105" formatCode="0.0%">
                  <c:v>0.33207750852237183</c:v>
                </c:pt>
                <c:pt idx="1106" formatCode="0.0%">
                  <c:v>0.33499831079250925</c:v>
                </c:pt>
                <c:pt idx="1107" formatCode="0.0%">
                  <c:v>0.3363463279190046</c:v>
                </c:pt>
                <c:pt idx="1108" formatCode="0.0%">
                  <c:v>0.3363463279190046</c:v>
                </c:pt>
                <c:pt idx="1109" formatCode="0.0%">
                  <c:v>0.3363463279190046</c:v>
                </c:pt>
                <c:pt idx="1110" formatCode="0.0%">
                  <c:v>0.33836835360874801</c:v>
                </c:pt>
                <c:pt idx="1111" formatCode="0.0%">
                  <c:v>0.33994104025632621</c:v>
                </c:pt>
                <c:pt idx="1112" formatCode="0.0%">
                  <c:v>0.32983081331154607</c:v>
                </c:pt>
                <c:pt idx="1113" formatCode="0.0%">
                  <c:v>0.34005342426489904</c:v>
                </c:pt>
                <c:pt idx="1114" formatCode="0.0%">
                  <c:v>0.34567016229196412</c:v>
                </c:pt>
                <c:pt idx="1115" formatCode="0.0%">
                  <c:v>0.34567016229196412</c:v>
                </c:pt>
                <c:pt idx="1116" formatCode="0.0%">
                  <c:v>0.34567016229196412</c:v>
                </c:pt>
                <c:pt idx="1117" formatCode="0.0%">
                  <c:v>0.36240818935671226</c:v>
                </c:pt>
                <c:pt idx="1118" formatCode="0.0%">
                  <c:v>0.36375620648320817</c:v>
                </c:pt>
                <c:pt idx="1119" formatCode="0.0%">
                  <c:v>0.3707210601328319</c:v>
                </c:pt>
                <c:pt idx="1120" formatCode="0.0%">
                  <c:v>0.37454044199123587</c:v>
                </c:pt>
                <c:pt idx="1121" formatCode="0.0%">
                  <c:v>0.37824753833713032</c:v>
                </c:pt>
                <c:pt idx="1122" formatCode="0.0%">
                  <c:v>0.37824753833713032</c:v>
                </c:pt>
                <c:pt idx="1123" formatCode="0.0%">
                  <c:v>0.37824753833713032</c:v>
                </c:pt>
                <c:pt idx="1124" formatCode="0.0%">
                  <c:v>0.38678507863433226</c:v>
                </c:pt>
                <c:pt idx="1125" formatCode="0.0%">
                  <c:v>0.38790842623974553</c:v>
                </c:pt>
                <c:pt idx="1126" formatCode="0.0%">
                  <c:v>0.36810254228189765</c:v>
                </c:pt>
                <c:pt idx="1127" formatCode="0.0%">
                  <c:v>0.37914621642146074</c:v>
                </c:pt>
                <c:pt idx="1128" formatCode="0.0%">
                  <c:v>0.39363754827538344</c:v>
                </c:pt>
                <c:pt idx="1129" formatCode="0.0%">
                  <c:v>0.39363754827538344</c:v>
                </c:pt>
                <c:pt idx="1130" formatCode="0.0%">
                  <c:v>0.39363754827538344</c:v>
                </c:pt>
                <c:pt idx="1131" formatCode="0.0%">
                  <c:v>0.40689314851531977</c:v>
                </c:pt>
                <c:pt idx="1132" formatCode="0.0%">
                  <c:v>0.40846583516289769</c:v>
                </c:pt>
                <c:pt idx="1133" formatCode="0.0%">
                  <c:v>0.41048795934870469</c:v>
                </c:pt>
                <c:pt idx="1134" formatCode="0.0%">
                  <c:v>0.41352094863528777</c:v>
                </c:pt>
                <c:pt idx="1135" formatCode="0.0%">
                  <c:v>0.41419495719853555</c:v>
                </c:pt>
                <c:pt idx="1136" formatCode="0.0%">
                  <c:v>0.41419495719853555</c:v>
                </c:pt>
                <c:pt idx="1137" formatCode="0.0%">
                  <c:v>0.41419495719853555</c:v>
                </c:pt>
                <c:pt idx="1138" formatCode="0.0%">
                  <c:v>0.42475452318548096</c:v>
                </c:pt>
                <c:pt idx="1139" formatCode="0.0%">
                  <c:v>0.40869050468398027</c:v>
                </c:pt>
                <c:pt idx="1140" formatCode="0.0%">
                  <c:v>0.41835139258659526</c:v>
                </c:pt>
                <c:pt idx="1141" formatCode="0.0%">
                  <c:v>0.42306955102539318</c:v>
                </c:pt>
                <c:pt idx="1142" formatCode="0.0%">
                  <c:v>0.42542853174872847</c:v>
                </c:pt>
                <c:pt idx="1143" formatCode="0.0%">
                  <c:v>0.42542853174872847</c:v>
                </c:pt>
                <c:pt idx="1144" formatCode="0.0%">
                  <c:v>0.42542853174872847</c:v>
                </c:pt>
                <c:pt idx="1145" formatCode="0.0%">
                  <c:v>0.42834933401886588</c:v>
                </c:pt>
                <c:pt idx="1146" formatCode="0.0%">
                  <c:v>0.41194826198770984</c:v>
                </c:pt>
                <c:pt idx="1147" formatCode="0.0%">
                  <c:v>0.40678086300280997</c:v>
                </c:pt>
                <c:pt idx="1148" formatCode="0.0%">
                  <c:v>0.43070831474220145</c:v>
                </c:pt>
                <c:pt idx="1149" formatCode="0.0%">
                  <c:v>0.44497497707504124</c:v>
                </c:pt>
                <c:pt idx="1150" formatCode="0.0%">
                  <c:v>0.44497497707504124</c:v>
                </c:pt>
                <c:pt idx="1151" formatCode="0.0%">
                  <c:v>0.44497497707504124</c:v>
                </c:pt>
                <c:pt idx="1152" formatCode="0.0%">
                  <c:v>0.43778555240039824</c:v>
                </c:pt>
                <c:pt idx="1153" formatCode="0.0%">
                  <c:v>0.43430312557558637</c:v>
                </c:pt>
                <c:pt idx="1154" formatCode="0.0%">
                  <c:v>0.43407845605450407</c:v>
                </c:pt>
                <c:pt idx="1155" formatCode="0.0%">
                  <c:v>0.44167683638523386</c:v>
                </c:pt>
                <c:pt idx="1156" formatCode="0.0%">
                  <c:v>0.44722167228586701</c:v>
                </c:pt>
                <c:pt idx="1157" formatCode="0.0%">
                  <c:v>0.44722167228586701</c:v>
                </c:pt>
                <c:pt idx="1158" formatCode="0.0%">
                  <c:v>0.44722167228586701</c:v>
                </c:pt>
                <c:pt idx="1159" formatCode="0.0%">
                  <c:v>0.44868207342093569</c:v>
                </c:pt>
                <c:pt idx="1160" formatCode="0.0%">
                  <c:v>0.43789783791290804</c:v>
                </c:pt>
                <c:pt idx="1161" formatCode="0.0%">
                  <c:v>0.43947052456048596</c:v>
                </c:pt>
                <c:pt idx="1162" formatCode="0.0%">
                  <c:v>0.44396401347820158</c:v>
                </c:pt>
                <c:pt idx="1163" formatCode="0.0%">
                  <c:v>0.44969313551383922</c:v>
                </c:pt>
                <c:pt idx="1164" formatCode="0.0%">
                  <c:v>0.44969313551383922</c:v>
                </c:pt>
                <c:pt idx="1165" formatCode="0.0%">
                  <c:v>0.44969313551383922</c:v>
                </c:pt>
                <c:pt idx="1166" formatCode="0.0%">
                  <c:v>0.43194404635618755</c:v>
                </c:pt>
                <c:pt idx="1167" formatCode="0.0%">
                  <c:v>0.44699700276478438</c:v>
                </c:pt>
                <c:pt idx="1168" formatCode="0.0%">
                  <c:v>0.45126582216141742</c:v>
                </c:pt>
                <c:pt idx="1169" formatCode="0.0%">
                  <c:v>0.4555345430619866</c:v>
                </c:pt>
                <c:pt idx="1170" formatCode="0.0%">
                  <c:v>0.44621070868902735</c:v>
                </c:pt>
                <c:pt idx="1171" formatCode="0.0%">
                  <c:v>0.44621070868902735</c:v>
                </c:pt>
                <c:pt idx="1172" formatCode="0.0%">
                  <c:v>0.44621070868902735</c:v>
                </c:pt>
                <c:pt idx="1173" formatCode="0.0%">
                  <c:v>0.45654560515488979</c:v>
                </c:pt>
                <c:pt idx="1174" formatCode="0.0%">
                  <c:v>0.45115343815284403</c:v>
                </c:pt>
                <c:pt idx="1175" formatCode="0.0%">
                  <c:v>0.46148833461870709</c:v>
                </c:pt>
                <c:pt idx="1176" formatCode="0.0%">
                  <c:v>0.47597966647262951</c:v>
                </c:pt>
                <c:pt idx="1177" formatCode="0.0%">
                  <c:v>0.47991143233960654</c:v>
                </c:pt>
                <c:pt idx="1178" formatCode="0.0%">
                  <c:v>0.47991143233960654</c:v>
                </c:pt>
                <c:pt idx="1179" formatCode="0.0%">
                  <c:v>0.47991143233960654</c:v>
                </c:pt>
                <c:pt idx="1180" formatCode="0.0%">
                  <c:v>0.47451926533756106</c:v>
                </c:pt>
                <c:pt idx="1181" formatCode="0.0%">
                  <c:v>0.47429459581647848</c:v>
                </c:pt>
                <c:pt idx="1182" formatCode="0.0%">
                  <c:v>0.47474393485864341</c:v>
                </c:pt>
                <c:pt idx="1183" formatCode="0.0%">
                  <c:v>0.47474393485864341</c:v>
                </c:pt>
                <c:pt idx="1184" formatCode="0.0%">
                  <c:v>0.47474393485864341</c:v>
                </c:pt>
                <c:pt idx="1185" formatCode="0.0%">
                  <c:v>0.47474393485864341</c:v>
                </c:pt>
                <c:pt idx="1186" formatCode="0.0%">
                  <c:v>0.48044843287838007</c:v>
                </c:pt>
                <c:pt idx="1187" formatCode="0.0%">
                  <c:v>0.48044843287838007</c:v>
                </c:pt>
                <c:pt idx="1188" formatCode="0.0%">
                  <c:v>0.46721745665434466</c:v>
                </c:pt>
                <c:pt idx="1189" formatCode="0.0%">
                  <c:v>0.46923948234408813</c:v>
                </c:pt>
                <c:pt idx="1190" formatCode="0.0%">
                  <c:v>0.47283429317747305</c:v>
                </c:pt>
                <c:pt idx="1191" formatCode="0.0%">
                  <c:v>0.45935402341645415</c:v>
                </c:pt>
                <c:pt idx="1192" formatCode="0.0%">
                  <c:v>0.45935402341645415</c:v>
                </c:pt>
                <c:pt idx="1193" formatCode="0.0%">
                  <c:v>0.45935402341645415</c:v>
                </c:pt>
                <c:pt idx="1194" formatCode="0.0%">
                  <c:v>0.46530781497317464</c:v>
                </c:pt>
                <c:pt idx="1195" formatCode="0.0%">
                  <c:v>0.46654344809109716</c:v>
                </c:pt>
                <c:pt idx="1196" formatCode="0.0%">
                  <c:v>0.46193767366087202</c:v>
                </c:pt>
                <c:pt idx="1197" formatCode="0.0%">
                  <c:v>0.46508314545209201</c:v>
                </c:pt>
                <c:pt idx="1198" formatCode="0.0%">
                  <c:v>0.48081011042393695</c:v>
                </c:pt>
                <c:pt idx="1199" formatCode="0.0%">
                  <c:v>0.48081011042393695</c:v>
                </c:pt>
                <c:pt idx="1200" formatCode="0.0%">
                  <c:v>0.48081011042393695</c:v>
                </c:pt>
                <c:pt idx="1201" formatCode="0.0%">
                  <c:v>0.47901275425527617</c:v>
                </c:pt>
                <c:pt idx="1202" formatCode="0.0%">
                  <c:v>0.44935608198418353</c:v>
                </c:pt>
                <c:pt idx="1203" formatCode="0.0%">
                  <c:v>0.45227678575825708</c:v>
                </c:pt>
                <c:pt idx="1204" formatCode="0.0%">
                  <c:v>0.43834717695507325</c:v>
                </c:pt>
                <c:pt idx="1205" formatCode="0.0%">
                  <c:v>0.43317977797017365</c:v>
                </c:pt>
                <c:pt idx="1206" formatCode="0.0%">
                  <c:v>0.43317977797017365</c:v>
                </c:pt>
                <c:pt idx="1207" formatCode="0.0%">
                  <c:v>0.43317977797017365</c:v>
                </c:pt>
                <c:pt idx="1208" formatCode="0.0%">
                  <c:v>0.43385378653342116</c:v>
                </c:pt>
                <c:pt idx="1209" formatCode="0.0%">
                  <c:v>0.43756088287931588</c:v>
                </c:pt>
                <c:pt idx="1210" formatCode="0.0%">
                  <c:v>0.4487944574295088</c:v>
                </c:pt>
                <c:pt idx="1211" formatCode="0.0%">
                  <c:v>0.42430518414331575</c:v>
                </c:pt>
                <c:pt idx="1212" formatCode="0.0%">
                  <c:v>0.4507040991106791</c:v>
                </c:pt>
                <c:pt idx="1213" formatCode="0.0%">
                  <c:v>0.4507040991106791</c:v>
                </c:pt>
                <c:pt idx="1214" formatCode="0.0%">
                  <c:v>0.4507040991106791</c:v>
                </c:pt>
                <c:pt idx="1215" formatCode="0.0%">
                  <c:v>0.46317340527485812</c:v>
                </c:pt>
                <c:pt idx="1216" formatCode="0.0%">
                  <c:v>0.44406507043945964</c:v>
                </c:pt>
                <c:pt idx="1217" formatCode="0.0%">
                  <c:v>0.4423913268306231</c:v>
                </c:pt>
                <c:pt idx="1218" formatCode="0.0%">
                  <c:v>0.44980542102634902</c:v>
                </c:pt>
                <c:pt idx="1219" formatCode="0.0%">
                  <c:v>0.45665789066739959</c:v>
                </c:pt>
                <c:pt idx="1220" formatCode="0.0%">
                  <c:v>0.45665789066739959</c:v>
                </c:pt>
                <c:pt idx="1221" formatCode="0.0%">
                  <c:v>0.45665789066739959</c:v>
                </c:pt>
                <c:pt idx="1222" formatCode="0.0%">
                  <c:v>0.46688050162075256</c:v>
                </c:pt>
                <c:pt idx="1223" formatCode="0.0%">
                  <c:v>0.47890037024670307</c:v>
                </c:pt>
                <c:pt idx="1224" formatCode="0.0%">
                  <c:v>0.47979904833103348</c:v>
                </c:pt>
                <c:pt idx="1225" formatCode="0.0%">
                  <c:v>0.47979904833103348</c:v>
                </c:pt>
                <c:pt idx="1226" formatCode="0.0%">
                  <c:v>0.47979904833103348</c:v>
                </c:pt>
                <c:pt idx="1227" formatCode="0.0%">
                  <c:v>0.47979904833103348</c:v>
                </c:pt>
                <c:pt idx="1228" formatCode="0.0%">
                  <c:v>0.47979904833103348</c:v>
                </c:pt>
                <c:pt idx="1229" formatCode="0.0%">
                  <c:v>0.48923526671256584</c:v>
                </c:pt>
                <c:pt idx="1230" formatCode="0.0%">
                  <c:v>0.48552817036667106</c:v>
                </c:pt>
                <c:pt idx="1231" formatCode="0.0%">
                  <c:v>0.49563839731145154</c:v>
                </c:pt>
                <c:pt idx="1232" formatCode="0.0%">
                  <c:v>0.50563633874372216</c:v>
                </c:pt>
                <c:pt idx="1233" formatCode="0.0%">
                  <c:v>0.50305259000324043</c:v>
                </c:pt>
                <c:pt idx="1234" formatCode="0.0%">
                  <c:v>0.50305259000324043</c:v>
                </c:pt>
                <c:pt idx="1235" formatCode="0.0%">
                  <c:v>0.50305259000324043</c:v>
                </c:pt>
                <c:pt idx="1236" formatCode="0.0%">
                  <c:v>0.50305259000324043</c:v>
                </c:pt>
                <c:pt idx="1237" formatCode="0.0%">
                  <c:v>0.50383898257506166</c:v>
                </c:pt>
                <c:pt idx="1238" formatCode="0.0%">
                  <c:v>0.50765836443346557</c:v>
                </c:pt>
                <c:pt idx="1239" formatCode="0.0%">
                  <c:v>0.51372453999875911</c:v>
                </c:pt>
                <c:pt idx="1240" formatCode="0.0%">
                  <c:v>0.50147990335566217</c:v>
                </c:pt>
                <c:pt idx="1241" formatCode="0.0%">
                  <c:v>0.50147990335566217</c:v>
                </c:pt>
                <c:pt idx="1242" formatCode="0.0%">
                  <c:v>0.50147990335566217</c:v>
                </c:pt>
                <c:pt idx="1243" formatCode="0.0%">
                  <c:v>0.50788303395454792</c:v>
                </c:pt>
                <c:pt idx="1244" formatCode="0.0%">
                  <c:v>0.50788303395454792</c:v>
                </c:pt>
                <c:pt idx="1245" formatCode="0.0%">
                  <c:v>0.49990721670808452</c:v>
                </c:pt>
                <c:pt idx="1246" formatCode="0.0%">
                  <c:v>0.4946274337146116</c:v>
                </c:pt>
                <c:pt idx="1247" formatCode="0.0%">
                  <c:v>0.49490716253524936</c:v>
                </c:pt>
                <c:pt idx="1248" formatCode="0.0%">
                  <c:v>0.49490716253524936</c:v>
                </c:pt>
                <c:pt idx="1249" formatCode="0.0%">
                  <c:v>0.49490716253524936</c:v>
                </c:pt>
                <c:pt idx="1250" formatCode="0.0%">
                  <c:v>0.50361431305397875</c:v>
                </c:pt>
                <c:pt idx="1251" formatCode="0.0%">
                  <c:v>0.49283007754595076</c:v>
                </c:pt>
                <c:pt idx="1252" formatCode="0.0%">
                  <c:v>0.49283007754595076</c:v>
                </c:pt>
                <c:pt idx="1253" formatCode="0.0%">
                  <c:v>0.51496017311668141</c:v>
                </c:pt>
                <c:pt idx="1254" formatCode="0.0%">
                  <c:v>0.51731925233608056</c:v>
                </c:pt>
                <c:pt idx="1255" formatCode="0.0%">
                  <c:v>0.51731925233608056</c:v>
                </c:pt>
                <c:pt idx="1256" formatCode="0.0%">
                  <c:v>0.51731925233608056</c:v>
                </c:pt>
                <c:pt idx="1257" formatCode="0.0%">
                  <c:v>0.52484573054037897</c:v>
                </c:pt>
                <c:pt idx="1258" formatCode="0.0%">
                  <c:v>0.52686775623012239</c:v>
                </c:pt>
                <c:pt idx="1259" formatCode="0.0%">
                  <c:v>0.53652864413273738</c:v>
                </c:pt>
                <c:pt idx="1260" formatCode="0.0%">
                  <c:v>0.54124680257153523</c:v>
                </c:pt>
                <c:pt idx="1261" formatCode="0.0%">
                  <c:v>0.5486608967672606</c:v>
                </c:pt>
                <c:pt idx="1262" formatCode="0.0%">
                  <c:v>0.5486608967672606</c:v>
                </c:pt>
                <c:pt idx="1263" formatCode="0.0%">
                  <c:v>0.5486608967672606</c:v>
                </c:pt>
                <c:pt idx="1264" formatCode="0.0%">
                  <c:v>0.5420330966472926</c:v>
                </c:pt>
                <c:pt idx="1265" formatCode="0.0%">
                  <c:v>0.54978424437267337</c:v>
                </c:pt>
                <c:pt idx="1266" formatCode="0.0%">
                  <c:v>0.55416534928181593</c:v>
                </c:pt>
                <c:pt idx="1267" formatCode="0.0%">
                  <c:v>0.55798482963628349</c:v>
                </c:pt>
                <c:pt idx="1268" formatCode="0.0%">
                  <c:v>0.55405306376930641</c:v>
                </c:pt>
                <c:pt idx="1269" formatCode="0.0%">
                  <c:v>0.55405306376930641</c:v>
                </c:pt>
                <c:pt idx="1270" formatCode="0.0%">
                  <c:v>0.55405306376930641</c:v>
                </c:pt>
                <c:pt idx="1271" formatCode="0.0%">
                  <c:v>0.5486608967672606</c:v>
                </c:pt>
                <c:pt idx="1272" formatCode="0.0%">
                  <c:v>0.55360372472714148</c:v>
                </c:pt>
                <c:pt idx="1273" formatCode="0.0%">
                  <c:v>0.55540108089580198</c:v>
                </c:pt>
                <c:pt idx="1274" formatCode="0.0%">
                  <c:v>0.55731082107303564</c:v>
                </c:pt>
                <c:pt idx="1275" formatCode="0.0%">
                  <c:v>0.56247822005793524</c:v>
                </c:pt>
                <c:pt idx="1276" formatCode="0.0%">
                  <c:v>0.56247822005793524</c:v>
                </c:pt>
                <c:pt idx="1277" formatCode="0.0%">
                  <c:v>0.54854861125475107</c:v>
                </c:pt>
                <c:pt idx="1278" formatCode="0.0%">
                  <c:v>0.54933490533050844</c:v>
                </c:pt>
                <c:pt idx="1279" formatCode="0.0%">
                  <c:v>0.54484151490885668</c:v>
                </c:pt>
                <c:pt idx="1280" formatCode="0.0%">
                  <c:v>0.55292971616389364</c:v>
                </c:pt>
                <c:pt idx="1281" formatCode="0.0%">
                  <c:v>0.56259050557044499</c:v>
                </c:pt>
                <c:pt idx="1282" formatCode="0.0%">
                  <c:v>0.55966980179637116</c:v>
                </c:pt>
                <c:pt idx="1283" formatCode="0.0%">
                  <c:v>0.55966980179637116</c:v>
                </c:pt>
                <c:pt idx="1284" formatCode="0.0%">
                  <c:v>0.55966980179637116</c:v>
                </c:pt>
                <c:pt idx="1285" formatCode="0.0%">
                  <c:v>0.56371395167192129</c:v>
                </c:pt>
                <c:pt idx="1286" formatCode="0.0%">
                  <c:v>0.56393862119300397</c:v>
                </c:pt>
                <c:pt idx="1287" formatCode="0.0%">
                  <c:v>0.56450024574767899</c:v>
                </c:pt>
                <c:pt idx="1288" formatCode="0.0%">
                  <c:v>0.5720267239519774</c:v>
                </c:pt>
                <c:pt idx="1289" formatCode="0.0%">
                  <c:v>0.56663465544599545</c:v>
                </c:pt>
                <c:pt idx="1290" formatCode="0.0%">
                  <c:v>0.56663465544599545</c:v>
                </c:pt>
                <c:pt idx="1291" formatCode="0.0%">
                  <c:v>0.56663465544599545</c:v>
                </c:pt>
                <c:pt idx="1292" formatCode="0.0%">
                  <c:v>0.57067870682548172</c:v>
                </c:pt>
                <c:pt idx="1293" formatCode="0.0%">
                  <c:v>0.57640782886111963</c:v>
                </c:pt>
                <c:pt idx="1294" formatCode="0.0%">
                  <c:v>0.55686138353480719</c:v>
                </c:pt>
                <c:pt idx="1295" formatCode="0.0%">
                  <c:v>0.55731082107303564</c:v>
                </c:pt>
                <c:pt idx="1296" formatCode="0.0%">
                  <c:v>0.54652658556500799</c:v>
                </c:pt>
                <c:pt idx="1297" formatCode="0.0%">
                  <c:v>0.54652658556500799</c:v>
                </c:pt>
                <c:pt idx="1298" formatCode="0.0%">
                  <c:v>0.54652658556500799</c:v>
                </c:pt>
                <c:pt idx="1299" formatCode="0.0%">
                  <c:v>0.55674909802229766</c:v>
                </c:pt>
                <c:pt idx="1300" formatCode="0.0%">
                  <c:v>0.56202888101577031</c:v>
                </c:pt>
                <c:pt idx="1301" formatCode="0.0%">
                  <c:v>0.54776221868293018</c:v>
                </c:pt>
                <c:pt idx="1302" formatCode="0.0%">
                  <c:v>0.52529506958254391</c:v>
                </c:pt>
                <c:pt idx="1303" formatCode="0.0%">
                  <c:v>0.53001322802134243</c:v>
                </c:pt>
                <c:pt idx="1304" formatCode="0.0%">
                  <c:v>0.53001322802134243</c:v>
                </c:pt>
                <c:pt idx="1305" formatCode="0.0%">
                  <c:v>0.53001322802134243</c:v>
                </c:pt>
                <c:pt idx="1306" formatCode="0.0%">
                  <c:v>0.54562780898461372</c:v>
                </c:pt>
                <c:pt idx="1307" formatCode="0.0%">
                  <c:v>0.54933490533050844</c:v>
                </c:pt>
                <c:pt idx="1308" formatCode="0.0%">
                  <c:v>0.5627265286342833</c:v>
                </c:pt>
                <c:pt idx="1309" formatCode="0.0%">
                  <c:v>0.56865668113573864</c:v>
                </c:pt>
                <c:pt idx="1310" formatCode="0.0%">
                  <c:v>0.50147990335566217</c:v>
                </c:pt>
                <c:pt idx="1311" formatCode="0.0%">
                  <c:v>0.50147990335566217</c:v>
                </c:pt>
                <c:pt idx="1312" formatCode="0.0%">
                  <c:v>0.50147990335566217</c:v>
                </c:pt>
                <c:pt idx="1313" formatCode="0.0%">
                  <c:v>0.45059181359816963</c:v>
                </c:pt>
                <c:pt idx="1314" formatCode="0.0%">
                  <c:v>0.46373502982953285</c:v>
                </c:pt>
                <c:pt idx="1315" formatCode="0.0%">
                  <c:v>0.48631456293849223</c:v>
                </c:pt>
                <c:pt idx="1316" formatCode="0.0%">
                  <c:v>0.47833874569202861</c:v>
                </c:pt>
                <c:pt idx="1317" formatCode="0.0%">
                  <c:v>0.4901339447968962</c:v>
                </c:pt>
                <c:pt idx="1318" formatCode="0.0%">
                  <c:v>0.4901339447968962</c:v>
                </c:pt>
                <c:pt idx="1319" formatCode="0.0%">
                  <c:v>0.4901339447968962</c:v>
                </c:pt>
                <c:pt idx="1320" formatCode="0.0%">
                  <c:v>0.49822214605193293</c:v>
                </c:pt>
                <c:pt idx="1321" formatCode="0.0%">
                  <c:v>0.50529928521406642</c:v>
                </c:pt>
                <c:pt idx="1322" formatCode="0.0%">
                  <c:v>0.50698435587021751</c:v>
                </c:pt>
                <c:pt idx="1323" formatCode="0.0%">
                  <c:v>0.53607930509057211</c:v>
                </c:pt>
                <c:pt idx="1324" formatCode="0.0%">
                  <c:v>0.53731503670455827</c:v>
                </c:pt>
                <c:pt idx="1325" formatCode="0.0%">
                  <c:v>0.53731503670455827</c:v>
                </c:pt>
                <c:pt idx="1326" formatCode="0.0%">
                  <c:v>0.53731503670455827</c:v>
                </c:pt>
                <c:pt idx="1327" formatCode="0.0%">
                  <c:v>0.54113441856296218</c:v>
                </c:pt>
                <c:pt idx="1328" formatCode="0.0%">
                  <c:v>0.54394283682452649</c:v>
                </c:pt>
                <c:pt idx="1329" formatCode="0.0%">
                  <c:v>0.54281948921911349</c:v>
                </c:pt>
                <c:pt idx="1330" formatCode="0.0%">
                  <c:v>0.55292971616389364</c:v>
                </c:pt>
                <c:pt idx="1331" formatCode="0.0%">
                  <c:v>0.54652658556500799</c:v>
                </c:pt>
                <c:pt idx="1332" formatCode="0.0%">
                  <c:v>0.54652658556500799</c:v>
                </c:pt>
                <c:pt idx="1333" formatCode="0.0%">
                  <c:v>0.54652658556500799</c:v>
                </c:pt>
                <c:pt idx="1334" formatCode="0.0%">
                  <c:v>0.55034596742341191</c:v>
                </c:pt>
                <c:pt idx="1335" formatCode="0.0%">
                  <c:v>0.53742732221706746</c:v>
                </c:pt>
                <c:pt idx="1336" formatCode="0.0%">
                  <c:v>0.54978424437267337</c:v>
                </c:pt>
                <c:pt idx="1337" formatCode="0.0%">
                  <c:v>0.55337905520605857</c:v>
                </c:pt>
                <c:pt idx="1338" formatCode="0.0%">
                  <c:v>0.55877112371204107</c:v>
                </c:pt>
                <c:pt idx="1339" formatCode="0.0%">
                  <c:v>0.56319605936948702</c:v>
                </c:pt>
                <c:pt idx="1340" formatCode="0.0%">
                  <c:v>0.56319605936948702</c:v>
                </c:pt>
                <c:pt idx="1341" formatCode="0.0%">
                  <c:v>0.5621411665282795</c:v>
                </c:pt>
                <c:pt idx="1342" formatCode="0.0%">
                  <c:v>0.55349134071856809</c:v>
                </c:pt>
                <c:pt idx="1343" formatCode="0.0%">
                  <c:v>0.52731709527228732</c:v>
                </c:pt>
                <c:pt idx="1344" formatCode="0.0%">
                  <c:v>0.52596907814579197</c:v>
                </c:pt>
                <c:pt idx="1345" formatCode="0.0%">
                  <c:v>0.52293599036314509</c:v>
                </c:pt>
                <c:pt idx="1346" formatCode="0.0%">
                  <c:v>0.52293599036314509</c:v>
                </c:pt>
                <c:pt idx="1347" formatCode="0.0%">
                  <c:v>0.52293599036314509</c:v>
                </c:pt>
                <c:pt idx="1348" formatCode="0.0%">
                  <c:v>0.51260109389728259</c:v>
                </c:pt>
                <c:pt idx="1349" formatCode="0.0%">
                  <c:v>0.52203731227881467</c:v>
                </c:pt>
                <c:pt idx="1350" formatCode="0.0%">
                  <c:v>0.5238346684474755</c:v>
                </c:pt>
                <c:pt idx="1351" formatCode="0.0%">
                  <c:v>0.5420330966472926</c:v>
                </c:pt>
                <c:pt idx="1352" formatCode="0.0%">
                  <c:v>0.55090759197808692</c:v>
                </c:pt>
                <c:pt idx="1353" formatCode="0.0%">
                  <c:v>0.55090759197808692</c:v>
                </c:pt>
                <c:pt idx="1354" formatCode="0.0%">
                  <c:v>0.55090759197808692</c:v>
                </c:pt>
                <c:pt idx="1355" formatCode="0.0%">
                  <c:v>0.54540313946353136</c:v>
                </c:pt>
                <c:pt idx="1356" formatCode="0.0%">
                  <c:v>0.5555133664083115</c:v>
                </c:pt>
                <c:pt idx="1357" formatCode="0.0%">
                  <c:v>0.54618953203535225</c:v>
                </c:pt>
                <c:pt idx="1358" formatCode="0.0%">
                  <c:v>0.56831972610214654</c:v>
                </c:pt>
                <c:pt idx="1359" formatCode="0.0%">
                  <c:v>0.56124248844394942</c:v>
                </c:pt>
                <c:pt idx="1360" formatCode="0.0%">
                  <c:v>0.56124248844394942</c:v>
                </c:pt>
                <c:pt idx="1361" formatCode="0.0%">
                  <c:v>0.56124248844394942</c:v>
                </c:pt>
                <c:pt idx="1362" formatCode="0.0%">
                  <c:v>0.56494958478984392</c:v>
                </c:pt>
                <c:pt idx="1363" formatCode="0.0%">
                  <c:v>0.56079314940178415</c:v>
                </c:pt>
                <c:pt idx="1364" formatCode="0.0%">
                  <c:v>0.56101781892286684</c:v>
                </c:pt>
                <c:pt idx="1365" formatCode="0.0%">
                  <c:v>0.58011492520701413</c:v>
                </c:pt>
                <c:pt idx="1366" formatCode="0.0%">
                  <c:v>0.57135271538872956</c:v>
                </c:pt>
                <c:pt idx="1367" formatCode="0.0%">
                  <c:v>0.57135271538872956</c:v>
                </c:pt>
                <c:pt idx="1368" formatCode="0.0%">
                  <c:v>0.57135271538872956</c:v>
                </c:pt>
                <c:pt idx="1369" formatCode="0.0%">
                  <c:v>0.57161451792579132</c:v>
                </c:pt>
                <c:pt idx="1370" formatCode="0.0%">
                  <c:v>0.56607293239525658</c:v>
                </c:pt>
                <c:pt idx="1371" formatCode="0.0%">
                  <c:v>0.56742094952175248</c:v>
                </c:pt>
                <c:pt idx="1372" formatCode="0.0%">
                  <c:v>0.56831972610214654</c:v>
                </c:pt>
                <c:pt idx="1373" formatCode="0.0%">
                  <c:v>0.58348496802325311</c:v>
                </c:pt>
                <c:pt idx="1374" formatCode="0.0%">
                  <c:v>0.58348496802325311</c:v>
                </c:pt>
                <c:pt idx="1375" formatCode="0.0%">
                  <c:v>0.58348496802325311</c:v>
                </c:pt>
                <c:pt idx="1376" formatCode="0.0%">
                  <c:v>0.58606871676373462</c:v>
                </c:pt>
                <c:pt idx="1377" formatCode="0.0%">
                  <c:v>0.57910386311411055</c:v>
                </c:pt>
                <c:pt idx="1378" formatCode="0.0%">
                  <c:v>0.59112383023612469</c:v>
                </c:pt>
                <c:pt idx="1379" formatCode="0.0%">
                  <c:v>0.59954898652475352</c:v>
                </c:pt>
                <c:pt idx="1380" formatCode="0.0%">
                  <c:v>0.61010855251169882</c:v>
                </c:pt>
                <c:pt idx="1381" formatCode="0.0%">
                  <c:v>0.61010855251169882</c:v>
                </c:pt>
                <c:pt idx="1382" formatCode="0.0%">
                  <c:v>0.61010855251169882</c:v>
                </c:pt>
                <c:pt idx="1383" formatCode="0.0%">
                  <c:v>0.62066811849864445</c:v>
                </c:pt>
                <c:pt idx="1384" formatCode="0.0%">
                  <c:v>0.62504922340778646</c:v>
                </c:pt>
                <c:pt idx="1385" formatCode="0.0%">
                  <c:v>0.61392803286616671</c:v>
                </c:pt>
                <c:pt idx="1386" formatCode="0.0%">
                  <c:v>0.63302504065425036</c:v>
                </c:pt>
                <c:pt idx="1387" formatCode="0.0%">
                  <c:v>0.62628495502177262</c:v>
                </c:pt>
                <c:pt idx="1388" formatCode="0.0%">
                  <c:v>0.62628495502177262</c:v>
                </c:pt>
                <c:pt idx="1389" formatCode="0.0%">
                  <c:v>0.62628495502177262</c:v>
                </c:pt>
                <c:pt idx="1390" formatCode="0.0%">
                  <c:v>0.62662191005536472</c:v>
                </c:pt>
                <c:pt idx="1391" formatCode="0.0%">
                  <c:v>0.62156679658297465</c:v>
                </c:pt>
                <c:pt idx="1392" formatCode="0.0%">
                  <c:v>0.62313958172661643</c:v>
                </c:pt>
                <c:pt idx="1393" formatCode="0.0%">
                  <c:v>0.61347869382400122</c:v>
                </c:pt>
                <c:pt idx="1394" formatCode="0.0%">
                  <c:v>0.61370336334508413</c:v>
                </c:pt>
                <c:pt idx="1395" formatCode="0.0%">
                  <c:v>0.61370336334508413</c:v>
                </c:pt>
                <c:pt idx="1396" formatCode="0.0%">
                  <c:v>0.61370336334508413</c:v>
                </c:pt>
                <c:pt idx="1397" formatCode="0.0%">
                  <c:v>0.61381564885759332</c:v>
                </c:pt>
                <c:pt idx="1398" formatCode="0.0%">
                  <c:v>0.61561300502625416</c:v>
                </c:pt>
                <c:pt idx="1399" formatCode="0.0%">
                  <c:v>0.61078256107494666</c:v>
                </c:pt>
                <c:pt idx="1400" formatCode="0.0%">
                  <c:v>0.57614947368628433</c:v>
                </c:pt>
                <c:pt idx="1401" formatCode="0.0%">
                  <c:v>0.5891018045463815</c:v>
                </c:pt>
                <c:pt idx="1402" formatCode="0.0%">
                  <c:v>0.5891018045463815</c:v>
                </c:pt>
                <c:pt idx="1403" formatCode="0.0%">
                  <c:v>0.5891018045463815</c:v>
                </c:pt>
                <c:pt idx="1404" formatCode="0.0%">
                  <c:v>0.57786822999618803</c:v>
                </c:pt>
                <c:pt idx="1405" formatCode="0.0%">
                  <c:v>0.58752911789880302</c:v>
                </c:pt>
                <c:pt idx="1406" formatCode="0.0%">
                  <c:v>0.62796992718186007</c:v>
                </c:pt>
                <c:pt idx="1407" formatCode="0.0%">
                  <c:v>0.6374061455633927</c:v>
                </c:pt>
                <c:pt idx="1408" formatCode="0.0%">
                  <c:v>0.64886438963466819</c:v>
                </c:pt>
                <c:pt idx="1409" formatCode="0.0%">
                  <c:v>0.64886438963466819</c:v>
                </c:pt>
                <c:pt idx="1410" formatCode="0.0%">
                  <c:v>0.64886438963466819</c:v>
                </c:pt>
                <c:pt idx="1411" formatCode="0.0%">
                  <c:v>0.67593731316527939</c:v>
                </c:pt>
                <c:pt idx="1412" formatCode="0.0%">
                  <c:v>0.67043286065072405</c:v>
                </c:pt>
                <c:pt idx="1413" formatCode="0.0%">
                  <c:v>0.66560241669941689</c:v>
                </c:pt>
                <c:pt idx="1414" formatCode="0.0%">
                  <c:v>0.67582502765276986</c:v>
                </c:pt>
                <c:pt idx="1415" formatCode="0.0%">
                  <c:v>0.65650325184753999</c:v>
                </c:pt>
                <c:pt idx="1416" formatCode="0.0%">
                  <c:v>0.65650325184753999</c:v>
                </c:pt>
                <c:pt idx="1417" formatCode="0.0%">
                  <c:v>0.65650325184753999</c:v>
                </c:pt>
                <c:pt idx="1418" formatCode="0.0%">
                  <c:v>0.63673213700014453</c:v>
                </c:pt>
                <c:pt idx="1419" formatCode="0.0%">
                  <c:v>0.63504716484005741</c:v>
                </c:pt>
                <c:pt idx="1420" formatCode="0.0%">
                  <c:v>0.64931372867683368</c:v>
                </c:pt>
                <c:pt idx="1421" formatCode="0.0%">
                  <c:v>0.65234681645948034</c:v>
                </c:pt>
                <c:pt idx="1422" formatCode="0.0%">
                  <c:v>0.68065547160407736</c:v>
                </c:pt>
                <c:pt idx="1423" formatCode="0.0%">
                  <c:v>0.68065547160407736</c:v>
                </c:pt>
                <c:pt idx="1424" formatCode="0.0%">
                  <c:v>0.68065547160407736</c:v>
                </c:pt>
                <c:pt idx="1425" formatCode="0.0%">
                  <c:v>0.67986907903225646</c:v>
                </c:pt>
                <c:pt idx="1426" formatCode="0.0%">
                  <c:v>0.6816664352009173</c:v>
                </c:pt>
                <c:pt idx="1427" formatCode="0.0%">
                  <c:v>0.6753756886106046</c:v>
                </c:pt>
                <c:pt idx="1428" formatCode="0.0%">
                  <c:v>0.67852106190576111</c:v>
                </c:pt>
                <c:pt idx="1429" formatCode="0.0%">
                  <c:v>0.67694837525818286</c:v>
                </c:pt>
                <c:pt idx="1430" formatCode="0.0%">
                  <c:v>0.68153504145206822</c:v>
                </c:pt>
                <c:pt idx="1431" formatCode="0.0%">
                  <c:v>0.68153504145206822</c:v>
                </c:pt>
                <c:pt idx="1432" formatCode="0.0%">
                  <c:v>0.6990784708289135</c:v>
                </c:pt>
                <c:pt idx="1433" formatCode="0.0%">
                  <c:v>0.69649482058449541</c:v>
                </c:pt>
                <c:pt idx="1434" formatCode="0.0%">
                  <c:v>0.70896402825261073</c:v>
                </c:pt>
                <c:pt idx="1435" formatCode="0.0%">
                  <c:v>0.7005388719639819</c:v>
                </c:pt>
                <c:pt idx="1436" formatCode="0.0%">
                  <c:v>0.70256089765372509</c:v>
                </c:pt>
                <c:pt idx="1437" formatCode="0.0%">
                  <c:v>0.70256089765372509</c:v>
                </c:pt>
                <c:pt idx="1438" formatCode="0.0%">
                  <c:v>0.70256089765372509</c:v>
                </c:pt>
                <c:pt idx="1439" formatCode="0.0%">
                  <c:v>0.69761816818990841</c:v>
                </c:pt>
                <c:pt idx="1440" formatCode="0.0%">
                  <c:v>0.69705644513916976</c:v>
                </c:pt>
                <c:pt idx="1441" formatCode="0.0%">
                  <c:v>0.70795306465577112</c:v>
                </c:pt>
                <c:pt idx="1442" formatCode="0.0%">
                  <c:v>0.7024486121412159</c:v>
                </c:pt>
                <c:pt idx="1443" formatCode="0.0%">
                  <c:v>0.70682971705035813</c:v>
                </c:pt>
                <c:pt idx="1444" formatCode="0.0%">
                  <c:v>0.70682971705035813</c:v>
                </c:pt>
                <c:pt idx="1445" formatCode="0.0%">
                  <c:v>0.70682971705035813</c:v>
                </c:pt>
                <c:pt idx="1446" formatCode="0.0%">
                  <c:v>0.70447063783095898</c:v>
                </c:pt>
                <c:pt idx="1447" formatCode="0.0%">
                  <c:v>0.69469746441583458</c:v>
                </c:pt>
                <c:pt idx="1448" formatCode="0.0%">
                  <c:v>0.69739349866882572</c:v>
                </c:pt>
                <c:pt idx="1449" formatCode="0.0%">
                  <c:v>0.67840877639325126</c:v>
                </c:pt>
                <c:pt idx="1450" formatCode="0.0%">
                  <c:v>0.65987329466377898</c:v>
                </c:pt>
                <c:pt idx="1451" formatCode="0.0%">
                  <c:v>0.65987329466377898</c:v>
                </c:pt>
                <c:pt idx="1452" formatCode="0.0%">
                  <c:v>0.65987329466377898</c:v>
                </c:pt>
                <c:pt idx="1453" formatCode="0.0%">
                  <c:v>0.6739152874755362</c:v>
                </c:pt>
                <c:pt idx="1454" formatCode="0.0%">
                  <c:v>0.6739152874755362</c:v>
                </c:pt>
                <c:pt idx="1455" formatCode="0.0%">
                  <c:v>0.6739152874755362</c:v>
                </c:pt>
                <c:pt idx="1456" formatCode="0.0%">
                  <c:v>0.6739152874755362</c:v>
                </c:pt>
                <c:pt idx="1457" formatCode="0.0%">
                  <c:v>0.68278978280633029</c:v>
                </c:pt>
                <c:pt idx="1458" formatCode="0.0%">
                  <c:v>0.68278978280633029</c:v>
                </c:pt>
                <c:pt idx="1459" formatCode="0.0%">
                  <c:v>0.68278978280633029</c:v>
                </c:pt>
                <c:pt idx="1460" formatCode="0.0%">
                  <c:v>0.66178303484101264</c:v>
                </c:pt>
                <c:pt idx="1461" formatCode="0.0%">
                  <c:v>0.67002508694740015</c:v>
                </c:pt>
                <c:pt idx="1462" formatCode="0.0%">
                  <c:v>0.67002508694740015</c:v>
                </c:pt>
                <c:pt idx="1463" formatCode="0.0%">
                  <c:v>0.6885189048419682</c:v>
                </c:pt>
                <c:pt idx="1464" formatCode="0.0%">
                  <c:v>0.68436256794997175</c:v>
                </c:pt>
                <c:pt idx="1465" formatCode="0.0%">
                  <c:v>0.68436256794997175</c:v>
                </c:pt>
                <c:pt idx="1466" formatCode="0.0%">
                  <c:v>0.68436256794997175</c:v>
                </c:pt>
                <c:pt idx="1467" formatCode="0.0%">
                  <c:v>0.6948097499283441</c:v>
                </c:pt>
                <c:pt idx="1468" formatCode="0.0%">
                  <c:v>0.69188904615427049</c:v>
                </c:pt>
                <c:pt idx="1469" formatCode="0.0%">
                  <c:v>0.6822281582516555</c:v>
                </c:pt>
                <c:pt idx="1470" formatCode="0.0%">
                  <c:v>0.68380084489923376</c:v>
                </c:pt>
                <c:pt idx="1471" formatCode="0.0%">
                  <c:v>0.6699835216085589</c:v>
                </c:pt>
                <c:pt idx="1472" formatCode="0.0%">
                  <c:v>0.6699835216085589</c:v>
                </c:pt>
                <c:pt idx="1473" formatCode="0.0%">
                  <c:v>0.6699835216085589</c:v>
                </c:pt>
                <c:pt idx="1474" formatCode="0.0%">
                  <c:v>0.66447906909400356</c:v>
                </c:pt>
                <c:pt idx="1475" formatCode="0.0%">
                  <c:v>0.67526330460203188</c:v>
                </c:pt>
                <c:pt idx="1476" formatCode="0.0%">
                  <c:v>0.69054102902777492</c:v>
                </c:pt>
                <c:pt idx="1477" formatCode="0.0%">
                  <c:v>0.69930314034999586</c:v>
                </c:pt>
                <c:pt idx="1478" formatCode="0.0%">
                  <c:v>0.71019975986659689</c:v>
                </c:pt>
                <c:pt idx="1479" formatCode="0.0%">
                  <c:v>0.71019975986659689</c:v>
                </c:pt>
                <c:pt idx="1480" formatCode="0.0%">
                  <c:v>0.71019975986659689</c:v>
                </c:pt>
                <c:pt idx="1481" formatCode="0.0%">
                  <c:v>0.70379662926771147</c:v>
                </c:pt>
                <c:pt idx="1482" formatCode="0.0%">
                  <c:v>0.70784068064719807</c:v>
                </c:pt>
                <c:pt idx="1483" formatCode="0.0%">
                  <c:v>0.71615355142331738</c:v>
                </c:pt>
                <c:pt idx="1484" formatCode="0.0%">
                  <c:v>0.71693994399513794</c:v>
                </c:pt>
                <c:pt idx="1485" formatCode="0.0%">
                  <c:v>0.71682755998656522</c:v>
                </c:pt>
                <c:pt idx="1486" formatCode="0.0%">
                  <c:v>0.71682755998656522</c:v>
                </c:pt>
                <c:pt idx="1487" formatCode="0.0%">
                  <c:v>0.71682755998656522</c:v>
                </c:pt>
                <c:pt idx="1488" formatCode="0.0%">
                  <c:v>0.68777644151451511</c:v>
                </c:pt>
                <c:pt idx="1489" formatCode="0.0%">
                  <c:v>0.69877529994513765</c:v>
                </c:pt>
                <c:pt idx="1490" formatCode="0.0%">
                  <c:v>0.71522493053565117</c:v>
                </c:pt>
                <c:pt idx="1491" formatCode="0.0%">
                  <c:v>0.71910232657551854</c:v>
                </c:pt>
                <c:pt idx="1492" formatCode="0.0%">
                  <c:v>0.71832332120846787</c:v>
                </c:pt>
                <c:pt idx="1493" formatCode="0.0%">
                  <c:v>0.71832332120846787</c:v>
                </c:pt>
                <c:pt idx="1494" formatCode="0.0%">
                  <c:v>0.71832332120846787</c:v>
                </c:pt>
                <c:pt idx="1495" formatCode="0.0%">
                  <c:v>0.70817507478313646</c:v>
                </c:pt>
                <c:pt idx="1496" formatCode="0.0%">
                  <c:v>0.7086450979986586</c:v>
                </c:pt>
                <c:pt idx="1497" formatCode="0.0%">
                  <c:v>0.70735263265203596</c:v>
                </c:pt>
                <c:pt idx="1498" formatCode="0.0%">
                  <c:v>0.73038209577954205</c:v>
                </c:pt>
                <c:pt idx="1499" formatCode="0.0%">
                  <c:v>0.72779716508629744</c:v>
                </c:pt>
                <c:pt idx="1500" formatCode="0.0%">
                  <c:v>0.72779716508629744</c:v>
                </c:pt>
                <c:pt idx="1501" formatCode="0.0%">
                  <c:v>0.72779716508629744</c:v>
                </c:pt>
                <c:pt idx="1502" formatCode="0.0%">
                  <c:v>0.73496452664269274</c:v>
                </c:pt>
                <c:pt idx="1503" formatCode="0.0%">
                  <c:v>0.73355455549218984</c:v>
                </c:pt>
                <c:pt idx="1504" formatCode="0.0%">
                  <c:v>0.72192226887652422</c:v>
                </c:pt>
                <c:pt idx="1505" formatCode="0.0%">
                  <c:v>0.72415478065419137</c:v>
                </c:pt>
                <c:pt idx="1506" formatCode="0.0%">
                  <c:v>0.72133483835318513</c:v>
                </c:pt>
                <c:pt idx="1507" formatCode="0.0%">
                  <c:v>0.72133483835318513</c:v>
                </c:pt>
                <c:pt idx="1508" formatCode="0.0%">
                  <c:v>0.72133483835318513</c:v>
                </c:pt>
                <c:pt idx="1509" formatCode="0.0%">
                  <c:v>0.72979456676013943</c:v>
                </c:pt>
                <c:pt idx="1510" formatCode="0.0%">
                  <c:v>0.73002957836790072</c:v>
                </c:pt>
                <c:pt idx="1511" formatCode="0.0%">
                  <c:v>0.72873711302127819</c:v>
                </c:pt>
                <c:pt idx="1512" formatCode="0.0%">
                  <c:v>0.72121733254930465</c:v>
                </c:pt>
                <c:pt idx="1513" formatCode="0.0%">
                  <c:v>0.72062980352990225</c:v>
                </c:pt>
                <c:pt idx="1514" formatCode="0.0%">
                  <c:v>0.72062980352990225</c:v>
                </c:pt>
                <c:pt idx="1515" formatCode="0.0%">
                  <c:v>0.72062980352990225</c:v>
                </c:pt>
                <c:pt idx="1516" formatCode="0.0%">
                  <c:v>0.69677789827129544</c:v>
                </c:pt>
                <c:pt idx="1517" formatCode="0.0%">
                  <c:v>0.68491069854393283</c:v>
                </c:pt>
                <c:pt idx="1518" formatCode="0.0%">
                  <c:v>0.70241778287330736</c:v>
                </c:pt>
                <c:pt idx="1519" formatCode="0.0%">
                  <c:v>0.70453269035103006</c:v>
                </c:pt>
                <c:pt idx="1520" formatCode="0.0%">
                  <c:v>0.70261162312648195</c:v>
                </c:pt>
                <c:pt idx="1521" formatCode="0.0%">
                  <c:v>0.70261162312648195</c:v>
                </c:pt>
                <c:pt idx="1522" formatCode="0.0%">
                  <c:v>0.70261162312648195</c:v>
                </c:pt>
                <c:pt idx="1523" formatCode="0.0%">
                  <c:v>0.68878809458380008</c:v>
                </c:pt>
                <c:pt idx="1524" formatCode="0.0%">
                  <c:v>0.63262435866750588</c:v>
                </c:pt>
                <c:pt idx="1525" formatCode="0.0%">
                  <c:v>0.61911217618187886</c:v>
                </c:pt>
                <c:pt idx="1526" formatCode="0.0%">
                  <c:v>0.61535228594589231</c:v>
                </c:pt>
                <c:pt idx="1527" formatCode="0.0%">
                  <c:v>0.59725767259711493</c:v>
                </c:pt>
                <c:pt idx="1528" formatCode="0.0%">
                  <c:v>0.59725767259711493</c:v>
                </c:pt>
                <c:pt idx="1529" formatCode="0.0%">
                  <c:v>0.59725767259711493</c:v>
                </c:pt>
                <c:pt idx="1530" formatCode="0.0%">
                  <c:v>0.57305324992686679</c:v>
                </c:pt>
                <c:pt idx="1531" formatCode="0.0%">
                  <c:v>0.55037630421100203</c:v>
                </c:pt>
                <c:pt idx="1532" formatCode="0.0%">
                  <c:v>0.55343125811976901</c:v>
                </c:pt>
                <c:pt idx="1533" formatCode="0.0%">
                  <c:v>0.55648611353247246</c:v>
                </c:pt>
                <c:pt idx="1534" formatCode="0.0%">
                  <c:v>0.56412349830439046</c:v>
                </c:pt>
                <c:pt idx="1535" formatCode="0.0%">
                  <c:v>0.56412349830439046</c:v>
                </c:pt>
                <c:pt idx="1536" formatCode="0.0%">
                  <c:v>0.56412349830439046</c:v>
                </c:pt>
                <c:pt idx="1537" formatCode="0.0%">
                  <c:v>0.57646072124727543</c:v>
                </c:pt>
                <c:pt idx="1538" formatCode="0.0%">
                  <c:v>0.56576848106265432</c:v>
                </c:pt>
                <c:pt idx="1539" formatCode="0.0%">
                  <c:v>0.58080804200660141</c:v>
                </c:pt>
                <c:pt idx="1540" formatCode="0.0%">
                  <c:v>0.59937267857090093</c:v>
                </c:pt>
                <c:pt idx="1541" formatCode="0.0%">
                  <c:v>0.58174808843764569</c:v>
                </c:pt>
                <c:pt idx="1542" formatCode="0.0%">
                  <c:v>0.58174808843764569</c:v>
                </c:pt>
                <c:pt idx="1543" formatCode="0.0%">
                  <c:v>0.58174808843764569</c:v>
                </c:pt>
                <c:pt idx="1544" formatCode="0.0%">
                  <c:v>0.6095948955399999</c:v>
                </c:pt>
                <c:pt idx="1545" formatCode="0.0%">
                  <c:v>0.61417732640315026</c:v>
                </c:pt>
                <c:pt idx="1546" formatCode="0.0%">
                  <c:v>0.60618752271565457</c:v>
                </c:pt>
                <c:pt idx="1547" formatCode="0.0%">
                  <c:v>0.595730195642731</c:v>
                </c:pt>
                <c:pt idx="1548" formatCode="0.0%">
                  <c:v>0.56659092319375448</c:v>
                </c:pt>
                <c:pt idx="1549" formatCode="0.0%">
                  <c:v>0.56659092319375448</c:v>
                </c:pt>
                <c:pt idx="1550" formatCode="0.0%">
                  <c:v>0.56659092319375448</c:v>
                </c:pt>
                <c:pt idx="1551" formatCode="0.0%">
                  <c:v>0.56054799269947186</c:v>
                </c:pt>
                <c:pt idx="1552" formatCode="0.0%">
                  <c:v>0.55437120605474999</c:v>
                </c:pt>
                <c:pt idx="1553" formatCode="0.0%">
                  <c:v>0.56177348072284305</c:v>
                </c:pt>
                <c:pt idx="1554" formatCode="0.0%">
                  <c:v>0.49809006283063895</c:v>
                </c:pt>
                <c:pt idx="1555" formatCode="0.0%">
                  <c:v>0.43969391363274185</c:v>
                </c:pt>
                <c:pt idx="1556" formatCode="0.0%">
                  <c:v>0.43969391363274185</c:v>
                </c:pt>
                <c:pt idx="1557" formatCode="0.0%">
                  <c:v>0.43969391363274185</c:v>
                </c:pt>
                <c:pt idx="1558" formatCode="0.0%">
                  <c:v>0.37659782776781325</c:v>
                </c:pt>
                <c:pt idx="1559" formatCode="0.0%">
                  <c:v>0.45120859594846308</c:v>
                </c:pt>
                <c:pt idx="1560" formatCode="0.0%">
                  <c:v>0.37260292592406558</c:v>
                </c:pt>
                <c:pt idx="1561" formatCode="0.0%">
                  <c:v>0.43875386720169729</c:v>
                </c:pt>
                <c:pt idx="1562" formatCode="0.0%">
                  <c:v>0.41102456590322362</c:v>
                </c:pt>
                <c:pt idx="1563" formatCode="0.0%">
                  <c:v>0.41102456590322362</c:v>
                </c:pt>
                <c:pt idx="1564" formatCode="0.0%">
                  <c:v>0.41102456590322362</c:v>
                </c:pt>
                <c:pt idx="1565" formatCode="0.0%">
                  <c:v>0.44780122312411808</c:v>
                </c:pt>
                <c:pt idx="1566" formatCode="0.0%">
                  <c:v>0.45720099796211655</c:v>
                </c:pt>
                <c:pt idx="1567" formatCode="0.0%">
                  <c:v>0.4273566906898566</c:v>
                </c:pt>
                <c:pt idx="1568" formatCode="0.0%">
                  <c:v>0.4273566906898566</c:v>
                </c:pt>
                <c:pt idx="1569" formatCode="0.0%">
                  <c:v>0.4273566906898566</c:v>
                </c:pt>
                <c:pt idx="1570" formatCode="0.0%">
                  <c:v>0.4273566906898566</c:v>
                </c:pt>
                <c:pt idx="1571" formatCode="0.0%">
                  <c:v>0.4273566906898566</c:v>
                </c:pt>
                <c:pt idx="1572" formatCode="0.0%">
                  <c:v>0.4273566906898566</c:v>
                </c:pt>
                <c:pt idx="1573" formatCode="0.0%">
                  <c:v>0.39962729089531934</c:v>
                </c:pt>
                <c:pt idx="1574" formatCode="0.0%">
                  <c:v>0.46577823217295133</c:v>
                </c:pt>
                <c:pt idx="1575" formatCode="0.0%">
                  <c:v>0.45050365962124317</c:v>
                </c:pt>
                <c:pt idx="1576" formatCode="0.0%">
                  <c:v>0.47388554166432728</c:v>
                </c:pt>
                <c:pt idx="1577" formatCode="0.0%">
                  <c:v>0.47388554166432728</c:v>
                </c:pt>
                <c:pt idx="1578" formatCode="0.0%">
                  <c:v>0.47388554166432728</c:v>
                </c:pt>
                <c:pt idx="1579" formatCode="0.0%">
                  <c:v>0.48034796689350318</c:v>
                </c:pt>
                <c:pt idx="1580" formatCode="0.0%">
                  <c:v>0.47670548396533319</c:v>
                </c:pt>
                <c:pt idx="1581" formatCode="0.0%">
                  <c:v>0.49357342733797649</c:v>
                </c:pt>
                <c:pt idx="1582" formatCode="0.0%">
                  <c:v>0.51195466423184433</c:v>
                </c:pt>
                <c:pt idx="1583" formatCode="0.0%">
                  <c:v>0.52229448550088708</c:v>
                </c:pt>
                <c:pt idx="1584" formatCode="0.0%">
                  <c:v>0.52229448550088708</c:v>
                </c:pt>
                <c:pt idx="1585" formatCode="0.0%">
                  <c:v>0.52229448550088708</c:v>
                </c:pt>
                <c:pt idx="1586" formatCode="0.0%">
                  <c:v>0.52123693326596199</c:v>
                </c:pt>
                <c:pt idx="1587" formatCode="0.0%">
                  <c:v>0.5143046818133914</c:v>
                </c:pt>
                <c:pt idx="1588" formatCode="0.0%">
                  <c:v>0.51218967583960506</c:v>
                </c:pt>
                <c:pt idx="1589" formatCode="0.0%">
                  <c:v>0.52828678901847692</c:v>
                </c:pt>
                <c:pt idx="1590" formatCode="0.0%">
                  <c:v>0.5361590869020918</c:v>
                </c:pt>
                <c:pt idx="1591" formatCode="0.0%">
                  <c:v>0.5361590869020918</c:v>
                </c:pt>
                <c:pt idx="1592" formatCode="0.0%">
                  <c:v>0.5361590869020918</c:v>
                </c:pt>
                <c:pt idx="1593" formatCode="0.0%">
                  <c:v>0.5845680307386516</c:v>
                </c:pt>
                <c:pt idx="1594" formatCode="0.0%">
                  <c:v>0.58868043838628015</c:v>
                </c:pt>
                <c:pt idx="1595" formatCode="0.0%">
                  <c:v>0.59702266098935353</c:v>
                </c:pt>
                <c:pt idx="1596" formatCode="0.0%">
                  <c:v>0.59302775914560579</c:v>
                </c:pt>
                <c:pt idx="1597" formatCode="0.0%">
                  <c:v>0.60101766132916479</c:v>
                </c:pt>
                <c:pt idx="1598" formatCode="0.0%">
                  <c:v>0.60101766132916479</c:v>
                </c:pt>
                <c:pt idx="1599" formatCode="0.0%">
                  <c:v>0.60101766132916479</c:v>
                </c:pt>
                <c:pt idx="1600" formatCode="0.0%">
                  <c:v>0.6014875860486234</c:v>
                </c:pt>
                <c:pt idx="1601" formatCode="0.0%">
                  <c:v>0.60841993599725808</c:v>
                </c:pt>
                <c:pt idx="1602" formatCode="0.0%">
                  <c:v>0.59044282845236096</c:v>
                </c:pt>
                <c:pt idx="1603" formatCode="0.0%">
                  <c:v>0.57775318659389796</c:v>
                </c:pt>
                <c:pt idx="1604" formatCode="0.0%">
                  <c:v>0.56165607341502577</c:v>
                </c:pt>
                <c:pt idx="1605" formatCode="0.0%">
                  <c:v>0.56165607341502577</c:v>
                </c:pt>
                <c:pt idx="1606" formatCode="0.0%">
                  <c:v>0.56165607341502577</c:v>
                </c:pt>
                <c:pt idx="1607" formatCode="0.0%">
                  <c:v>0.58033811728714257</c:v>
                </c:pt>
                <c:pt idx="1608" formatCode="0.0%">
                  <c:v>0.58104305361436248</c:v>
                </c:pt>
                <c:pt idx="1609" formatCode="0.0%">
                  <c:v>0.59631772466213395</c:v>
                </c:pt>
                <c:pt idx="1610" formatCode="0.0%">
                  <c:v>0.59631772466213395</c:v>
                </c:pt>
                <c:pt idx="1611" formatCode="0.0%">
                  <c:v>0.59631772466213395</c:v>
                </c:pt>
                <c:pt idx="1612" formatCode="0.0%">
                  <c:v>0.58710479685679362</c:v>
                </c:pt>
                <c:pt idx="1613" formatCode="0.0%">
                  <c:v>0.58710479685679362</c:v>
                </c:pt>
                <c:pt idx="1614" formatCode="0.0%">
                  <c:v>0.56518095204325158</c:v>
                </c:pt>
                <c:pt idx="1615" formatCode="0.0%">
                  <c:v>0.58703545562801596</c:v>
                </c:pt>
                <c:pt idx="1616" formatCode="0.0%">
                  <c:v>0.59279284603390836</c:v>
                </c:pt>
                <c:pt idx="1617" formatCode="0.0%">
                  <c:v>0.59279284603390836</c:v>
                </c:pt>
                <c:pt idx="1618" formatCode="0.0%">
                  <c:v>0.60677495323899366</c:v>
                </c:pt>
                <c:pt idx="1619" formatCode="0.0%">
                  <c:v>0.60677495323899366</c:v>
                </c:pt>
                <c:pt idx="1620" formatCode="0.0%">
                  <c:v>0.60677495323899366</c:v>
                </c:pt>
                <c:pt idx="1621" formatCode="0.0%">
                  <c:v>0.60677495323899366</c:v>
                </c:pt>
                <c:pt idx="1622" formatCode="0.0%">
                  <c:v>0.60172259765638469</c:v>
                </c:pt>
                <c:pt idx="1623" formatCode="0.0%">
                  <c:v>0.60043013230976217</c:v>
                </c:pt>
                <c:pt idx="1624" formatCode="0.0%">
                  <c:v>0.58116055941824274</c:v>
                </c:pt>
                <c:pt idx="1625" formatCode="0.0%">
                  <c:v>0.58421551332700972</c:v>
                </c:pt>
                <c:pt idx="1626" formatCode="0.0%">
                  <c:v>0.58421551332700972</c:v>
                </c:pt>
                <c:pt idx="1627" formatCode="0.0%">
                  <c:v>0.58421551332700972</c:v>
                </c:pt>
                <c:pt idx="1628" formatCode="0.0%">
                  <c:v>0.58092554781048167</c:v>
                </c:pt>
                <c:pt idx="1629" formatCode="0.0%">
                  <c:v>0.58139557102600403</c:v>
                </c:pt>
                <c:pt idx="1630" formatCode="0.0%">
                  <c:v>0.57998559987550125</c:v>
                </c:pt>
                <c:pt idx="1631" formatCode="0.0%">
                  <c:v>0.56882333647535799</c:v>
                </c:pt>
                <c:pt idx="1632" formatCode="0.0%">
                  <c:v>0.56917585388699932</c:v>
                </c:pt>
                <c:pt idx="1633" formatCode="0.0%">
                  <c:v>0.56917585388699932</c:v>
                </c:pt>
                <c:pt idx="1634" formatCode="0.0%">
                  <c:v>0.56917585388699932</c:v>
                </c:pt>
                <c:pt idx="1635" formatCode="0.0%">
                  <c:v>0.56377098089274857</c:v>
                </c:pt>
                <c:pt idx="1636" formatCode="0.0%">
                  <c:v>0.58480294385034914</c:v>
                </c:pt>
                <c:pt idx="1637" formatCode="0.0%">
                  <c:v>0.58727046723577703</c:v>
                </c:pt>
                <c:pt idx="1638" formatCode="0.0%">
                  <c:v>0.57563818062011163</c:v>
                </c:pt>
                <c:pt idx="1639" formatCode="0.0%">
                  <c:v>0.58785789775911612</c:v>
                </c:pt>
                <c:pt idx="1640" formatCode="0.0%">
                  <c:v>0.58785789775911612</c:v>
                </c:pt>
                <c:pt idx="1641" formatCode="0.0%">
                  <c:v>0.58785789775911612</c:v>
                </c:pt>
                <c:pt idx="1642" formatCode="0.0%">
                  <c:v>0.59796270742039781</c:v>
                </c:pt>
                <c:pt idx="1643" formatCode="0.0%">
                  <c:v>0.58680044402025455</c:v>
                </c:pt>
                <c:pt idx="1644" formatCode="0.0%">
                  <c:v>0.59138287488340524</c:v>
                </c:pt>
                <c:pt idx="1645" formatCode="0.0%">
                  <c:v>0.60794991278173571</c:v>
                </c:pt>
                <c:pt idx="1646" formatCode="0.0%">
                  <c:v>0.60207511506802636</c:v>
                </c:pt>
                <c:pt idx="1647" formatCode="0.0%">
                  <c:v>0.60207511506802636</c:v>
                </c:pt>
                <c:pt idx="1648" formatCode="0.0%">
                  <c:v>0.60207511506802636</c:v>
                </c:pt>
                <c:pt idx="1649" formatCode="0.0%">
                  <c:v>0.61182740731766672</c:v>
                </c:pt>
                <c:pt idx="1650" formatCode="0.0%">
                  <c:v>0.60830243019337726</c:v>
                </c:pt>
                <c:pt idx="1651" formatCode="0.0%">
                  <c:v>0.61640973968475377</c:v>
                </c:pt>
                <c:pt idx="1652" formatCode="0.0%">
                  <c:v>0.61758469922749559</c:v>
                </c:pt>
                <c:pt idx="1653" formatCode="0.0%">
                  <c:v>0.61347229157986705</c:v>
                </c:pt>
                <c:pt idx="1654" formatCode="0.0%">
                  <c:v>0.61347229157986705</c:v>
                </c:pt>
                <c:pt idx="1655" formatCode="0.0%">
                  <c:v>0.61347229157986705</c:v>
                </c:pt>
                <c:pt idx="1656" formatCode="0.0%">
                  <c:v>0.61159239570990531</c:v>
                </c:pt>
                <c:pt idx="1657" formatCode="0.0%">
                  <c:v>0.62381211284891014</c:v>
                </c:pt>
                <c:pt idx="1658" formatCode="0.0%">
                  <c:v>0.62545699711111069</c:v>
                </c:pt>
                <c:pt idx="1659" formatCode="0.0%">
                  <c:v>0.62780701469265776</c:v>
                </c:pt>
                <c:pt idx="1660" formatCode="0.0%">
                  <c:v>0.63015693377814164</c:v>
                </c:pt>
                <c:pt idx="1661" formatCode="0.0%">
                  <c:v>0.63015693377814164</c:v>
                </c:pt>
                <c:pt idx="1662" formatCode="0.0%">
                  <c:v>0.63015693377814164</c:v>
                </c:pt>
                <c:pt idx="1663" formatCode="0.0%">
                  <c:v>0.62792452049653835</c:v>
                </c:pt>
                <c:pt idx="1664" formatCode="0.0%">
                  <c:v>0.62416453176448783</c:v>
                </c:pt>
                <c:pt idx="1665" formatCode="0.0%">
                  <c:v>0.63309438188302802</c:v>
                </c:pt>
                <c:pt idx="1666" formatCode="0.0%">
                  <c:v>0.64026174343942333</c:v>
                </c:pt>
                <c:pt idx="1667" formatCode="0.0%">
                  <c:v>0.64660656436865482</c:v>
                </c:pt>
                <c:pt idx="1668" formatCode="0.0%">
                  <c:v>0.64660656436865482</c:v>
                </c:pt>
                <c:pt idx="1669" formatCode="0.0%">
                  <c:v>0.64660656436865482</c:v>
                </c:pt>
                <c:pt idx="1670" formatCode="0.0%">
                  <c:v>0.65953121783487945</c:v>
                </c:pt>
                <c:pt idx="1671" formatCode="0.0%">
                  <c:v>0.67163342917000335</c:v>
                </c:pt>
                <c:pt idx="1672" formatCode="0.0%">
                  <c:v>0.6756283310137513</c:v>
                </c:pt>
                <c:pt idx="1673" formatCode="0.0%">
                  <c:v>0.66774076624027712</c:v>
                </c:pt>
                <c:pt idx="1674" formatCode="0.0%">
                  <c:v>0.65330390270952821</c:v>
                </c:pt>
                <c:pt idx="1675" formatCode="0.0%">
                  <c:v>0.65330390270952821</c:v>
                </c:pt>
                <c:pt idx="1676" formatCode="0.0%">
                  <c:v>0.65330390270952821</c:v>
                </c:pt>
                <c:pt idx="1677" formatCode="0.0%">
                  <c:v>0.63767671425011485</c:v>
                </c:pt>
                <c:pt idx="1678" formatCode="0.0%">
                  <c:v>0.65295138529788654</c:v>
                </c:pt>
                <c:pt idx="1679" formatCode="0.0%">
                  <c:v>0.63650175470737336</c:v>
                </c:pt>
                <c:pt idx="1680" formatCode="0.0%">
                  <c:v>0.65212894316678638</c:v>
                </c:pt>
                <c:pt idx="1681" formatCode="0.0%">
                  <c:v>0.64778152391139687</c:v>
                </c:pt>
                <c:pt idx="1682" formatCode="0.0%">
                  <c:v>0.64778152391139687</c:v>
                </c:pt>
                <c:pt idx="1683" formatCode="0.0%">
                  <c:v>0.64778152391139687</c:v>
                </c:pt>
                <c:pt idx="1684" formatCode="0.0%">
                  <c:v>0.65295138529788654</c:v>
                </c:pt>
                <c:pt idx="1685" formatCode="0.0%">
                  <c:v>0.65283387949400606</c:v>
                </c:pt>
                <c:pt idx="1686" formatCode="0.0%">
                  <c:v>0.66517110243689104</c:v>
                </c:pt>
                <c:pt idx="1687" formatCode="0.0%">
                  <c:v>0.66822605634565801</c:v>
                </c:pt>
                <c:pt idx="1688" formatCode="0.0%">
                  <c:v>0.66963602749616113</c:v>
                </c:pt>
                <c:pt idx="1689" formatCode="0.0%">
                  <c:v>0.66963602749616113</c:v>
                </c:pt>
                <c:pt idx="1690" formatCode="0.0%">
                  <c:v>0.66963602749616113</c:v>
                </c:pt>
                <c:pt idx="1691" formatCode="0.0%">
                  <c:v>0.66904849847675851</c:v>
                </c:pt>
                <c:pt idx="1692" formatCode="0.0%">
                  <c:v>0.66951852169228065</c:v>
                </c:pt>
                <c:pt idx="1693" formatCode="0.0%">
                  <c:v>0.65577132759889256</c:v>
                </c:pt>
                <c:pt idx="1694" formatCode="0.0%">
                  <c:v>0.65906129311542061</c:v>
                </c:pt>
                <c:pt idx="1695" formatCode="0.0%">
                  <c:v>0.66881348686899744</c:v>
                </c:pt>
                <c:pt idx="1696" formatCode="0.0%">
                  <c:v>0.66881348686899744</c:v>
                </c:pt>
                <c:pt idx="1697" formatCode="0.0%">
                  <c:v>0.66881348686899744</c:v>
                </c:pt>
                <c:pt idx="1698" formatCode="0.0%">
                  <c:v>0.66528860824077152</c:v>
                </c:pt>
                <c:pt idx="1699" formatCode="0.0%">
                  <c:v>0.66188123541642685</c:v>
                </c:pt>
                <c:pt idx="1700" formatCode="0.0%">
                  <c:v>0.6719859465816449</c:v>
                </c:pt>
                <c:pt idx="1701" formatCode="0.0%">
                  <c:v>0.66975353330004173</c:v>
                </c:pt>
                <c:pt idx="1702" formatCode="0.0%">
                  <c:v>0.66141121220090437</c:v>
                </c:pt>
                <c:pt idx="1703" formatCode="0.0%">
                  <c:v>0.66141121220090437</c:v>
                </c:pt>
                <c:pt idx="1704" formatCode="0.0%">
                  <c:v>0.6572706346790852</c:v>
                </c:pt>
                <c:pt idx="1705" formatCode="0.0%">
                  <c:v>0.65671127553387321</c:v>
                </c:pt>
                <c:pt idx="1706" formatCode="0.0%">
                  <c:v>0.64343410465600759</c:v>
                </c:pt>
                <c:pt idx="1707" formatCode="0.0%">
                  <c:v>0.65741631035715675</c:v>
                </c:pt>
                <c:pt idx="1708" formatCode="0.0%">
                  <c:v>0.66634606197963275</c:v>
                </c:pt>
                <c:pt idx="1709" formatCode="0.0%">
                  <c:v>0.67433586566712844</c:v>
                </c:pt>
                <c:pt idx="1710" formatCode="0.0%">
                  <c:v>0.67433586566712844</c:v>
                </c:pt>
                <c:pt idx="1711" formatCode="0.0%">
                  <c:v>0.67433586566712844</c:v>
                </c:pt>
                <c:pt idx="1712" formatCode="0.0%">
                  <c:v>0.67010595221561975</c:v>
                </c:pt>
                <c:pt idx="1713" formatCode="0.0%">
                  <c:v>0.67151592336612287</c:v>
                </c:pt>
                <c:pt idx="1714" formatCode="0.0%">
                  <c:v>0.68573314067503277</c:v>
                </c:pt>
                <c:pt idx="1715" formatCode="0.0%">
                  <c:v>0.68408815791676914</c:v>
                </c:pt>
                <c:pt idx="1716" formatCode="0.0%">
                  <c:v>0.69325292114700632</c:v>
                </c:pt>
                <c:pt idx="1717" formatCode="0.0%">
                  <c:v>0.69325292114700632</c:v>
                </c:pt>
                <c:pt idx="1718" formatCode="0.0%">
                  <c:v>0.69325292114700632</c:v>
                </c:pt>
                <c:pt idx="1719" formatCode="0.0%">
                  <c:v>0.68784804815275546</c:v>
                </c:pt>
                <c:pt idx="1720" formatCode="0.0%">
                  <c:v>0.67880079072639854</c:v>
                </c:pt>
                <c:pt idx="1721" formatCode="0.0%">
                  <c:v>0.6733959177321478</c:v>
                </c:pt>
                <c:pt idx="1722" formatCode="0.0%">
                  <c:v>0.6870256060216553</c:v>
                </c:pt>
                <c:pt idx="1723" formatCode="0.0%">
                  <c:v>0.69102050786540303</c:v>
                </c:pt>
                <c:pt idx="1724" formatCode="0.0%">
                  <c:v>0.69102050786540303</c:v>
                </c:pt>
                <c:pt idx="1725" formatCode="0.0%">
                  <c:v>0.69102050786540303</c:v>
                </c:pt>
                <c:pt idx="1726" formatCode="0.0%">
                  <c:v>0.68561563487115251</c:v>
                </c:pt>
                <c:pt idx="1727" formatCode="0.0%">
                  <c:v>0.69113801366928385</c:v>
                </c:pt>
                <c:pt idx="1728" formatCode="0.0%">
                  <c:v>0.68667308861001375</c:v>
                </c:pt>
                <c:pt idx="1729" formatCode="0.0%">
                  <c:v>0.67398344675155075</c:v>
                </c:pt>
                <c:pt idx="1730" formatCode="0.0%">
                  <c:v>0.68549812906727192</c:v>
                </c:pt>
                <c:pt idx="1731" formatCode="0.0%">
                  <c:v>0.68549812906727192</c:v>
                </c:pt>
                <c:pt idx="1732" formatCode="0.0%">
                  <c:v>0.68549812906727192</c:v>
                </c:pt>
                <c:pt idx="1733" formatCode="0.0%">
                  <c:v>0.68726061762941637</c:v>
                </c:pt>
                <c:pt idx="1734" formatCode="0.0%">
                  <c:v>0.6920497917300733</c:v>
                </c:pt>
                <c:pt idx="1735" formatCode="0.0%">
                  <c:v>0.69149053108092517</c:v>
                </c:pt>
                <c:pt idx="1736" formatCode="0.0%">
                  <c:v>0.70547263828601103</c:v>
                </c:pt>
                <c:pt idx="1737" formatCode="0.0%">
                  <c:v>0.7078226558675581</c:v>
                </c:pt>
                <c:pt idx="1738" formatCode="0.0%">
                  <c:v>0.7078226558675581</c:v>
                </c:pt>
                <c:pt idx="1739" formatCode="0.0%">
                  <c:v>0.7078226558675581</c:v>
                </c:pt>
                <c:pt idx="1740" formatCode="0.0%">
                  <c:v>0.71193506351518665</c:v>
                </c:pt>
                <c:pt idx="1741" formatCode="0.0%">
                  <c:v>0.71839739024829863</c:v>
                </c:pt>
                <c:pt idx="1742" formatCode="0.0%">
                  <c:v>0.71804487283665741</c:v>
                </c:pt>
                <c:pt idx="1743" formatCode="0.0%">
                  <c:v>0.73026458997566179</c:v>
                </c:pt>
                <c:pt idx="1744" formatCode="0.0%">
                  <c:v>0.73132204371452303</c:v>
                </c:pt>
                <c:pt idx="1745" formatCode="0.0%">
                  <c:v>0.73132204371452303</c:v>
                </c:pt>
                <c:pt idx="1746" formatCode="0.0%">
                  <c:v>0.73132204371452303</c:v>
                </c:pt>
                <c:pt idx="1747" formatCode="0.0%">
                  <c:v>0.70312271920052727</c:v>
                </c:pt>
                <c:pt idx="1748" formatCode="0.0%">
                  <c:v>0.68855308297603901</c:v>
                </c:pt>
                <c:pt idx="1749" formatCode="0.0%">
                  <c:v>0.71193506351518665</c:v>
                </c:pt>
                <c:pt idx="1750" formatCode="0.0%">
                  <c:v>0.70747013845591677</c:v>
                </c:pt>
                <c:pt idx="1751" formatCode="0.0%">
                  <c:v>0.68796555395663606</c:v>
                </c:pt>
                <c:pt idx="1752" formatCode="0.0%">
                  <c:v>0.68796555395663606</c:v>
                </c:pt>
                <c:pt idx="1753" formatCode="0.0%">
                  <c:v>0.68796555395663606</c:v>
                </c:pt>
                <c:pt idx="1754" formatCode="0.0%">
                  <c:v>0.7107600054763813</c:v>
                </c:pt>
                <c:pt idx="1755" formatCode="0.0%">
                  <c:v>0.72109982674542439</c:v>
                </c:pt>
                <c:pt idx="1756" formatCode="0.0%">
                  <c:v>0.72556475180469415</c:v>
                </c:pt>
                <c:pt idx="1757" formatCode="0.0%">
                  <c:v>0.72239229209204636</c:v>
                </c:pt>
                <c:pt idx="1758" formatCode="0.0%">
                  <c:v>0.73613948618543479</c:v>
                </c:pt>
                <c:pt idx="1759" formatCode="0.0%">
                  <c:v>0.73613948618543479</c:v>
                </c:pt>
                <c:pt idx="1760" formatCode="0.0%">
                  <c:v>0.73613948618543479</c:v>
                </c:pt>
                <c:pt idx="1761" formatCode="0.0%">
                  <c:v>0.74589177843507459</c:v>
                </c:pt>
                <c:pt idx="1762" formatCode="0.0%">
                  <c:v>0.74918164545553934</c:v>
                </c:pt>
                <c:pt idx="1763" formatCode="0.0%">
                  <c:v>0.75164907034490336</c:v>
                </c:pt>
                <c:pt idx="1764" formatCode="0.0%">
                  <c:v>0.74906413965165886</c:v>
                </c:pt>
                <c:pt idx="1765" formatCode="0.0%">
                  <c:v>0.74683290832281901</c:v>
                </c:pt>
                <c:pt idx="1766" formatCode="0.0%">
                  <c:v>0.74683290832281901</c:v>
                </c:pt>
                <c:pt idx="1767" formatCode="0.0%">
                  <c:v>0.74683290832281901</c:v>
                </c:pt>
                <c:pt idx="1768" formatCode="0.0%">
                  <c:v>0.75153156454102321</c:v>
                </c:pt>
                <c:pt idx="1769" formatCode="0.0%">
                  <c:v>0.73954685900977979</c:v>
                </c:pt>
                <c:pt idx="1770" formatCode="0.0%">
                  <c:v>0.74095683016028258</c:v>
                </c:pt>
                <c:pt idx="1771" formatCode="0.0%">
                  <c:v>0.73108703210676196</c:v>
                </c:pt>
                <c:pt idx="1772" formatCode="0.0%">
                  <c:v>0.70676510363263334</c:v>
                </c:pt>
                <c:pt idx="1773" formatCode="0.0%">
                  <c:v>0.70676510363263334</c:v>
                </c:pt>
                <c:pt idx="1774" formatCode="0.0%">
                  <c:v>0.70676510363263334</c:v>
                </c:pt>
                <c:pt idx="1775" formatCode="0.0%">
                  <c:v>0.74048690544082407</c:v>
                </c:pt>
                <c:pt idx="1776" formatCode="0.0%">
                  <c:v>0.73966436481366027</c:v>
                </c:pt>
                <c:pt idx="1777" formatCode="0.0%">
                  <c:v>0.75270652408376493</c:v>
                </c:pt>
                <c:pt idx="1778" formatCode="0.0%">
                  <c:v>0.73484702083881215</c:v>
                </c:pt>
                <c:pt idx="1779" formatCode="0.0%">
                  <c:v>0.70077280011504339</c:v>
                </c:pt>
                <c:pt idx="1780" formatCode="0.0%">
                  <c:v>0.70077280011504339</c:v>
                </c:pt>
                <c:pt idx="1781" formatCode="0.0%">
                  <c:v>0.70077280011504339</c:v>
                </c:pt>
                <c:pt idx="1782" formatCode="0.0%">
                  <c:v>0.72015987881044341</c:v>
                </c:pt>
                <c:pt idx="1783" formatCode="0.0%">
                  <c:v>0.68585064647891325</c:v>
                </c:pt>
                <c:pt idx="1784" formatCode="0.0%">
                  <c:v>0.70770515006367762</c:v>
                </c:pt>
                <c:pt idx="1785" formatCode="0.0%">
                  <c:v>0.72626968813191384</c:v>
                </c:pt>
                <c:pt idx="1786" formatCode="0.0%">
                  <c:v>0.69055048464988089</c:v>
                </c:pt>
                <c:pt idx="1787" formatCode="0.0%">
                  <c:v>0.69055048464988089</c:v>
                </c:pt>
                <c:pt idx="1788" formatCode="0.0%">
                  <c:v>0.69055048464988089</c:v>
                </c:pt>
                <c:pt idx="1789" formatCode="0.0%">
                  <c:v>0.7084100863908972</c:v>
                </c:pt>
                <c:pt idx="1790" formatCode="0.0%">
                  <c:v>0.71592996535893461</c:v>
                </c:pt>
                <c:pt idx="1791" formatCode="0.0%">
                  <c:v>0.73660941090489307</c:v>
                </c:pt>
                <c:pt idx="1792" formatCode="0.0%">
                  <c:v>0.73848940527091855</c:v>
                </c:pt>
                <c:pt idx="1793" formatCode="0.0%">
                  <c:v>0.74424679567681096</c:v>
                </c:pt>
                <c:pt idx="1794" formatCode="0.0%">
                  <c:v>0.74424679567681096</c:v>
                </c:pt>
                <c:pt idx="1795" formatCode="0.0%">
                  <c:v>0.74384374978453993</c:v>
                </c:pt>
                <c:pt idx="1796" formatCode="0.0%">
                  <c:v>0.72838459560963653</c:v>
                </c:pt>
                <c:pt idx="1797" formatCode="0.0%">
                  <c:v>0.73684442251265436</c:v>
                </c:pt>
                <c:pt idx="1798" formatCode="0.0%">
                  <c:v>0.72121733254930465</c:v>
                </c:pt>
                <c:pt idx="1799" formatCode="0.0%">
                  <c:v>0.72779716508629744</c:v>
                </c:pt>
                <c:pt idx="1800" formatCode="0.0%">
                  <c:v>0.73484702083881215</c:v>
                </c:pt>
                <c:pt idx="1801" formatCode="0.0%">
                  <c:v>0.73484702083881215</c:v>
                </c:pt>
                <c:pt idx="1802" formatCode="0.0%">
                  <c:v>0.73484702083881215</c:v>
                </c:pt>
                <c:pt idx="1803" formatCode="0.0%">
                  <c:v>0.73414198601552894</c:v>
                </c:pt>
                <c:pt idx="1804" formatCode="0.0%">
                  <c:v>0.72967706095625884</c:v>
                </c:pt>
                <c:pt idx="1805" formatCode="0.0%">
                  <c:v>0.72051229772602143</c:v>
                </c:pt>
                <c:pt idx="1806" formatCode="0.0%">
                  <c:v>0.71722243070555691</c:v>
                </c:pt>
                <c:pt idx="1807" formatCode="0.0%">
                  <c:v>0.72450719956976917</c:v>
                </c:pt>
                <c:pt idx="1808" formatCode="0.0%">
                  <c:v>0.72450719956976917</c:v>
                </c:pt>
                <c:pt idx="1809" formatCode="0.0%">
                  <c:v>0.72450719956976917</c:v>
                </c:pt>
                <c:pt idx="1810" formatCode="0.0%">
                  <c:v>0.70770515006367762</c:v>
                </c:pt>
                <c:pt idx="1811" formatCode="0.0%">
                  <c:v>0.69736532879463453</c:v>
                </c:pt>
                <c:pt idx="1812" formatCode="0.0%">
                  <c:v>0.70382775402381048</c:v>
                </c:pt>
                <c:pt idx="1813" formatCode="0.0%">
                  <c:v>0.70112531752668528</c:v>
                </c:pt>
                <c:pt idx="1814" formatCode="0.0%">
                  <c:v>0.70982005754140032</c:v>
                </c:pt>
                <c:pt idx="1815" formatCode="0.0%">
                  <c:v>0.70982005754140032</c:v>
                </c:pt>
                <c:pt idx="1816" formatCode="0.0%">
                  <c:v>0.70982005754140032</c:v>
                </c:pt>
                <c:pt idx="1817" formatCode="0.0%">
                  <c:v>0.71557744794729272</c:v>
                </c:pt>
                <c:pt idx="1818" formatCode="0.0%">
                  <c:v>0.72168725726876348</c:v>
                </c:pt>
                <c:pt idx="1819" formatCode="0.0%">
                  <c:v>0.72168725726876348</c:v>
                </c:pt>
                <c:pt idx="1820" formatCode="0.0%">
                  <c:v>0.72168725726876348</c:v>
                </c:pt>
                <c:pt idx="1821" formatCode="0.0%">
                  <c:v>0.72168725726876348</c:v>
                </c:pt>
                <c:pt idx="1822" formatCode="0.0%">
                  <c:v>0.72168725726876348</c:v>
                </c:pt>
                <c:pt idx="1823" formatCode="0.0%">
                  <c:v>0.72168725726876348</c:v>
                </c:pt>
                <c:pt idx="1824" formatCode="0.0%">
                  <c:v>0.72803217669405851</c:v>
                </c:pt>
                <c:pt idx="1825" formatCode="0.0%">
                  <c:v>0.72626968813191384</c:v>
                </c:pt>
                <c:pt idx="1826" formatCode="0.0%">
                  <c:v>0.71793908806434559</c:v>
                </c:pt>
              </c:numCache>
            </c:numRef>
          </c:val>
          <c:smooth val="0"/>
          <c:extLst>
            <c:ext xmlns:c16="http://schemas.microsoft.com/office/drawing/2014/chart" uri="{C3380CC4-5D6E-409C-BE32-E72D297353CC}">
              <c16:uniqueId val="{00000004-C592-43EE-8D08-8400729D0F8F}"/>
            </c:ext>
          </c:extLst>
        </c:ser>
        <c:ser>
          <c:idx val="5"/>
          <c:order val="4"/>
          <c:tx>
            <c:strRef>
              <c:f>Sheet1!$G$1</c:f>
              <c:strCache>
                <c:ptCount val="1"/>
                <c:pt idx="0">
                  <c:v>Peer #5</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G$2:$G$2069</c:f>
              <c:numCache>
                <c:formatCode>0.00%</c:formatCode>
                <c:ptCount val="2068"/>
                <c:pt idx="0">
                  <c:v>0</c:v>
                </c:pt>
                <c:pt idx="1">
                  <c:v>0</c:v>
                </c:pt>
                <c:pt idx="2">
                  <c:v>0</c:v>
                </c:pt>
                <c:pt idx="3">
                  <c:v>0</c:v>
                </c:pt>
                <c:pt idx="4">
                  <c:v>2.6833976862988606E-4</c:v>
                </c:pt>
                <c:pt idx="5">
                  <c:v>-5.0146182070486137E-3</c:v>
                </c:pt>
                <c:pt idx="6">
                  <c:v>-7.750451827978253E-3</c:v>
                </c:pt>
                <c:pt idx="7">
                  <c:v>1.0173848411469066E-2</c:v>
                </c:pt>
                <c:pt idx="8">
                  <c:v>2.3381168227549834E-2</c:v>
                </c:pt>
                <c:pt idx="9">
                  <c:v>2.3381168227549834E-2</c:v>
                </c:pt>
                <c:pt idx="10">
                  <c:v>2.3381168227549834E-2</c:v>
                </c:pt>
                <c:pt idx="11">
                  <c:v>2.1400096548227908E-2</c:v>
                </c:pt>
                <c:pt idx="12">
                  <c:v>2.1871794590564944E-2</c:v>
                </c:pt>
                <c:pt idx="13">
                  <c:v>1.9890647788127609E-2</c:v>
                </c:pt>
                <c:pt idx="14">
                  <c:v>2.9135824245564806E-2</c:v>
                </c:pt>
                <c:pt idx="15">
                  <c:v>2.309817945139386E-2</c:v>
                </c:pt>
                <c:pt idx="16">
                  <c:v>2.309817945139386E-2</c:v>
                </c:pt>
                <c:pt idx="17">
                  <c:v>2.309817945139386E-2</c:v>
                </c:pt>
                <c:pt idx="18">
                  <c:v>2.3758511636795987E-2</c:v>
                </c:pt>
                <c:pt idx="19">
                  <c:v>2.6683054523906548E-2</c:v>
                </c:pt>
                <c:pt idx="20">
                  <c:v>3.6116865124408974E-2</c:v>
                </c:pt>
                <c:pt idx="21">
                  <c:v>3.8097936803730616E-2</c:v>
                </c:pt>
                <c:pt idx="22">
                  <c:v>3.1871657866494443E-2</c:v>
                </c:pt>
                <c:pt idx="23">
                  <c:v>3.1871657866494443E-2</c:v>
                </c:pt>
                <c:pt idx="24">
                  <c:v>3.1871657866494443E-2</c:v>
                </c:pt>
                <c:pt idx="25">
                  <c:v>3.290933346114272E-2</c:v>
                </c:pt>
                <c:pt idx="26">
                  <c:v>3.290933346114272E-2</c:v>
                </c:pt>
                <c:pt idx="27">
                  <c:v>2.6683054523906548E-2</c:v>
                </c:pt>
                <c:pt idx="28">
                  <c:v>2.1211387282046985E-2</c:v>
                </c:pt>
                <c:pt idx="29">
                  <c:v>1.2720972766217926E-2</c:v>
                </c:pt>
                <c:pt idx="30">
                  <c:v>1.2720972766217926E-2</c:v>
                </c:pt>
                <c:pt idx="31">
                  <c:v>1.3661138556923902E-3</c:v>
                </c:pt>
                <c:pt idx="32">
                  <c:v>1.3947357627046984E-2</c:v>
                </c:pt>
                <c:pt idx="33">
                  <c:v>3.0739552515640155E-2</c:v>
                </c:pt>
                <c:pt idx="34">
                  <c:v>3.6211144634384025E-2</c:v>
                </c:pt>
                <c:pt idx="35">
                  <c:v>3.7437604618328638E-2</c:v>
                </c:pt>
                <c:pt idx="36">
                  <c:v>4.0639426924815612E-2</c:v>
                </c:pt>
                <c:pt idx="37">
                  <c:v>4.0639426924815612E-2</c:v>
                </c:pt>
                <c:pt idx="38">
                  <c:v>4.0639426924815612E-2</c:v>
                </c:pt>
                <c:pt idx="39">
                  <c:v>4.3645177899800984E-2</c:v>
                </c:pt>
                <c:pt idx="40">
                  <c:v>4.1266254200696718E-2</c:v>
                </c:pt>
                <c:pt idx="41">
                  <c:v>4.7368805366675135E-2</c:v>
                </c:pt>
                <c:pt idx="42">
                  <c:v>4.6851657839450243E-2</c:v>
                </c:pt>
                <c:pt idx="43">
                  <c:v>5.1195877363617373E-2</c:v>
                </c:pt>
                <c:pt idx="44">
                  <c:v>5.1195877363617373E-2</c:v>
                </c:pt>
                <c:pt idx="45">
                  <c:v>5.1195877363617373E-2</c:v>
                </c:pt>
                <c:pt idx="46">
                  <c:v>6.1746092583830861E-2</c:v>
                </c:pt>
                <c:pt idx="47">
                  <c:v>6.329761028862152E-2</c:v>
                </c:pt>
                <c:pt idx="48">
                  <c:v>5.8332798707161404E-2</c:v>
                </c:pt>
                <c:pt idx="49">
                  <c:v>5.0575285306324103E-2</c:v>
                </c:pt>
                <c:pt idx="50">
                  <c:v>4.9747804188894802E-2</c:v>
                </c:pt>
                <c:pt idx="51">
                  <c:v>4.9747804188894802E-2</c:v>
                </c:pt>
                <c:pt idx="52">
                  <c:v>4.9747804188894802E-2</c:v>
                </c:pt>
                <c:pt idx="53">
                  <c:v>4.0231884023131242E-2</c:v>
                </c:pt>
                <c:pt idx="54">
                  <c:v>3.4853369444514046E-2</c:v>
                </c:pt>
                <c:pt idx="55">
                  <c:v>3.4646480384377724E-2</c:v>
                </c:pt>
                <c:pt idx="56">
                  <c:v>3.6922034676529589E-2</c:v>
                </c:pt>
                <c:pt idx="57">
                  <c:v>2.6682077923404678E-2</c:v>
                </c:pt>
                <c:pt idx="58">
                  <c:v>2.6682077923404678E-2</c:v>
                </c:pt>
                <c:pt idx="59">
                  <c:v>1.8925015261260825E-2</c:v>
                </c:pt>
                <c:pt idx="60">
                  <c:v>3.950784743577003E-2</c:v>
                </c:pt>
                <c:pt idx="61">
                  <c:v>4.1369623607649543E-2</c:v>
                </c:pt>
                <c:pt idx="62">
                  <c:v>2.9371335212713207E-2</c:v>
                </c:pt>
                <c:pt idx="63">
                  <c:v>2.6268374926247732E-2</c:v>
                </c:pt>
                <c:pt idx="64">
                  <c:v>2.8337040158263278E-2</c:v>
                </c:pt>
                <c:pt idx="65">
                  <c:v>2.8337040158263278E-2</c:v>
                </c:pt>
                <c:pt idx="66">
                  <c:v>2.8337040158263278E-2</c:v>
                </c:pt>
                <c:pt idx="67">
                  <c:v>5.0368396246188073E-2</c:v>
                </c:pt>
                <c:pt idx="68">
                  <c:v>5.5746910824805269E-2</c:v>
                </c:pt>
                <c:pt idx="69">
                  <c:v>5.8539612644181747E-2</c:v>
                </c:pt>
                <c:pt idx="70">
                  <c:v>6.0194574879040487E-2</c:v>
                </c:pt>
                <c:pt idx="71">
                  <c:v>5.967742735181545E-2</c:v>
                </c:pt>
                <c:pt idx="72">
                  <c:v>5.967742735181545E-2</c:v>
                </c:pt>
                <c:pt idx="73">
                  <c:v>5.967742735181545E-2</c:v>
                </c:pt>
                <c:pt idx="74">
                  <c:v>6.1849537113899233E-2</c:v>
                </c:pt>
                <c:pt idx="75">
                  <c:v>7.4158083975923716E-2</c:v>
                </c:pt>
                <c:pt idx="76">
                  <c:v>6.3918202345914346E-2</c:v>
                </c:pt>
                <c:pt idx="77">
                  <c:v>6.5883423047861947E-2</c:v>
                </c:pt>
                <c:pt idx="78">
                  <c:v>6.2573573701260307E-2</c:v>
                </c:pt>
                <c:pt idx="79">
                  <c:v>6.2573573701260307E-2</c:v>
                </c:pt>
                <c:pt idx="80">
                  <c:v>6.2573573701260307E-2</c:v>
                </c:pt>
                <c:pt idx="81">
                  <c:v>6.6607459635223021E-2</c:v>
                </c:pt>
                <c:pt idx="82">
                  <c:v>6.9193272394463462E-2</c:v>
                </c:pt>
                <c:pt idx="83">
                  <c:v>6.691779322542743E-2</c:v>
                </c:pt>
                <c:pt idx="84">
                  <c:v>6.0815166936333466E-2</c:v>
                </c:pt>
                <c:pt idx="85">
                  <c:v>7.6123379800986865E-2</c:v>
                </c:pt>
                <c:pt idx="86">
                  <c:v>7.6123379800986865E-2</c:v>
                </c:pt>
                <c:pt idx="87">
                  <c:v>7.6123379800986865E-2</c:v>
                </c:pt>
                <c:pt idx="88">
                  <c:v>8.5639224843634884E-2</c:v>
                </c:pt>
                <c:pt idx="89">
                  <c:v>8.2639709087237487E-2</c:v>
                </c:pt>
                <c:pt idx="90">
                  <c:v>8.5491983537219915E-2</c:v>
                </c:pt>
                <c:pt idx="91">
                  <c:v>8.5491983537219915E-2</c:v>
                </c:pt>
                <c:pt idx="92">
                  <c:v>8.5491983537219915E-2</c:v>
                </c:pt>
                <c:pt idx="93">
                  <c:v>8.5491983537219915E-2</c:v>
                </c:pt>
                <c:pt idx="94">
                  <c:v>8.5491983537219915E-2</c:v>
                </c:pt>
                <c:pt idx="95">
                  <c:v>8.5491983537219915E-2</c:v>
                </c:pt>
                <c:pt idx="96">
                  <c:v>0.10167147429564921</c:v>
                </c:pt>
                <c:pt idx="97">
                  <c:v>9.784440229870725E-2</c:v>
                </c:pt>
                <c:pt idx="98">
                  <c:v>0.10270576935009941</c:v>
                </c:pt>
                <c:pt idx="99">
                  <c:v>0.104981323642251</c:v>
                </c:pt>
                <c:pt idx="100">
                  <c:v>0.104981323642251</c:v>
                </c:pt>
                <c:pt idx="101">
                  <c:v>0.104981323642251</c:v>
                </c:pt>
                <c:pt idx="102">
                  <c:v>0.10767058093155966</c:v>
                </c:pt>
                <c:pt idx="103">
                  <c:v>0.1079809145217638</c:v>
                </c:pt>
                <c:pt idx="104">
                  <c:v>0.10829117298885266</c:v>
                </c:pt>
                <c:pt idx="105">
                  <c:v>0.10911865410628209</c:v>
                </c:pt>
                <c:pt idx="106">
                  <c:v>0.11377320722065348</c:v>
                </c:pt>
                <c:pt idx="107">
                  <c:v>0.11377320722065348</c:v>
                </c:pt>
                <c:pt idx="108">
                  <c:v>0.11377320722065348</c:v>
                </c:pt>
                <c:pt idx="109">
                  <c:v>0.11346287363044923</c:v>
                </c:pt>
                <c:pt idx="110">
                  <c:v>0.10508476817231908</c:v>
                </c:pt>
                <c:pt idx="111">
                  <c:v>0.10839461751892074</c:v>
                </c:pt>
                <c:pt idx="112">
                  <c:v>0.11273883704308801</c:v>
                </c:pt>
                <c:pt idx="113">
                  <c:v>0.10891184016926132</c:v>
                </c:pt>
                <c:pt idx="114">
                  <c:v>0.10891184016926132</c:v>
                </c:pt>
                <c:pt idx="115">
                  <c:v>0.10891184016926132</c:v>
                </c:pt>
                <c:pt idx="116">
                  <c:v>0.11801398221475252</c:v>
                </c:pt>
                <c:pt idx="117">
                  <c:v>0.11108394993134468</c:v>
                </c:pt>
                <c:pt idx="118">
                  <c:v>0.11077361634114055</c:v>
                </c:pt>
                <c:pt idx="119">
                  <c:v>0.11046328275093614</c:v>
                </c:pt>
                <c:pt idx="120">
                  <c:v>0.1035603699122305</c:v>
                </c:pt>
                <c:pt idx="121">
                  <c:v>0.1035603699122305</c:v>
                </c:pt>
                <c:pt idx="122">
                  <c:v>0.1035603699122305</c:v>
                </c:pt>
                <c:pt idx="123">
                  <c:v>0.11211824498579488</c:v>
                </c:pt>
                <c:pt idx="124">
                  <c:v>0.10425728705488993</c:v>
                </c:pt>
                <c:pt idx="125">
                  <c:v>0.10953243222655445</c:v>
                </c:pt>
                <c:pt idx="126">
                  <c:v>0.10467106517516228</c:v>
                </c:pt>
                <c:pt idx="127">
                  <c:v>0.11728994562739131</c:v>
                </c:pt>
                <c:pt idx="128">
                  <c:v>0.11728994562739131</c:v>
                </c:pt>
                <c:pt idx="129">
                  <c:v>0.11728994562739131</c:v>
                </c:pt>
                <c:pt idx="130">
                  <c:v>0.11646246450996216</c:v>
                </c:pt>
                <c:pt idx="131">
                  <c:v>9.6396329123984686E-2</c:v>
                </c:pt>
                <c:pt idx="132">
                  <c:v>9.8051291358843426E-2</c:v>
                </c:pt>
                <c:pt idx="133">
                  <c:v>9.8051291358843426E-2</c:v>
                </c:pt>
                <c:pt idx="134">
                  <c:v>9.8051291358843426E-2</c:v>
                </c:pt>
                <c:pt idx="135">
                  <c:v>9.8051291358843426E-2</c:v>
                </c:pt>
                <c:pt idx="136">
                  <c:v>9.8051291358843426E-2</c:v>
                </c:pt>
                <c:pt idx="137">
                  <c:v>0.10725687793440272</c:v>
                </c:pt>
                <c:pt idx="138">
                  <c:v>0.10425728705488993</c:v>
                </c:pt>
                <c:pt idx="139">
                  <c:v>8.8535371193079873E-2</c:v>
                </c:pt>
                <c:pt idx="140">
                  <c:v>0.10467106517516228</c:v>
                </c:pt>
                <c:pt idx="141">
                  <c:v>0.11615213091975775</c:v>
                </c:pt>
                <c:pt idx="142">
                  <c:v>0.11615213091975775</c:v>
                </c:pt>
                <c:pt idx="143">
                  <c:v>0.11615213091975775</c:v>
                </c:pt>
                <c:pt idx="144">
                  <c:v>0.11615213091975775</c:v>
                </c:pt>
                <c:pt idx="145">
                  <c:v>0.12091012856419737</c:v>
                </c:pt>
                <c:pt idx="146">
                  <c:v>0.11863457427204566</c:v>
                </c:pt>
                <c:pt idx="147">
                  <c:v>0.12359938585350605</c:v>
                </c:pt>
                <c:pt idx="148">
                  <c:v>0.12794360537767305</c:v>
                </c:pt>
                <c:pt idx="149">
                  <c:v>0.12794360537767305</c:v>
                </c:pt>
                <c:pt idx="150">
                  <c:v>0.12794360537767305</c:v>
                </c:pt>
                <c:pt idx="151">
                  <c:v>0.11980183724096222</c:v>
                </c:pt>
                <c:pt idx="152">
                  <c:v>0.12297879379621278</c:v>
                </c:pt>
                <c:pt idx="153">
                  <c:v>0.12173760968162654</c:v>
                </c:pt>
                <c:pt idx="154">
                  <c:v>0.11801398221475252</c:v>
                </c:pt>
                <c:pt idx="155">
                  <c:v>0.1273230133203799</c:v>
                </c:pt>
                <c:pt idx="156">
                  <c:v>0.1273230133203799</c:v>
                </c:pt>
                <c:pt idx="157">
                  <c:v>0.1273230133203799</c:v>
                </c:pt>
                <c:pt idx="158">
                  <c:v>0.13063286266698171</c:v>
                </c:pt>
                <c:pt idx="159">
                  <c:v>0.13539078518830577</c:v>
                </c:pt>
                <c:pt idx="160">
                  <c:v>0.13177067737461529</c:v>
                </c:pt>
                <c:pt idx="161">
                  <c:v>0.13714919195323233</c:v>
                </c:pt>
                <c:pt idx="162">
                  <c:v>0.1439757797065721</c:v>
                </c:pt>
                <c:pt idx="163">
                  <c:v>0.1439757797065721</c:v>
                </c:pt>
                <c:pt idx="164">
                  <c:v>0.1439757797065721</c:v>
                </c:pt>
                <c:pt idx="165">
                  <c:v>0.14552729741136261</c:v>
                </c:pt>
                <c:pt idx="166">
                  <c:v>0.14945781393837293</c:v>
                </c:pt>
                <c:pt idx="167">
                  <c:v>0.15018185052573402</c:v>
                </c:pt>
                <c:pt idx="168">
                  <c:v>0.15390540286949261</c:v>
                </c:pt>
                <c:pt idx="169">
                  <c:v>0.15038866446275478</c:v>
                </c:pt>
                <c:pt idx="170">
                  <c:v>0.15038866446275478</c:v>
                </c:pt>
                <c:pt idx="171">
                  <c:v>0.15038866446275478</c:v>
                </c:pt>
                <c:pt idx="172">
                  <c:v>0.14252770653184954</c:v>
                </c:pt>
                <c:pt idx="173">
                  <c:v>0.15173329310740896</c:v>
                </c:pt>
                <c:pt idx="174">
                  <c:v>0.15245732969477019</c:v>
                </c:pt>
                <c:pt idx="175">
                  <c:v>0.15545692057428312</c:v>
                </c:pt>
                <c:pt idx="176">
                  <c:v>0.15638784622178051</c:v>
                </c:pt>
                <c:pt idx="177">
                  <c:v>0.15638784622178051</c:v>
                </c:pt>
                <c:pt idx="178">
                  <c:v>0.15638784622178051</c:v>
                </c:pt>
                <c:pt idx="179">
                  <c:v>0.16249039738775878</c:v>
                </c:pt>
                <c:pt idx="180">
                  <c:v>0.16611058032456483</c:v>
                </c:pt>
                <c:pt idx="181">
                  <c:v>0.16458280152427804</c:v>
                </c:pt>
                <c:pt idx="182">
                  <c:v>0.1659037663875442</c:v>
                </c:pt>
                <c:pt idx="183">
                  <c:v>0.17417842731560598</c:v>
                </c:pt>
                <c:pt idx="184">
                  <c:v>0.17417842731560598</c:v>
                </c:pt>
                <c:pt idx="185">
                  <c:v>0.17417842731560598</c:v>
                </c:pt>
                <c:pt idx="186">
                  <c:v>0.17666079554477845</c:v>
                </c:pt>
                <c:pt idx="187">
                  <c:v>0.1795569418942233</c:v>
                </c:pt>
                <c:pt idx="188">
                  <c:v>0.18359090295130159</c:v>
                </c:pt>
                <c:pt idx="189">
                  <c:v>0.16445569321282177</c:v>
                </c:pt>
                <c:pt idx="190">
                  <c:v>0.17407498278553787</c:v>
                </c:pt>
                <c:pt idx="191">
                  <c:v>0.17407498278553787</c:v>
                </c:pt>
                <c:pt idx="192">
                  <c:v>0.17407498278553787</c:v>
                </c:pt>
                <c:pt idx="193">
                  <c:v>0.18369434748136967</c:v>
                </c:pt>
                <c:pt idx="194">
                  <c:v>0.18959000958721192</c:v>
                </c:pt>
                <c:pt idx="195">
                  <c:v>0.19227934199963598</c:v>
                </c:pt>
                <c:pt idx="196">
                  <c:v>0.17821231324956899</c:v>
                </c:pt>
                <c:pt idx="197">
                  <c:v>0.18162560712623871</c:v>
                </c:pt>
                <c:pt idx="198">
                  <c:v>0.18162560712623871</c:v>
                </c:pt>
                <c:pt idx="199">
                  <c:v>0.18162560712623871</c:v>
                </c:pt>
                <c:pt idx="200">
                  <c:v>0.16259384191782672</c:v>
                </c:pt>
                <c:pt idx="201">
                  <c:v>0.16611058032456483</c:v>
                </c:pt>
                <c:pt idx="202">
                  <c:v>0.17717801819511905</c:v>
                </c:pt>
                <c:pt idx="203">
                  <c:v>0.18462519800575167</c:v>
                </c:pt>
                <c:pt idx="204">
                  <c:v>0.19424456270158344</c:v>
                </c:pt>
                <c:pt idx="205">
                  <c:v>0.19424456270158344</c:v>
                </c:pt>
                <c:pt idx="206">
                  <c:v>0.19424456270158344</c:v>
                </c:pt>
                <c:pt idx="207">
                  <c:v>0.1934170815841543</c:v>
                </c:pt>
                <c:pt idx="208">
                  <c:v>0.18638360477067833</c:v>
                </c:pt>
                <c:pt idx="209">
                  <c:v>0.18700419682797148</c:v>
                </c:pt>
                <c:pt idx="210">
                  <c:v>0.19114152729200257</c:v>
                </c:pt>
                <c:pt idx="211">
                  <c:v>0.18741789982512841</c:v>
                </c:pt>
                <c:pt idx="212">
                  <c:v>0.1869405675491278</c:v>
                </c:pt>
                <c:pt idx="213">
                  <c:v>0.1869405675491278</c:v>
                </c:pt>
                <c:pt idx="214">
                  <c:v>0.19103808276193418</c:v>
                </c:pt>
                <c:pt idx="215">
                  <c:v>0.18990034317741616</c:v>
                </c:pt>
                <c:pt idx="216">
                  <c:v>0.19165867481922746</c:v>
                </c:pt>
                <c:pt idx="217">
                  <c:v>0.19755441204818511</c:v>
                </c:pt>
                <c:pt idx="218">
                  <c:v>0.20365703833727905</c:v>
                </c:pt>
                <c:pt idx="219">
                  <c:v>0.20365703833727905</c:v>
                </c:pt>
                <c:pt idx="220">
                  <c:v>0.20365703833727905</c:v>
                </c:pt>
                <c:pt idx="221">
                  <c:v>0.2032432602170067</c:v>
                </c:pt>
                <c:pt idx="222">
                  <c:v>0.20696688768388058</c:v>
                </c:pt>
                <c:pt idx="223">
                  <c:v>0.20934588650610039</c:v>
                </c:pt>
                <c:pt idx="224">
                  <c:v>0.20820807179846695</c:v>
                </c:pt>
                <c:pt idx="225">
                  <c:v>0.21586214066923559</c:v>
                </c:pt>
                <c:pt idx="226">
                  <c:v>0.21586214066923559</c:v>
                </c:pt>
                <c:pt idx="227">
                  <c:v>0.21586214066923559</c:v>
                </c:pt>
                <c:pt idx="228">
                  <c:v>0.21182825473527273</c:v>
                </c:pt>
                <c:pt idx="229">
                  <c:v>0.21782743649429875</c:v>
                </c:pt>
                <c:pt idx="230">
                  <c:v>0.22051669378360714</c:v>
                </c:pt>
                <c:pt idx="231">
                  <c:v>0.20624285109651949</c:v>
                </c:pt>
                <c:pt idx="232">
                  <c:v>0.22010291566333479</c:v>
                </c:pt>
                <c:pt idx="233">
                  <c:v>0.22010291566333479</c:v>
                </c:pt>
                <c:pt idx="234">
                  <c:v>0.22010291566333479</c:v>
                </c:pt>
                <c:pt idx="235">
                  <c:v>0.22372309860014084</c:v>
                </c:pt>
                <c:pt idx="236">
                  <c:v>0.2250677272447949</c:v>
                </c:pt>
                <c:pt idx="237">
                  <c:v>0.22682613400972174</c:v>
                </c:pt>
                <c:pt idx="238">
                  <c:v>0.22661924494958569</c:v>
                </c:pt>
                <c:pt idx="239">
                  <c:v>0.22341284013305199</c:v>
                </c:pt>
                <c:pt idx="240">
                  <c:v>0.22341284013305199</c:v>
                </c:pt>
                <c:pt idx="241">
                  <c:v>0.22341284013305199</c:v>
                </c:pt>
                <c:pt idx="242">
                  <c:v>0.22661924494958569</c:v>
                </c:pt>
                <c:pt idx="243">
                  <c:v>0.22469691954659893</c:v>
                </c:pt>
                <c:pt idx="244">
                  <c:v>0.22413687672041335</c:v>
                </c:pt>
                <c:pt idx="245">
                  <c:v>0.22837765171451224</c:v>
                </c:pt>
                <c:pt idx="246">
                  <c:v>0.22486091330777441</c:v>
                </c:pt>
                <c:pt idx="247">
                  <c:v>0.22486091330777441</c:v>
                </c:pt>
                <c:pt idx="248">
                  <c:v>0.22486091330777441</c:v>
                </c:pt>
                <c:pt idx="249">
                  <c:v>0.23137724259402503</c:v>
                </c:pt>
                <c:pt idx="250">
                  <c:v>0.22651580041951733</c:v>
                </c:pt>
                <c:pt idx="251">
                  <c:v>0.22217165601846575</c:v>
                </c:pt>
                <c:pt idx="252">
                  <c:v>0.22217165601846575</c:v>
                </c:pt>
                <c:pt idx="253">
                  <c:v>0.2172068444370055</c:v>
                </c:pt>
                <c:pt idx="254">
                  <c:v>0.2172068444370055</c:v>
                </c:pt>
                <c:pt idx="255">
                  <c:v>0.2172068444370055</c:v>
                </c:pt>
                <c:pt idx="256">
                  <c:v>0.21710339990693739</c:v>
                </c:pt>
                <c:pt idx="257">
                  <c:v>0.21751710290409434</c:v>
                </c:pt>
                <c:pt idx="258">
                  <c:v>0.21038018156055047</c:v>
                </c:pt>
                <c:pt idx="259">
                  <c:v>0.22165443336812515</c:v>
                </c:pt>
                <c:pt idx="260">
                  <c:v>0.21803425043131924</c:v>
                </c:pt>
                <c:pt idx="261">
                  <c:v>0.21803425043131924</c:v>
                </c:pt>
                <c:pt idx="262">
                  <c:v>0.21803425043131924</c:v>
                </c:pt>
                <c:pt idx="263">
                  <c:v>0.19951963275013257</c:v>
                </c:pt>
                <c:pt idx="264">
                  <c:v>0.20179518704228427</c:v>
                </c:pt>
                <c:pt idx="265">
                  <c:v>0.19838189316561455</c:v>
                </c:pt>
                <c:pt idx="266">
                  <c:v>0.21306943884985913</c:v>
                </c:pt>
                <c:pt idx="267">
                  <c:v>0.21534499314201055</c:v>
                </c:pt>
                <c:pt idx="268">
                  <c:v>0.21534499314201055</c:v>
                </c:pt>
                <c:pt idx="269">
                  <c:v>0.21534499314201055</c:v>
                </c:pt>
                <c:pt idx="270">
                  <c:v>0.20944925591305291</c:v>
                </c:pt>
                <c:pt idx="271">
                  <c:v>0.18607327118047409</c:v>
                </c:pt>
                <c:pt idx="272">
                  <c:v>0.18400460594845852</c:v>
                </c:pt>
                <c:pt idx="273">
                  <c:v>0.18593429341676596</c:v>
                </c:pt>
                <c:pt idx="274">
                  <c:v>0.17935012795720254</c:v>
                </c:pt>
                <c:pt idx="275">
                  <c:v>0.17935012795720254</c:v>
                </c:pt>
                <c:pt idx="276">
                  <c:v>0.17935012795720254</c:v>
                </c:pt>
                <c:pt idx="277">
                  <c:v>0.1839011614183903</c:v>
                </c:pt>
                <c:pt idx="278">
                  <c:v>0.18348745842123335</c:v>
                </c:pt>
                <c:pt idx="279">
                  <c:v>0.17645398160775799</c:v>
                </c:pt>
                <c:pt idx="280">
                  <c:v>0.19941626334317974</c:v>
                </c:pt>
                <c:pt idx="281">
                  <c:v>0.20034711386756171</c:v>
                </c:pt>
                <c:pt idx="282">
                  <c:v>0.20034711386756171</c:v>
                </c:pt>
                <c:pt idx="283">
                  <c:v>0.20034711386756171</c:v>
                </c:pt>
                <c:pt idx="284">
                  <c:v>0.19734752298804906</c:v>
                </c:pt>
                <c:pt idx="285">
                  <c:v>0.19321019252401797</c:v>
                </c:pt>
                <c:pt idx="286">
                  <c:v>0.19755441204818511</c:v>
                </c:pt>
                <c:pt idx="287">
                  <c:v>0.20944925591305291</c:v>
                </c:pt>
                <c:pt idx="288">
                  <c:v>0.22082695225069598</c:v>
                </c:pt>
                <c:pt idx="289">
                  <c:v>0.22082695225069598</c:v>
                </c:pt>
                <c:pt idx="290">
                  <c:v>0.22082695225069598</c:v>
                </c:pt>
                <c:pt idx="291">
                  <c:v>0.21834458402152365</c:v>
                </c:pt>
                <c:pt idx="292">
                  <c:v>0.22051669378360714</c:v>
                </c:pt>
                <c:pt idx="293">
                  <c:v>0.22765361512715118</c:v>
                </c:pt>
                <c:pt idx="294">
                  <c:v>0.22775705965721912</c:v>
                </c:pt>
                <c:pt idx="295">
                  <c:v>0.24006560651924388</c:v>
                </c:pt>
                <c:pt idx="296">
                  <c:v>0.24006560651924388</c:v>
                </c:pt>
                <c:pt idx="297">
                  <c:v>0.24006560651924388</c:v>
                </c:pt>
                <c:pt idx="298">
                  <c:v>0.23996223711229164</c:v>
                </c:pt>
                <c:pt idx="299">
                  <c:v>0.24916782368785079</c:v>
                </c:pt>
                <c:pt idx="300">
                  <c:v>0.25154674738695504</c:v>
                </c:pt>
                <c:pt idx="301">
                  <c:v>0.24978841574514404</c:v>
                </c:pt>
                <c:pt idx="302">
                  <c:v>0.25371885714903869</c:v>
                </c:pt>
                <c:pt idx="303">
                  <c:v>0.25371885714903869</c:v>
                </c:pt>
                <c:pt idx="304">
                  <c:v>0.26366575862852826</c:v>
                </c:pt>
                <c:pt idx="305">
                  <c:v>0.26354503578189109</c:v>
                </c:pt>
                <c:pt idx="306">
                  <c:v>0.26726866324876508</c:v>
                </c:pt>
                <c:pt idx="307">
                  <c:v>0.26737210777883319</c:v>
                </c:pt>
                <c:pt idx="308">
                  <c:v>0.28174939499598933</c:v>
                </c:pt>
                <c:pt idx="309">
                  <c:v>0.28754168769487876</c:v>
                </c:pt>
                <c:pt idx="310">
                  <c:v>0.28754168769487876</c:v>
                </c:pt>
                <c:pt idx="311">
                  <c:v>0.28754168769487876</c:v>
                </c:pt>
                <c:pt idx="312">
                  <c:v>0.28340435723084767</c:v>
                </c:pt>
                <c:pt idx="313">
                  <c:v>0.28123224746876418</c:v>
                </c:pt>
                <c:pt idx="314">
                  <c:v>0.27957728523390557</c:v>
                </c:pt>
                <c:pt idx="315">
                  <c:v>0.28278369005043913</c:v>
                </c:pt>
                <c:pt idx="316">
                  <c:v>0.28743824316481037</c:v>
                </c:pt>
                <c:pt idx="317">
                  <c:v>0.28743824316481037</c:v>
                </c:pt>
                <c:pt idx="318">
                  <c:v>0.28743824316481037</c:v>
                </c:pt>
                <c:pt idx="319">
                  <c:v>0.29198927662599827</c:v>
                </c:pt>
                <c:pt idx="320">
                  <c:v>0.30067771567433282</c:v>
                </c:pt>
                <c:pt idx="321">
                  <c:v>0.29881593950245333</c:v>
                </c:pt>
                <c:pt idx="322">
                  <c:v>0.29643694068023391</c:v>
                </c:pt>
                <c:pt idx="323">
                  <c:v>0.30129830773162608</c:v>
                </c:pt>
                <c:pt idx="324">
                  <c:v>0.30129830773162608</c:v>
                </c:pt>
                <c:pt idx="325">
                  <c:v>0.30129830773162608</c:v>
                </c:pt>
                <c:pt idx="326">
                  <c:v>0.30626311931308636</c:v>
                </c:pt>
                <c:pt idx="327">
                  <c:v>0.28961035292689419</c:v>
                </c:pt>
                <c:pt idx="328">
                  <c:v>0.28723135410467421</c:v>
                </c:pt>
                <c:pt idx="329">
                  <c:v>0.2957129040928726</c:v>
                </c:pt>
                <c:pt idx="330">
                  <c:v>0.26664807119147199</c:v>
                </c:pt>
                <c:pt idx="331">
                  <c:v>0.26664807119147199</c:v>
                </c:pt>
                <c:pt idx="332">
                  <c:v>0.26664807119147199</c:v>
                </c:pt>
                <c:pt idx="333">
                  <c:v>0.26954421754091684</c:v>
                </c:pt>
                <c:pt idx="334">
                  <c:v>0.24832990045736453</c:v>
                </c:pt>
                <c:pt idx="335">
                  <c:v>0.25547726391396536</c:v>
                </c:pt>
                <c:pt idx="336">
                  <c:v>0.24916782368785079</c:v>
                </c:pt>
                <c:pt idx="337">
                  <c:v>0.25640811443834721</c:v>
                </c:pt>
                <c:pt idx="338">
                  <c:v>0.25640811443834721</c:v>
                </c:pt>
                <c:pt idx="339">
                  <c:v>0.25640811443834721</c:v>
                </c:pt>
                <c:pt idx="340">
                  <c:v>0.25630474503139439</c:v>
                </c:pt>
                <c:pt idx="341">
                  <c:v>0.2805082108814031</c:v>
                </c:pt>
                <c:pt idx="342">
                  <c:v>0.28236998705328203</c:v>
                </c:pt>
                <c:pt idx="343">
                  <c:v>0.28216309799314587</c:v>
                </c:pt>
                <c:pt idx="344">
                  <c:v>0.28433520775522936</c:v>
                </c:pt>
                <c:pt idx="345">
                  <c:v>0.28433520775522936</c:v>
                </c:pt>
                <c:pt idx="346">
                  <c:v>0.28433520775522936</c:v>
                </c:pt>
                <c:pt idx="347">
                  <c:v>0.28526613340272716</c:v>
                </c:pt>
                <c:pt idx="348">
                  <c:v>0.27461247365244534</c:v>
                </c:pt>
                <c:pt idx="349">
                  <c:v>0.27223347483022536</c:v>
                </c:pt>
                <c:pt idx="350">
                  <c:v>0.28816227975217173</c:v>
                </c:pt>
                <c:pt idx="351">
                  <c:v>0.26478629501959278</c:v>
                </c:pt>
                <c:pt idx="352">
                  <c:v>0.26478629501959278</c:v>
                </c:pt>
                <c:pt idx="353">
                  <c:v>0.26478629501959278</c:v>
                </c:pt>
                <c:pt idx="354">
                  <c:v>0.25506348579369303</c:v>
                </c:pt>
                <c:pt idx="355">
                  <c:v>0.26830303342633061</c:v>
                </c:pt>
                <c:pt idx="356">
                  <c:v>0.27781887846897874</c:v>
                </c:pt>
                <c:pt idx="357">
                  <c:v>0.29602323768307687</c:v>
                </c:pt>
                <c:pt idx="358">
                  <c:v>0.29602323768307687</c:v>
                </c:pt>
                <c:pt idx="359">
                  <c:v>0.29602323768307687</c:v>
                </c:pt>
                <c:pt idx="360">
                  <c:v>0.29602323768307687</c:v>
                </c:pt>
                <c:pt idx="361">
                  <c:v>0.30047090173731222</c:v>
                </c:pt>
                <c:pt idx="362">
                  <c:v>0.31371037424683434</c:v>
                </c:pt>
                <c:pt idx="363">
                  <c:v>0.30760782308085621</c:v>
                </c:pt>
                <c:pt idx="364">
                  <c:v>0.31112456148759404</c:v>
                </c:pt>
                <c:pt idx="365">
                  <c:v>0.30170637649511889</c:v>
                </c:pt>
                <c:pt idx="366">
                  <c:v>0.30170637649511889</c:v>
                </c:pt>
                <c:pt idx="367">
                  <c:v>0.30170637649511889</c:v>
                </c:pt>
                <c:pt idx="368">
                  <c:v>0.30181553038196651</c:v>
                </c:pt>
                <c:pt idx="369">
                  <c:v>0.31743400171370839</c:v>
                </c:pt>
                <c:pt idx="370">
                  <c:v>0.3015051967917623</c:v>
                </c:pt>
                <c:pt idx="371">
                  <c:v>0.2755433992999427</c:v>
                </c:pt>
                <c:pt idx="372">
                  <c:v>0.273267845007791</c:v>
                </c:pt>
                <c:pt idx="373">
                  <c:v>0.273267845007791</c:v>
                </c:pt>
                <c:pt idx="374">
                  <c:v>0.273267845007791</c:v>
                </c:pt>
                <c:pt idx="375">
                  <c:v>0.25858022420043086</c:v>
                </c:pt>
                <c:pt idx="376">
                  <c:v>0.26933732848078079</c:v>
                </c:pt>
                <c:pt idx="377">
                  <c:v>0.27792232299904684</c:v>
                </c:pt>
                <c:pt idx="378">
                  <c:v>0.27388843706508398</c:v>
                </c:pt>
                <c:pt idx="379">
                  <c:v>0.26147637054987555</c:v>
                </c:pt>
                <c:pt idx="380">
                  <c:v>0.26147637054987555</c:v>
                </c:pt>
                <c:pt idx="381">
                  <c:v>0.26147637054987555</c:v>
                </c:pt>
                <c:pt idx="382">
                  <c:v>0.26716521871869703</c:v>
                </c:pt>
                <c:pt idx="383">
                  <c:v>0.25671844802855132</c:v>
                </c:pt>
                <c:pt idx="384">
                  <c:v>0.2636484803119592</c:v>
                </c:pt>
                <c:pt idx="385">
                  <c:v>0.2599249279682006</c:v>
                </c:pt>
                <c:pt idx="386">
                  <c:v>0.23634205417548529</c:v>
                </c:pt>
                <c:pt idx="387">
                  <c:v>0.23634205417548529</c:v>
                </c:pt>
                <c:pt idx="388">
                  <c:v>0.23634205417548529</c:v>
                </c:pt>
                <c:pt idx="389">
                  <c:v>0.20510511151200134</c:v>
                </c:pt>
                <c:pt idx="390">
                  <c:v>0.20262266815971358</c:v>
                </c:pt>
                <c:pt idx="391">
                  <c:v>0.22434369065743368</c:v>
                </c:pt>
                <c:pt idx="392">
                  <c:v>0.2354111285279879</c:v>
                </c:pt>
                <c:pt idx="393">
                  <c:v>0.21048362609061841</c:v>
                </c:pt>
                <c:pt idx="394">
                  <c:v>0.21048362609061841</c:v>
                </c:pt>
                <c:pt idx="395">
                  <c:v>0.21048362609061841</c:v>
                </c:pt>
                <c:pt idx="396">
                  <c:v>0.24281218274569283</c:v>
                </c:pt>
                <c:pt idx="397">
                  <c:v>0.24182401328417072</c:v>
                </c:pt>
                <c:pt idx="398">
                  <c:v>0.25320170962181349</c:v>
                </c:pt>
                <c:pt idx="399">
                  <c:v>0.24027249557938007</c:v>
                </c:pt>
                <c:pt idx="400">
                  <c:v>0.22403343219034524</c:v>
                </c:pt>
                <c:pt idx="401">
                  <c:v>0.22403343219034524</c:v>
                </c:pt>
                <c:pt idx="402">
                  <c:v>0.22403343219034524</c:v>
                </c:pt>
                <c:pt idx="403">
                  <c:v>0.22351628466312021</c:v>
                </c:pt>
                <c:pt idx="404">
                  <c:v>0.2172068444370055</c:v>
                </c:pt>
                <c:pt idx="405">
                  <c:v>0.2373763492299355</c:v>
                </c:pt>
                <c:pt idx="406">
                  <c:v>0.23054976147659573</c:v>
                </c:pt>
                <c:pt idx="407">
                  <c:v>0.21901483245817402</c:v>
                </c:pt>
                <c:pt idx="408">
                  <c:v>0.21901483245817402</c:v>
                </c:pt>
                <c:pt idx="409">
                  <c:v>0.21901483245817402</c:v>
                </c:pt>
                <c:pt idx="410">
                  <c:v>0.19463790733443503</c:v>
                </c:pt>
                <c:pt idx="411">
                  <c:v>0.21172030281827375</c:v>
                </c:pt>
                <c:pt idx="412">
                  <c:v>0.20843960124049304</c:v>
                </c:pt>
                <c:pt idx="413">
                  <c:v>0.19916302332076924</c:v>
                </c:pt>
                <c:pt idx="414">
                  <c:v>0.19452477192246506</c:v>
                </c:pt>
                <c:pt idx="415">
                  <c:v>0.19452477192246506</c:v>
                </c:pt>
                <c:pt idx="416">
                  <c:v>0.19452477192246506</c:v>
                </c:pt>
                <c:pt idx="417">
                  <c:v>0.18174122160102057</c:v>
                </c:pt>
                <c:pt idx="418">
                  <c:v>0.18230689866087019</c:v>
                </c:pt>
                <c:pt idx="419">
                  <c:v>0.18445632124206754</c:v>
                </c:pt>
                <c:pt idx="420">
                  <c:v>0.16002049959576239</c:v>
                </c:pt>
                <c:pt idx="421">
                  <c:v>0.18626633758735495</c:v>
                </c:pt>
                <c:pt idx="422">
                  <c:v>0.18626633758735495</c:v>
                </c:pt>
                <c:pt idx="423">
                  <c:v>0.18626633758735495</c:v>
                </c:pt>
                <c:pt idx="424">
                  <c:v>0.19753998841000581</c:v>
                </c:pt>
                <c:pt idx="425">
                  <c:v>0.2017649875498462</c:v>
                </c:pt>
                <c:pt idx="426">
                  <c:v>0.19950242955667905</c:v>
                </c:pt>
                <c:pt idx="427">
                  <c:v>0.20606383271224032</c:v>
                </c:pt>
                <c:pt idx="428" formatCode="0.0%">
                  <c:v>0.18162808618905088</c:v>
                </c:pt>
                <c:pt idx="429" formatCode="0.0%">
                  <c:v>0.18162808618905088</c:v>
                </c:pt>
                <c:pt idx="430" formatCode="0.0%">
                  <c:v>0.18162808618905088</c:v>
                </c:pt>
                <c:pt idx="431" formatCode="0.0%">
                  <c:v>0.17303032074114655</c:v>
                </c:pt>
                <c:pt idx="432" formatCode="0.0%">
                  <c:v>0.15289341938035123</c:v>
                </c:pt>
                <c:pt idx="433" formatCode="0.0%">
                  <c:v>0.16590324052573563</c:v>
                </c:pt>
                <c:pt idx="434" formatCode="0.0%">
                  <c:v>0.1755191495582534</c:v>
                </c:pt>
                <c:pt idx="435" formatCode="0.0%">
                  <c:v>0.17823424919930034</c:v>
                </c:pt>
                <c:pt idx="436" formatCode="0.0%">
                  <c:v>0.17823424919930034</c:v>
                </c:pt>
                <c:pt idx="437" formatCode="0.0%">
                  <c:v>0.17823424919930034</c:v>
                </c:pt>
                <c:pt idx="438" formatCode="0.0%">
                  <c:v>0.18094934884034714</c:v>
                </c:pt>
                <c:pt idx="439" formatCode="0.0%">
                  <c:v>0.17687669937877673</c:v>
                </c:pt>
                <c:pt idx="440" formatCode="0.0%">
                  <c:v>0.19848428597206522</c:v>
                </c:pt>
                <c:pt idx="441" formatCode="0.0%">
                  <c:v>0.20142558131393629</c:v>
                </c:pt>
                <c:pt idx="442" formatCode="0.0%">
                  <c:v>0.22224122002343535</c:v>
                </c:pt>
                <c:pt idx="443" formatCode="0.0%">
                  <c:v>0.22224122002343535</c:v>
                </c:pt>
                <c:pt idx="444" formatCode="0.0%">
                  <c:v>0.22224122002343535</c:v>
                </c:pt>
                <c:pt idx="445" formatCode="0.0%">
                  <c:v>0.22608759866106554</c:v>
                </c:pt>
                <c:pt idx="446" formatCode="0.0%">
                  <c:v>0.23909741980644966</c:v>
                </c:pt>
                <c:pt idx="447" formatCode="0.0%">
                  <c:v>0.23151779794315913</c:v>
                </c:pt>
                <c:pt idx="448" formatCode="0.0%">
                  <c:v>0.2272188776576492</c:v>
                </c:pt>
                <c:pt idx="449" formatCode="0.0%">
                  <c:v>0.23117839170724935</c:v>
                </c:pt>
                <c:pt idx="450" formatCode="0.0%">
                  <c:v>0.23117839170724935</c:v>
                </c:pt>
                <c:pt idx="451" formatCode="0.0%">
                  <c:v>0.23117839170724935</c:v>
                </c:pt>
                <c:pt idx="452" formatCode="0.0%">
                  <c:v>0.2406812404509128</c:v>
                </c:pt>
                <c:pt idx="453" formatCode="0.0%">
                  <c:v>0.24260439220817048</c:v>
                </c:pt>
                <c:pt idx="454" formatCode="0.0%">
                  <c:v>0.23966302174318371</c:v>
                </c:pt>
                <c:pt idx="455" formatCode="0.0%">
                  <c:v>0.22577741531709236</c:v>
                </c:pt>
                <c:pt idx="456" formatCode="0.0%">
                  <c:v>0.23411976217223596</c:v>
                </c:pt>
                <c:pt idx="457" formatCode="0.0%">
                  <c:v>0.23411976217223596</c:v>
                </c:pt>
                <c:pt idx="458" formatCode="0.0%">
                  <c:v>0.23411976217223596</c:v>
                </c:pt>
                <c:pt idx="459" formatCode="0.0%">
                  <c:v>0.24622450002186086</c:v>
                </c:pt>
                <c:pt idx="460" formatCode="0.0%">
                  <c:v>0.25176783471592401</c:v>
                </c:pt>
                <c:pt idx="461" formatCode="0.0%">
                  <c:v>0.23457230382011546</c:v>
                </c:pt>
                <c:pt idx="462" formatCode="0.0%">
                  <c:v>0.23796614080986614</c:v>
                </c:pt>
                <c:pt idx="463" formatCode="0.0%">
                  <c:v>0.24622450002186086</c:v>
                </c:pt>
                <c:pt idx="464" formatCode="0.0%">
                  <c:v>0.24622450002186086</c:v>
                </c:pt>
                <c:pt idx="465" formatCode="0.0%">
                  <c:v>0.24622450002186086</c:v>
                </c:pt>
                <c:pt idx="466" formatCode="0.0%">
                  <c:v>0.23706113263722231</c:v>
                </c:pt>
                <c:pt idx="467" formatCode="0.0%">
                  <c:v>0.23197033959103863</c:v>
                </c:pt>
                <c:pt idx="468" formatCode="0.0%">
                  <c:v>0.220091797442238</c:v>
                </c:pt>
                <c:pt idx="469" formatCode="0.0%">
                  <c:v>0.220091797442238</c:v>
                </c:pt>
                <c:pt idx="470" formatCode="0.0%">
                  <c:v>0.220091797442238</c:v>
                </c:pt>
                <c:pt idx="471" formatCode="0.0%">
                  <c:v>0.220091797442238</c:v>
                </c:pt>
                <c:pt idx="472" formatCode="0.0%">
                  <c:v>0.220091797442238</c:v>
                </c:pt>
                <c:pt idx="473" formatCode="0.0%">
                  <c:v>0.220091797442238</c:v>
                </c:pt>
                <c:pt idx="474" formatCode="0.0%">
                  <c:v>0.22744514848158887</c:v>
                </c:pt>
                <c:pt idx="475" formatCode="0.0%">
                  <c:v>0.23830554704577581</c:v>
                </c:pt>
                <c:pt idx="476" formatCode="0.0%">
                  <c:v>0.2421518505602907</c:v>
                </c:pt>
                <c:pt idx="477" formatCode="0.0%">
                  <c:v>0.21681109586445757</c:v>
                </c:pt>
                <c:pt idx="478" formatCode="0.0%">
                  <c:v>0.21681109586445757</c:v>
                </c:pt>
                <c:pt idx="479" formatCode="0.0%">
                  <c:v>0.21681109586445757</c:v>
                </c:pt>
                <c:pt idx="480" formatCode="0.0%">
                  <c:v>0.19282781586603193</c:v>
                </c:pt>
                <c:pt idx="481" formatCode="0.0%">
                  <c:v>0.20504568912762663</c:v>
                </c:pt>
                <c:pt idx="482" formatCode="0.0%">
                  <c:v>0.20459322260286256</c:v>
                </c:pt>
                <c:pt idx="483" formatCode="0.0%">
                  <c:v>0.21285158181485728</c:v>
                </c:pt>
                <c:pt idx="484" formatCode="0.0%">
                  <c:v>0.22088374532602756</c:v>
                </c:pt>
                <c:pt idx="485" formatCode="0.0%">
                  <c:v>0.19574356934862691</c:v>
                </c:pt>
                <c:pt idx="486" formatCode="0.0%">
                  <c:v>0.19574356934862691</c:v>
                </c:pt>
                <c:pt idx="487" formatCode="0.0%">
                  <c:v>0.18898143722840174</c:v>
                </c:pt>
                <c:pt idx="488" formatCode="0.0%">
                  <c:v>0.19667419450366225</c:v>
                </c:pt>
                <c:pt idx="489" formatCode="0.0%">
                  <c:v>0.19418536568655526</c:v>
                </c:pt>
                <c:pt idx="490" formatCode="0.0%">
                  <c:v>0.20040743772932273</c:v>
                </c:pt>
                <c:pt idx="491" formatCode="0.0%">
                  <c:v>0.16941021292745617</c:v>
                </c:pt>
                <c:pt idx="492" formatCode="0.0%">
                  <c:v>0.16941021292745617</c:v>
                </c:pt>
                <c:pt idx="493" formatCode="0.0%">
                  <c:v>0.16941021292745617</c:v>
                </c:pt>
                <c:pt idx="494" formatCode="0.0%">
                  <c:v>0.15945489765902848</c:v>
                </c:pt>
                <c:pt idx="495" formatCode="0.0%">
                  <c:v>0.16250932841286939</c:v>
                </c:pt>
                <c:pt idx="496" formatCode="0.0%">
                  <c:v>0.15300655479232134</c:v>
                </c:pt>
                <c:pt idx="497" formatCode="0.0%">
                  <c:v>0.14780262633416769</c:v>
                </c:pt>
                <c:pt idx="498" formatCode="0.0%">
                  <c:v>0.14780262633416769</c:v>
                </c:pt>
                <c:pt idx="499" formatCode="0.0%">
                  <c:v>0.14780262633416769</c:v>
                </c:pt>
                <c:pt idx="500" formatCode="0.0%">
                  <c:v>0.14780262633416769</c:v>
                </c:pt>
                <c:pt idx="501" formatCode="0.0%">
                  <c:v>0.17189904174456289</c:v>
                </c:pt>
                <c:pt idx="502" formatCode="0.0%">
                  <c:v>0.17800797837536039</c:v>
                </c:pt>
                <c:pt idx="503" formatCode="0.0%">
                  <c:v>0.16805266310693284</c:v>
                </c:pt>
                <c:pt idx="504" formatCode="0.0%">
                  <c:v>0.13750797995294589</c:v>
                </c:pt>
                <c:pt idx="505" formatCode="0.0%">
                  <c:v>0.14983898862651032</c:v>
                </c:pt>
                <c:pt idx="506" formatCode="0.0%">
                  <c:v>0.14983898862651032</c:v>
                </c:pt>
                <c:pt idx="507" formatCode="0.0%">
                  <c:v>0.14983898862651032</c:v>
                </c:pt>
                <c:pt idx="508" formatCode="0.0%">
                  <c:v>0.15006518432733487</c:v>
                </c:pt>
                <c:pt idx="509" formatCode="0.0%">
                  <c:v>0.13298278884349599</c:v>
                </c:pt>
                <c:pt idx="510" formatCode="0.0%">
                  <c:v>0.15017831973930471</c:v>
                </c:pt>
                <c:pt idx="511" formatCode="0.0%">
                  <c:v>0.15017831973930471</c:v>
                </c:pt>
                <c:pt idx="512" formatCode="0.0%">
                  <c:v>0.15017831973930471</c:v>
                </c:pt>
                <c:pt idx="513" formatCode="0.0%">
                  <c:v>0.15017831973930471</c:v>
                </c:pt>
                <c:pt idx="514" formatCode="0.0%">
                  <c:v>0.15017831973930471</c:v>
                </c:pt>
                <c:pt idx="515" formatCode="0.0%">
                  <c:v>0.18592700647456084</c:v>
                </c:pt>
                <c:pt idx="516" formatCode="0.0%">
                  <c:v>0.17708238646906466</c:v>
                </c:pt>
                <c:pt idx="517" formatCode="0.0%">
                  <c:v>0.1798180698437632</c:v>
                </c:pt>
                <c:pt idx="518" formatCode="0.0%">
                  <c:v>0.17065462733600939</c:v>
                </c:pt>
                <c:pt idx="519" formatCode="0.0%">
                  <c:v>0.17687669937877673</c:v>
                </c:pt>
                <c:pt idx="520" formatCode="0.0%">
                  <c:v>0.17687669937877673</c:v>
                </c:pt>
                <c:pt idx="521" formatCode="0.0%">
                  <c:v>0.17687669937877673</c:v>
                </c:pt>
                <c:pt idx="522" formatCode="0.0%">
                  <c:v>0.17687669937877673</c:v>
                </c:pt>
                <c:pt idx="523" formatCode="0.0%">
                  <c:v>0.17291718532917641</c:v>
                </c:pt>
                <c:pt idx="524" formatCode="0.0%">
                  <c:v>0.17427473514970004</c:v>
                </c:pt>
                <c:pt idx="525" formatCode="0.0%">
                  <c:v>0.17303032074114655</c:v>
                </c:pt>
                <c:pt idx="526" formatCode="0.0%">
                  <c:v>0.13886545465035383</c:v>
                </c:pt>
                <c:pt idx="527" formatCode="0.0%">
                  <c:v>0.13886545465035383</c:v>
                </c:pt>
                <c:pt idx="528" formatCode="0.0%">
                  <c:v>0.13886545465035383</c:v>
                </c:pt>
                <c:pt idx="529" formatCode="0.0%">
                  <c:v>0.11567412253571746</c:v>
                </c:pt>
                <c:pt idx="530" formatCode="0.0%">
                  <c:v>0.10322997845018293</c:v>
                </c:pt>
                <c:pt idx="531" formatCode="0.0%">
                  <c:v>0.11465597895110392</c:v>
                </c:pt>
                <c:pt idx="532" formatCode="0.0%">
                  <c:v>8.9202013720185394E-2</c:v>
                </c:pt>
                <c:pt idx="533" formatCode="0.0%">
                  <c:v>9.2708986121905645E-2</c:v>
                </c:pt>
                <c:pt idx="534" formatCode="0.0%">
                  <c:v>9.2708986121905645E-2</c:v>
                </c:pt>
                <c:pt idx="535" formatCode="0.0%">
                  <c:v>9.2708986121905645E-2</c:v>
                </c:pt>
                <c:pt idx="536" formatCode="0.0%">
                  <c:v>9.1125240600558322E-2</c:v>
                </c:pt>
                <c:pt idx="537" formatCode="0.0%">
                  <c:v>0.10413498662282678</c:v>
                </c:pt>
                <c:pt idx="538" formatCode="0.0%">
                  <c:v>0.10300370762624339</c:v>
                </c:pt>
                <c:pt idx="539" formatCode="0.0%">
                  <c:v>0.10899950884507063</c:v>
                </c:pt>
                <c:pt idx="540" formatCode="0.0%">
                  <c:v>0.13592415930848262</c:v>
                </c:pt>
                <c:pt idx="541" formatCode="0.0%">
                  <c:v>0.13592415930848262</c:v>
                </c:pt>
                <c:pt idx="542" formatCode="0.0%">
                  <c:v>0.13592415930848262</c:v>
                </c:pt>
                <c:pt idx="543" formatCode="0.0%">
                  <c:v>0.14124122317860624</c:v>
                </c:pt>
                <c:pt idx="544" formatCode="0.0%">
                  <c:v>0.1471238889854635</c:v>
                </c:pt>
                <c:pt idx="545" formatCode="0.0%">
                  <c:v>0.13275651801955618</c:v>
                </c:pt>
                <c:pt idx="546" formatCode="0.0%">
                  <c:v>0.11969253310788402</c:v>
                </c:pt>
                <c:pt idx="547" formatCode="0.0%">
                  <c:v>0.12415875257165183</c:v>
                </c:pt>
                <c:pt idx="548" formatCode="0.0%">
                  <c:v>0.12415875257165183</c:v>
                </c:pt>
                <c:pt idx="549" formatCode="0.0%">
                  <c:v>0.12415875257165183</c:v>
                </c:pt>
                <c:pt idx="550" formatCode="0.0%">
                  <c:v>0.12710012303663845</c:v>
                </c:pt>
                <c:pt idx="551" formatCode="0.0%">
                  <c:v>0.12992835808965539</c:v>
                </c:pt>
                <c:pt idx="552" formatCode="0.0%">
                  <c:v>0.1560610606692778</c:v>
                </c:pt>
                <c:pt idx="553" formatCode="0.0%">
                  <c:v>0.171107168983889</c:v>
                </c:pt>
                <c:pt idx="554" formatCode="0.0%">
                  <c:v>0.17393532891379038</c:v>
                </c:pt>
                <c:pt idx="555" formatCode="0.0%">
                  <c:v>0.17393532891379038</c:v>
                </c:pt>
                <c:pt idx="556" formatCode="0.0%">
                  <c:v>0.17393532891379038</c:v>
                </c:pt>
                <c:pt idx="557" formatCode="0.0%">
                  <c:v>0.17800797837536039</c:v>
                </c:pt>
                <c:pt idx="558" formatCode="0.0%">
                  <c:v>0.17585855579416318</c:v>
                </c:pt>
                <c:pt idx="559" formatCode="0.0%">
                  <c:v>0.15945489765902848</c:v>
                </c:pt>
                <c:pt idx="560" formatCode="0.0%">
                  <c:v>0.14565320375297047</c:v>
                </c:pt>
                <c:pt idx="561" formatCode="0.0%">
                  <c:v>0.16986275457533564</c:v>
                </c:pt>
                <c:pt idx="562" formatCode="0.0%">
                  <c:v>0.16986275457533564</c:v>
                </c:pt>
                <c:pt idx="563" formatCode="0.0%">
                  <c:v>0.16986275457533564</c:v>
                </c:pt>
                <c:pt idx="564" formatCode="0.0%">
                  <c:v>0.17178590633259305</c:v>
                </c:pt>
                <c:pt idx="565" formatCode="0.0%">
                  <c:v>0.1662425716385296</c:v>
                </c:pt>
                <c:pt idx="566" formatCode="0.0%">
                  <c:v>0.17642415773089709</c:v>
                </c:pt>
                <c:pt idx="567" formatCode="0.0%">
                  <c:v>0.17834738461127017</c:v>
                </c:pt>
                <c:pt idx="568" formatCode="0.0%">
                  <c:v>0.18468259206600735</c:v>
                </c:pt>
                <c:pt idx="569" formatCode="0.0%">
                  <c:v>0.18468259206600735</c:v>
                </c:pt>
                <c:pt idx="570" formatCode="0.0%">
                  <c:v>0.18468259206600735</c:v>
                </c:pt>
                <c:pt idx="571" formatCode="0.0%">
                  <c:v>0.17744230131551092</c:v>
                </c:pt>
                <c:pt idx="572" formatCode="0.0%">
                  <c:v>0.18445632124206754</c:v>
                </c:pt>
                <c:pt idx="573" formatCode="0.0%">
                  <c:v>0.19803174432418544</c:v>
                </c:pt>
                <c:pt idx="574" formatCode="0.0%">
                  <c:v>0.20165185213787609</c:v>
                </c:pt>
                <c:pt idx="575" formatCode="0.0%">
                  <c:v>0.21918678926959445</c:v>
                </c:pt>
                <c:pt idx="576" formatCode="0.0%">
                  <c:v>0.21918678926959445</c:v>
                </c:pt>
                <c:pt idx="577" formatCode="0.0%">
                  <c:v>0.2220899971918979</c:v>
                </c:pt>
                <c:pt idx="578" formatCode="0.0%">
                  <c:v>0.21556668145590407</c:v>
                </c:pt>
                <c:pt idx="579" formatCode="0.0%">
                  <c:v>0.20764765335670346</c:v>
                </c:pt>
                <c:pt idx="580" formatCode="0.0%">
                  <c:v>0.22631386948500548</c:v>
                </c:pt>
                <c:pt idx="581" formatCode="0.0%">
                  <c:v>0.22642700489697518</c:v>
                </c:pt>
                <c:pt idx="582" formatCode="0.0%">
                  <c:v>0.22450385313971793</c:v>
                </c:pt>
                <c:pt idx="583" formatCode="0.0%">
                  <c:v>0.22450385313971793</c:v>
                </c:pt>
                <c:pt idx="584" formatCode="0.0%">
                  <c:v>0.22450385313971793</c:v>
                </c:pt>
                <c:pt idx="585" formatCode="0.0%">
                  <c:v>0.22835023177734826</c:v>
                </c:pt>
                <c:pt idx="586" formatCode="0.0%">
                  <c:v>0.21319098805076678</c:v>
                </c:pt>
                <c:pt idx="587" formatCode="0.0%">
                  <c:v>0.22122307643882166</c:v>
                </c:pt>
                <c:pt idx="588" formatCode="0.0%">
                  <c:v>0.22925523994999211</c:v>
                </c:pt>
                <c:pt idx="589" formatCode="0.0%">
                  <c:v>0.23660859098934267</c:v>
                </c:pt>
                <c:pt idx="590" formatCode="0.0%">
                  <c:v>0.23660859098934267</c:v>
                </c:pt>
                <c:pt idx="591" formatCode="0.0%">
                  <c:v>0.23660859098934267</c:v>
                </c:pt>
                <c:pt idx="592" formatCode="0.0%">
                  <c:v>0.25142842848001451</c:v>
                </c:pt>
                <c:pt idx="593" formatCode="0.0%">
                  <c:v>0.25289911371250767</c:v>
                </c:pt>
                <c:pt idx="594" formatCode="0.0%">
                  <c:v>0.2492790058988173</c:v>
                </c:pt>
                <c:pt idx="595" formatCode="0.0%">
                  <c:v>0.25154156389198418</c:v>
                </c:pt>
                <c:pt idx="596" formatCode="0.0%">
                  <c:v>0.25154156389198418</c:v>
                </c:pt>
                <c:pt idx="597" formatCode="0.0%">
                  <c:v>0.25154156389198418</c:v>
                </c:pt>
                <c:pt idx="598" formatCode="0.0%">
                  <c:v>0.25154156389198418</c:v>
                </c:pt>
                <c:pt idx="599" formatCode="0.0%">
                  <c:v>0.24407507744066351</c:v>
                </c:pt>
                <c:pt idx="600" formatCode="0.0%">
                  <c:v>0.23570358281669912</c:v>
                </c:pt>
                <c:pt idx="601" formatCode="0.0%">
                  <c:v>0.23332788941156196</c:v>
                </c:pt>
                <c:pt idx="602" formatCode="0.0%">
                  <c:v>0.23660859098934267</c:v>
                </c:pt>
                <c:pt idx="603" formatCode="0.0%">
                  <c:v>0.23276221235171263</c:v>
                </c:pt>
                <c:pt idx="604" formatCode="0.0%">
                  <c:v>0.23276221235171263</c:v>
                </c:pt>
                <c:pt idx="605" formatCode="0.0%">
                  <c:v>0.23276221235171263</c:v>
                </c:pt>
                <c:pt idx="606" formatCode="0.0%">
                  <c:v>0.19916302332076924</c:v>
                </c:pt>
                <c:pt idx="607" formatCode="0.0%">
                  <c:v>0.19690046532760205</c:v>
                </c:pt>
                <c:pt idx="608" formatCode="0.0%">
                  <c:v>0.17669399996183757</c:v>
                </c:pt>
                <c:pt idx="609" formatCode="0.0%">
                  <c:v>0.17393532891379038</c:v>
                </c:pt>
                <c:pt idx="610" formatCode="0.0%">
                  <c:v>0.18796329364378805</c:v>
                </c:pt>
                <c:pt idx="611" formatCode="0.0%">
                  <c:v>0.18796329364378805</c:v>
                </c:pt>
                <c:pt idx="612" formatCode="0.0%">
                  <c:v>0.18796329364378805</c:v>
                </c:pt>
                <c:pt idx="613" formatCode="0.0%">
                  <c:v>0.18151495077708105</c:v>
                </c:pt>
                <c:pt idx="614" formatCode="0.0%">
                  <c:v>0.17698983479074684</c:v>
                </c:pt>
                <c:pt idx="615" formatCode="0.0%">
                  <c:v>0.17370905808985043</c:v>
                </c:pt>
                <c:pt idx="616" formatCode="0.0%">
                  <c:v>0.18400377959418776</c:v>
                </c:pt>
                <c:pt idx="617" formatCode="0.0%">
                  <c:v>0.20074684396523224</c:v>
                </c:pt>
                <c:pt idx="618" formatCode="0.0%">
                  <c:v>0.20074684396523224</c:v>
                </c:pt>
                <c:pt idx="619" formatCode="0.0%">
                  <c:v>0.20074684396523224</c:v>
                </c:pt>
                <c:pt idx="620" formatCode="0.0%">
                  <c:v>0.20515882453959647</c:v>
                </c:pt>
                <c:pt idx="621" formatCode="0.0%">
                  <c:v>0.18920770805234155</c:v>
                </c:pt>
                <c:pt idx="622" formatCode="0.0%">
                  <c:v>0.17913925737194389</c:v>
                </c:pt>
                <c:pt idx="623" formatCode="0.0%">
                  <c:v>0.17506660791037376</c:v>
                </c:pt>
                <c:pt idx="624" formatCode="0.0%">
                  <c:v>0.15594792525730766</c:v>
                </c:pt>
                <c:pt idx="625" formatCode="0.0%">
                  <c:v>0.15594792525730766</c:v>
                </c:pt>
                <c:pt idx="626" formatCode="0.0%">
                  <c:v>0.15594792525730766</c:v>
                </c:pt>
                <c:pt idx="627" formatCode="0.0%">
                  <c:v>0.15074399679915415</c:v>
                </c:pt>
                <c:pt idx="628" formatCode="0.0%">
                  <c:v>0.14497446640426673</c:v>
                </c:pt>
                <c:pt idx="629" formatCode="0.0%">
                  <c:v>0.15832361866244496</c:v>
                </c:pt>
                <c:pt idx="630" formatCode="0.0%">
                  <c:v>0.14078868153072663</c:v>
                </c:pt>
                <c:pt idx="631" formatCode="0.0%">
                  <c:v>0.13117277249820858</c:v>
                </c:pt>
                <c:pt idx="632" formatCode="0.0%">
                  <c:v>0.13117277249820858</c:v>
                </c:pt>
                <c:pt idx="633" formatCode="0.0%">
                  <c:v>0.13117277249820858</c:v>
                </c:pt>
                <c:pt idx="634" formatCode="0.0%">
                  <c:v>0.13535848224863314</c:v>
                </c:pt>
                <c:pt idx="635" formatCode="0.0%">
                  <c:v>0.13852612353755944</c:v>
                </c:pt>
                <c:pt idx="636" formatCode="0.0%">
                  <c:v>0.12653444597678898</c:v>
                </c:pt>
                <c:pt idx="637" formatCode="0.0%">
                  <c:v>0.10775509443651714</c:v>
                </c:pt>
                <c:pt idx="638" formatCode="0.0%">
                  <c:v>0.10143844239131311</c:v>
                </c:pt>
                <c:pt idx="639" formatCode="0.0%">
                  <c:v>0.10143844239131311</c:v>
                </c:pt>
                <c:pt idx="640" formatCode="0.0%">
                  <c:v>0.10143844239131311</c:v>
                </c:pt>
                <c:pt idx="641" formatCode="0.0%">
                  <c:v>0.10922577966901059</c:v>
                </c:pt>
                <c:pt idx="642" formatCode="0.0%">
                  <c:v>0.13354846590334574</c:v>
                </c:pt>
                <c:pt idx="643" formatCode="0.0%">
                  <c:v>0.1304939600263893</c:v>
                </c:pt>
                <c:pt idx="644" formatCode="0.0%">
                  <c:v>0.13185150984691263</c:v>
                </c:pt>
                <c:pt idx="645" formatCode="0.0%">
                  <c:v>0.11556098712374777</c:v>
                </c:pt>
                <c:pt idx="646" formatCode="0.0%">
                  <c:v>0.11556098712374777</c:v>
                </c:pt>
                <c:pt idx="647" formatCode="0.0%">
                  <c:v>0.11556098712374777</c:v>
                </c:pt>
                <c:pt idx="648" formatCode="0.0%">
                  <c:v>0.10436125744676644</c:v>
                </c:pt>
                <c:pt idx="649" formatCode="0.0%">
                  <c:v>9.1464571713352427E-2</c:v>
                </c:pt>
                <c:pt idx="650" formatCode="0.0%">
                  <c:v>9.8252320815969088E-2</c:v>
                </c:pt>
                <c:pt idx="651" formatCode="0.0%">
                  <c:v>8.6486914079138444E-2</c:v>
                </c:pt>
                <c:pt idx="652" formatCode="0.0%">
                  <c:v>0.10843390690833672</c:v>
                </c:pt>
                <c:pt idx="653" formatCode="0.0%">
                  <c:v>0.10843390690833672</c:v>
                </c:pt>
                <c:pt idx="654" formatCode="0.0%">
                  <c:v>0.10843390690833672</c:v>
                </c:pt>
                <c:pt idx="655" formatCode="0.0%">
                  <c:v>0.12121745722978104</c:v>
                </c:pt>
                <c:pt idx="656" formatCode="0.0%">
                  <c:v>0.13072023085032897</c:v>
                </c:pt>
                <c:pt idx="657" formatCode="0.0%">
                  <c:v>0.11906795952546816</c:v>
                </c:pt>
                <c:pt idx="658" formatCode="0.0%">
                  <c:v>0.11906795952546816</c:v>
                </c:pt>
                <c:pt idx="659" formatCode="0.0%">
                  <c:v>0.11703167235624079</c:v>
                </c:pt>
                <c:pt idx="660" formatCode="0.0%">
                  <c:v>0.11703167235624079</c:v>
                </c:pt>
                <c:pt idx="661" formatCode="0.0%">
                  <c:v>0.11703167235624079</c:v>
                </c:pt>
                <c:pt idx="662" formatCode="0.0%">
                  <c:v>0.12472442963150158</c:v>
                </c:pt>
                <c:pt idx="663" formatCode="0.0%">
                  <c:v>0.12958895185374544</c:v>
                </c:pt>
                <c:pt idx="664" formatCode="0.0%">
                  <c:v>0.12325374439900799</c:v>
                </c:pt>
                <c:pt idx="665" formatCode="0.0%">
                  <c:v>0.12121745722978104</c:v>
                </c:pt>
                <c:pt idx="666" formatCode="0.0%">
                  <c:v>0.12212246540242461</c:v>
                </c:pt>
                <c:pt idx="667" formatCode="0.0%">
                  <c:v>0.12212246540242461</c:v>
                </c:pt>
                <c:pt idx="668" formatCode="0.0%">
                  <c:v>0.12212246540242461</c:v>
                </c:pt>
                <c:pt idx="669" formatCode="0.0%">
                  <c:v>0.13876058278109071</c:v>
                </c:pt>
                <c:pt idx="670" formatCode="0.0%">
                  <c:v>0.13445347407598945</c:v>
                </c:pt>
                <c:pt idx="671" formatCode="0.0%">
                  <c:v>0.13094650167426877</c:v>
                </c:pt>
                <c:pt idx="672" formatCode="0.0%">
                  <c:v>0.1144297081271641</c:v>
                </c:pt>
                <c:pt idx="673" formatCode="0.0%">
                  <c:v>0.11544785171177779</c:v>
                </c:pt>
                <c:pt idx="674" formatCode="0.0%">
                  <c:v>0.11544785171177779</c:v>
                </c:pt>
                <c:pt idx="675" formatCode="0.0%">
                  <c:v>0.11544785171177779</c:v>
                </c:pt>
                <c:pt idx="676" formatCode="0.0%">
                  <c:v>0.11567412253571746</c:v>
                </c:pt>
                <c:pt idx="677" formatCode="0.0%">
                  <c:v>0.12438502339559193</c:v>
                </c:pt>
                <c:pt idx="678" formatCode="0.0%">
                  <c:v>0.12540316698020532</c:v>
                </c:pt>
                <c:pt idx="679" formatCode="0.0%">
                  <c:v>0.14271183328798401</c:v>
                </c:pt>
                <c:pt idx="680" formatCode="0.0%">
                  <c:v>0.13682916748112631</c:v>
                </c:pt>
                <c:pt idx="681" formatCode="0.0%">
                  <c:v>0.13682916748112631</c:v>
                </c:pt>
                <c:pt idx="682" formatCode="0.0%">
                  <c:v>0.13682916748112631</c:v>
                </c:pt>
                <c:pt idx="683" formatCode="0.0%">
                  <c:v>0.13886545465035383</c:v>
                </c:pt>
                <c:pt idx="684" formatCode="0.0%">
                  <c:v>0.13581102389651264</c:v>
                </c:pt>
                <c:pt idx="685" formatCode="0.0%">
                  <c:v>0.12823140203322225</c:v>
                </c:pt>
                <c:pt idx="686" formatCode="0.0%">
                  <c:v>0.12302747357506845</c:v>
                </c:pt>
                <c:pt idx="687" formatCode="0.0%">
                  <c:v>0.13434033866401932</c:v>
                </c:pt>
                <c:pt idx="688" formatCode="0.0%">
                  <c:v>0.13434033866401932</c:v>
                </c:pt>
                <c:pt idx="689" formatCode="0.0%">
                  <c:v>0.13434033866401932</c:v>
                </c:pt>
                <c:pt idx="690" formatCode="0.0%">
                  <c:v>0.14587947457691031</c:v>
                </c:pt>
                <c:pt idx="691" formatCode="0.0%">
                  <c:v>0.14814203257007746</c:v>
                </c:pt>
                <c:pt idx="692" formatCode="0.0%">
                  <c:v>0.15345909644020098</c:v>
                </c:pt>
                <c:pt idx="693" formatCode="0.0%">
                  <c:v>0.15311969020429131</c:v>
                </c:pt>
                <c:pt idx="694" formatCode="0.0%">
                  <c:v>0.15391156296496519</c:v>
                </c:pt>
                <c:pt idx="695" formatCode="0.0%">
                  <c:v>0.15391156296496519</c:v>
                </c:pt>
                <c:pt idx="696" formatCode="0.0%">
                  <c:v>0.15391156296496519</c:v>
                </c:pt>
                <c:pt idx="697" formatCode="0.0%">
                  <c:v>0.14802889715810735</c:v>
                </c:pt>
                <c:pt idx="698" formatCode="0.0%">
                  <c:v>0.14135428346746054</c:v>
                </c:pt>
                <c:pt idx="699" formatCode="0.0%">
                  <c:v>0.17283237133175702</c:v>
                </c:pt>
                <c:pt idx="700" formatCode="0.0%">
                  <c:v>0.15809734783850501</c:v>
                </c:pt>
                <c:pt idx="701" formatCode="0.0%">
                  <c:v>0.15538224819745822</c:v>
                </c:pt>
                <c:pt idx="702" formatCode="0.0%">
                  <c:v>0.15538224819745822</c:v>
                </c:pt>
                <c:pt idx="703" formatCode="0.0%">
                  <c:v>0.15538224819745822</c:v>
                </c:pt>
                <c:pt idx="704" formatCode="0.0%">
                  <c:v>0.1440693831085072</c:v>
                </c:pt>
                <c:pt idx="705" formatCode="0.0%">
                  <c:v>0.1362635655443924</c:v>
                </c:pt>
                <c:pt idx="706" formatCode="0.0%">
                  <c:v>0.13015455379047963</c:v>
                </c:pt>
                <c:pt idx="707" formatCode="0.0%">
                  <c:v>0.1317383744349428</c:v>
                </c:pt>
                <c:pt idx="708" formatCode="0.0%">
                  <c:v>0.13547161766060298</c:v>
                </c:pt>
                <c:pt idx="709" formatCode="0.0%">
                  <c:v>0.13547161766060298</c:v>
                </c:pt>
                <c:pt idx="710" formatCode="0.0%">
                  <c:v>0.13547161766060298</c:v>
                </c:pt>
                <c:pt idx="711" formatCode="0.0%">
                  <c:v>0.12902327479389569</c:v>
                </c:pt>
                <c:pt idx="712" formatCode="0.0%">
                  <c:v>0.15379842755299505</c:v>
                </c:pt>
                <c:pt idx="713" formatCode="0.0%">
                  <c:v>0.14542693292903053</c:v>
                </c:pt>
                <c:pt idx="714" formatCode="0.0%">
                  <c:v>0.11284588748270095</c:v>
                </c:pt>
                <c:pt idx="715" formatCode="0.0%">
                  <c:v>9.9609870636492556E-2</c:v>
                </c:pt>
                <c:pt idx="716" formatCode="0.0%">
                  <c:v>9.9609870636492556E-2</c:v>
                </c:pt>
                <c:pt idx="717" formatCode="0.0%">
                  <c:v>9.9609870636492556E-2</c:v>
                </c:pt>
                <c:pt idx="718" formatCode="0.0%">
                  <c:v>0.10141988698177996</c:v>
                </c:pt>
                <c:pt idx="719" formatCode="0.0%">
                  <c:v>9.1917113361232053E-2</c:v>
                </c:pt>
                <c:pt idx="720" formatCode="0.0%">
                  <c:v>0.10277743680230329</c:v>
                </c:pt>
                <c:pt idx="721" formatCode="0.0%">
                  <c:v>9.6442229347566133E-2</c:v>
                </c:pt>
                <c:pt idx="722" formatCode="0.0%">
                  <c:v>9.2935256945845743E-2</c:v>
                </c:pt>
                <c:pt idx="723" formatCode="0.0%">
                  <c:v>9.2935256945845743E-2</c:v>
                </c:pt>
                <c:pt idx="724" formatCode="0.0%">
                  <c:v>9.2935256945845743E-2</c:v>
                </c:pt>
                <c:pt idx="725" formatCode="0.0%">
                  <c:v>9.2935256945845743E-2</c:v>
                </c:pt>
                <c:pt idx="726" formatCode="0.0%">
                  <c:v>9.2708986121905645E-2</c:v>
                </c:pt>
                <c:pt idx="727" formatCode="0.0%">
                  <c:v>9.7912914580059435E-2</c:v>
                </c:pt>
                <c:pt idx="728" formatCode="0.0%">
                  <c:v>9.7686643756119629E-2</c:v>
                </c:pt>
                <c:pt idx="729" formatCode="0.0%">
                  <c:v>8.8636411783451052E-2</c:v>
                </c:pt>
                <c:pt idx="730" formatCode="0.0%">
                  <c:v>9.2067209346036669E-2</c:v>
                </c:pt>
                <c:pt idx="731" formatCode="0.0%">
                  <c:v>9.2067209346036669E-2</c:v>
                </c:pt>
                <c:pt idx="732" formatCode="0.0%">
                  <c:v>9.3953400530459141E-2</c:v>
                </c:pt>
                <c:pt idx="733" formatCode="0.0%">
                  <c:v>0.10707635708781325</c:v>
                </c:pt>
                <c:pt idx="734" formatCode="0.0%">
                  <c:v>0.10447439285873643</c:v>
                </c:pt>
                <c:pt idx="735" formatCode="0.0%">
                  <c:v>0.10617134891516969</c:v>
                </c:pt>
                <c:pt idx="736" formatCode="0.0%">
                  <c:v>0.10492693450661619</c:v>
                </c:pt>
                <c:pt idx="737" formatCode="0.0%">
                  <c:v>0.10492693450661619</c:v>
                </c:pt>
                <c:pt idx="738" formatCode="0.0%">
                  <c:v>0.10492693450661619</c:v>
                </c:pt>
                <c:pt idx="739" formatCode="0.0%">
                  <c:v>0.11307215830664077</c:v>
                </c:pt>
                <c:pt idx="740" formatCode="0.0%">
                  <c:v>0.10888644855621621</c:v>
                </c:pt>
                <c:pt idx="741" formatCode="0.0%">
                  <c:v>0.11103587113741355</c:v>
                </c:pt>
                <c:pt idx="742" formatCode="0.0%">
                  <c:v>0.11544785171177779</c:v>
                </c:pt>
                <c:pt idx="743" formatCode="0.0%">
                  <c:v>0.11703167235624079</c:v>
                </c:pt>
                <c:pt idx="744" formatCode="0.0%">
                  <c:v>0.11703167235624079</c:v>
                </c:pt>
                <c:pt idx="745" formatCode="0.0%">
                  <c:v>0.11703167235624079</c:v>
                </c:pt>
                <c:pt idx="746" formatCode="0.0%">
                  <c:v>0.1233668798109781</c:v>
                </c:pt>
                <c:pt idx="747" formatCode="0.0%">
                  <c:v>0.12789199579731231</c:v>
                </c:pt>
                <c:pt idx="748" formatCode="0.0%">
                  <c:v>0.12789199579731231</c:v>
                </c:pt>
                <c:pt idx="749" formatCode="0.0%">
                  <c:v>0.11058332948953392</c:v>
                </c:pt>
                <c:pt idx="750" formatCode="0.0%">
                  <c:v>0.11182774389808742</c:v>
                </c:pt>
                <c:pt idx="751" formatCode="0.0%">
                  <c:v>0.11182774389808742</c:v>
                </c:pt>
                <c:pt idx="752" formatCode="0.0%">
                  <c:v>0.11182774389808742</c:v>
                </c:pt>
                <c:pt idx="753" formatCode="0.0%">
                  <c:v>0.12370628604688803</c:v>
                </c:pt>
                <c:pt idx="754" formatCode="0.0%">
                  <c:v>0.12449815880756149</c:v>
                </c:pt>
                <c:pt idx="755" formatCode="0.0%">
                  <c:v>0.1067369508519036</c:v>
                </c:pt>
                <c:pt idx="756" formatCode="0.0%">
                  <c:v>0.12144365293060516</c:v>
                </c:pt>
                <c:pt idx="757" formatCode="0.0%">
                  <c:v>0.12902327479389569</c:v>
                </c:pt>
                <c:pt idx="758" formatCode="0.0%">
                  <c:v>0.12902327479389569</c:v>
                </c:pt>
                <c:pt idx="759" formatCode="0.0%">
                  <c:v>0.12902327479389569</c:v>
                </c:pt>
                <c:pt idx="760" formatCode="0.0%">
                  <c:v>0.12540316698020532</c:v>
                </c:pt>
                <c:pt idx="761" formatCode="0.0%">
                  <c:v>0.13167482027921437</c:v>
                </c:pt>
                <c:pt idx="762" formatCode="0.0%">
                  <c:v>0.12393248174771215</c:v>
                </c:pt>
                <c:pt idx="763" formatCode="0.0%">
                  <c:v>0.13909172547429335</c:v>
                </c:pt>
                <c:pt idx="764" formatCode="0.0%">
                  <c:v>0.14237250217518976</c:v>
                </c:pt>
                <c:pt idx="765" formatCode="0.0%">
                  <c:v>0.14237250217518976</c:v>
                </c:pt>
                <c:pt idx="766" formatCode="0.0%">
                  <c:v>0.14237250217518976</c:v>
                </c:pt>
                <c:pt idx="767" formatCode="0.0%">
                  <c:v>0.1382998527136195</c:v>
                </c:pt>
                <c:pt idx="768" formatCode="0.0%">
                  <c:v>0.14723702439743364</c:v>
                </c:pt>
                <c:pt idx="769" formatCode="0.0%">
                  <c:v>0.15809734783850501</c:v>
                </c:pt>
                <c:pt idx="770" formatCode="0.0%">
                  <c:v>0.15956803307099832</c:v>
                </c:pt>
                <c:pt idx="771" formatCode="0.0%">
                  <c:v>0.14893052479055299</c:v>
                </c:pt>
                <c:pt idx="772" formatCode="0.0%">
                  <c:v>0.14893052479055299</c:v>
                </c:pt>
                <c:pt idx="773" formatCode="0.0%">
                  <c:v>0.14893052479055299</c:v>
                </c:pt>
                <c:pt idx="774" formatCode="0.0%">
                  <c:v>0.15732996521349008</c:v>
                </c:pt>
                <c:pt idx="775" formatCode="0.0%">
                  <c:v>0.16395206784638985</c:v>
                </c:pt>
                <c:pt idx="776" formatCode="0.0%">
                  <c:v>0.15981323492004848</c:v>
                </c:pt>
                <c:pt idx="777" formatCode="0.0%">
                  <c:v>0.15780294034879064</c:v>
                </c:pt>
                <c:pt idx="778" formatCode="0.0%">
                  <c:v>0.15212686310960705</c:v>
                </c:pt>
                <c:pt idx="779" formatCode="0.0%">
                  <c:v>0.15212686310960705</c:v>
                </c:pt>
                <c:pt idx="780" formatCode="0.0%">
                  <c:v>0.15212686310960705</c:v>
                </c:pt>
                <c:pt idx="781" formatCode="0.0%">
                  <c:v>0.14952534961922326</c:v>
                </c:pt>
                <c:pt idx="782" formatCode="0.0%">
                  <c:v>0.14041997727976493</c:v>
                </c:pt>
                <c:pt idx="783" formatCode="0.0%">
                  <c:v>0.13509863139205677</c:v>
                </c:pt>
                <c:pt idx="784" formatCode="0.0%">
                  <c:v>0.14432224751534023</c:v>
                </c:pt>
                <c:pt idx="785" formatCode="0.0%">
                  <c:v>0.12800355362385646</c:v>
                </c:pt>
                <c:pt idx="786" formatCode="0.0%">
                  <c:v>0.12800355362385646</c:v>
                </c:pt>
                <c:pt idx="787" formatCode="0.0%">
                  <c:v>0.12800355362385646</c:v>
                </c:pt>
                <c:pt idx="788" formatCode="0.0%">
                  <c:v>0.12989552928817402</c:v>
                </c:pt>
                <c:pt idx="789" formatCode="0.0%">
                  <c:v>0.12805861886753106</c:v>
                </c:pt>
                <c:pt idx="790" formatCode="0.0%">
                  <c:v>0.11960764398734852</c:v>
                </c:pt>
                <c:pt idx="791" formatCode="0.0%">
                  <c:v>0.12220915747773219</c:v>
                </c:pt>
                <c:pt idx="792" formatCode="0.0%">
                  <c:v>0.13604465678577313</c:v>
                </c:pt>
                <c:pt idx="793" formatCode="0.0%">
                  <c:v>0.13604465678577313</c:v>
                </c:pt>
                <c:pt idx="794" formatCode="0.0%">
                  <c:v>0.13604465678577313</c:v>
                </c:pt>
                <c:pt idx="795" formatCode="0.0%">
                  <c:v>0.14266675941867318</c:v>
                </c:pt>
                <c:pt idx="796" formatCode="0.0%">
                  <c:v>0.13699068217948976</c:v>
                </c:pt>
                <c:pt idx="797" formatCode="0.0%">
                  <c:v>0.13474390004058151</c:v>
                </c:pt>
                <c:pt idx="798" formatCode="0.0%">
                  <c:v>0.13651763192107366</c:v>
                </c:pt>
                <c:pt idx="799" formatCode="0.0%">
                  <c:v>0.10529916954400705</c:v>
                </c:pt>
                <c:pt idx="800" formatCode="0.0%">
                  <c:v>0.10529916954400705</c:v>
                </c:pt>
                <c:pt idx="801" formatCode="0.0%">
                  <c:v>0.10529916954400705</c:v>
                </c:pt>
                <c:pt idx="802" formatCode="0.0%">
                  <c:v>9.3237477239573818E-2</c:v>
                </c:pt>
                <c:pt idx="803" formatCode="0.0%">
                  <c:v>0.10470795062488164</c:v>
                </c:pt>
                <c:pt idx="804" formatCode="0.0%">
                  <c:v>0.10364368144733987</c:v>
                </c:pt>
                <c:pt idx="805" formatCode="0.0%">
                  <c:v>0.1112118094739563</c:v>
                </c:pt>
                <c:pt idx="806" formatCode="0.0%">
                  <c:v>0.1120395159607321</c:v>
                </c:pt>
                <c:pt idx="807" formatCode="0.0%">
                  <c:v>0.1120395159607321</c:v>
                </c:pt>
                <c:pt idx="808" formatCode="0.0%">
                  <c:v>0.1120395159607321</c:v>
                </c:pt>
                <c:pt idx="809" formatCode="0.0%">
                  <c:v>0.1120395159607321</c:v>
                </c:pt>
                <c:pt idx="810" formatCode="0.0%">
                  <c:v>0.11960764398734852</c:v>
                </c:pt>
                <c:pt idx="811" formatCode="0.0%">
                  <c:v>0.1257567714849479</c:v>
                </c:pt>
                <c:pt idx="812" formatCode="0.0%">
                  <c:v>0.11676964292931459</c:v>
                </c:pt>
                <c:pt idx="813" formatCode="0.0%">
                  <c:v>0.1079007581575064</c:v>
                </c:pt>
                <c:pt idx="814" formatCode="0.0%">
                  <c:v>0.1079007581575064</c:v>
                </c:pt>
                <c:pt idx="815" formatCode="0.0%">
                  <c:v>0.1079007581575064</c:v>
                </c:pt>
                <c:pt idx="816" formatCode="0.0%">
                  <c:v>0.12540196501035722</c:v>
                </c:pt>
                <c:pt idx="817" formatCode="0.0%">
                  <c:v>0.11334027270592401</c:v>
                </c:pt>
                <c:pt idx="818" formatCode="0.0%">
                  <c:v>0.12102664451636543</c:v>
                </c:pt>
                <c:pt idx="819" formatCode="0.0%">
                  <c:v>0.12268220773614828</c:v>
                </c:pt>
                <c:pt idx="820" formatCode="0.0%">
                  <c:v>0.1391231269365801</c:v>
                </c:pt>
                <c:pt idx="821" formatCode="0.0%">
                  <c:v>0.1391231269365801</c:v>
                </c:pt>
                <c:pt idx="822" formatCode="0.0%">
                  <c:v>0.1391231269365801</c:v>
                </c:pt>
                <c:pt idx="823" formatCode="0.0%">
                  <c:v>0.13900090162763235</c:v>
                </c:pt>
                <c:pt idx="824" formatCode="0.0%">
                  <c:v>0.14053822106358993</c:v>
                </c:pt>
                <c:pt idx="825" formatCode="0.0%">
                  <c:v>0.13734541353096502</c:v>
                </c:pt>
                <c:pt idx="826" formatCode="0.0%">
                  <c:v>0.13734541353096502</c:v>
                </c:pt>
                <c:pt idx="827" formatCode="0.0%">
                  <c:v>0.13734541353096502</c:v>
                </c:pt>
                <c:pt idx="828" formatCode="0.0%">
                  <c:v>0.13734541353096502</c:v>
                </c:pt>
                <c:pt idx="829" formatCode="0.0%">
                  <c:v>0.13734541353096502</c:v>
                </c:pt>
                <c:pt idx="830" formatCode="0.0%">
                  <c:v>0.13734541353096502</c:v>
                </c:pt>
                <c:pt idx="831" formatCode="0.0%">
                  <c:v>0.14645078587042362</c:v>
                </c:pt>
                <c:pt idx="832" formatCode="0.0%">
                  <c:v>0.14585956695129809</c:v>
                </c:pt>
                <c:pt idx="833" formatCode="0.0%">
                  <c:v>0.14302149077014861</c:v>
                </c:pt>
                <c:pt idx="834" formatCode="0.0%">
                  <c:v>0.15248166958419801</c:v>
                </c:pt>
                <c:pt idx="835" formatCode="0.0%">
                  <c:v>0.15248166958419801</c:v>
                </c:pt>
                <c:pt idx="836" formatCode="0.0%">
                  <c:v>0.15248166958419801</c:v>
                </c:pt>
                <c:pt idx="837" formatCode="0.0%">
                  <c:v>0.15271815715184828</c:v>
                </c:pt>
                <c:pt idx="838" formatCode="0.0%">
                  <c:v>0.15461013281616573</c:v>
                </c:pt>
                <c:pt idx="839" formatCode="0.0%">
                  <c:v>0.14905229936080744</c:v>
                </c:pt>
                <c:pt idx="840" formatCode="0.0%">
                  <c:v>0.15035313122911489</c:v>
                </c:pt>
                <c:pt idx="841" formatCode="0.0%">
                  <c:v>0.15023488744528962</c:v>
                </c:pt>
                <c:pt idx="842" formatCode="0.0%">
                  <c:v>0.15023488744528962</c:v>
                </c:pt>
                <c:pt idx="843" formatCode="0.0%">
                  <c:v>0.15023488744528962</c:v>
                </c:pt>
                <c:pt idx="844" formatCode="0.0%">
                  <c:v>0.15023488744528962</c:v>
                </c:pt>
                <c:pt idx="845" formatCode="0.0%">
                  <c:v>0.14633254208659863</c:v>
                </c:pt>
                <c:pt idx="846" formatCode="0.0%">
                  <c:v>0.13462565625675652</c:v>
                </c:pt>
                <c:pt idx="847" formatCode="0.0%">
                  <c:v>0.14455873508299064</c:v>
                </c:pt>
                <c:pt idx="848" formatCode="0.0%">
                  <c:v>0.15591096468447291</c:v>
                </c:pt>
                <c:pt idx="849" formatCode="0.0%">
                  <c:v>0.15591096468447291</c:v>
                </c:pt>
                <c:pt idx="850" formatCode="0.0%">
                  <c:v>0.15700408113837355</c:v>
                </c:pt>
                <c:pt idx="851" formatCode="0.0%">
                  <c:v>0.15700408113837355</c:v>
                </c:pt>
                <c:pt idx="852" formatCode="0.0%">
                  <c:v>0.15673867117124884</c:v>
                </c:pt>
                <c:pt idx="853" formatCode="0.0%">
                  <c:v>0.14964359340304867</c:v>
                </c:pt>
                <c:pt idx="854" formatCode="0.0%">
                  <c:v>0.14254851563484805</c:v>
                </c:pt>
                <c:pt idx="855" formatCode="0.0%">
                  <c:v>0.14254851563484805</c:v>
                </c:pt>
                <c:pt idx="856" formatCode="0.0%">
                  <c:v>0.14254851563484805</c:v>
                </c:pt>
                <c:pt idx="857" formatCode="0.0%">
                  <c:v>0.14254851563484805</c:v>
                </c:pt>
                <c:pt idx="858" formatCode="0.0%">
                  <c:v>0.1544918890323406</c:v>
                </c:pt>
                <c:pt idx="859" formatCode="0.0%">
                  <c:v>0.16158704192365647</c:v>
                </c:pt>
                <c:pt idx="860" formatCode="0.0%">
                  <c:v>0.1630060424526735</c:v>
                </c:pt>
                <c:pt idx="861" formatCode="0.0%">
                  <c:v>0.16785433808196543</c:v>
                </c:pt>
                <c:pt idx="862" formatCode="0.0%">
                  <c:v>0.17719627311218986</c:v>
                </c:pt>
                <c:pt idx="863" formatCode="0.0%">
                  <c:v>0.17719627311218986</c:v>
                </c:pt>
                <c:pt idx="864" formatCode="0.0%">
                  <c:v>0.17719627311218986</c:v>
                </c:pt>
                <c:pt idx="865" formatCode="0.0%">
                  <c:v>0.17447644071486537</c:v>
                </c:pt>
                <c:pt idx="866" formatCode="0.0%">
                  <c:v>0.17518597854093174</c:v>
                </c:pt>
                <c:pt idx="867" formatCode="0.0%">
                  <c:v>0.18133503091541556</c:v>
                </c:pt>
                <c:pt idx="868" formatCode="0.0%">
                  <c:v>0.18133503091541556</c:v>
                </c:pt>
                <c:pt idx="869" formatCode="0.0%">
                  <c:v>0.18133503091541556</c:v>
                </c:pt>
                <c:pt idx="870" formatCode="0.0%">
                  <c:v>0.18133503091541556</c:v>
                </c:pt>
                <c:pt idx="871" formatCode="0.0%">
                  <c:v>0.18133503091541556</c:v>
                </c:pt>
                <c:pt idx="872" formatCode="0.0%">
                  <c:v>0.20427590256291522</c:v>
                </c:pt>
                <c:pt idx="873" formatCode="0.0%">
                  <c:v>0.20179263285635643</c:v>
                </c:pt>
                <c:pt idx="874" formatCode="0.0%">
                  <c:v>0.18488264492263126</c:v>
                </c:pt>
                <c:pt idx="875" formatCode="0.0%">
                  <c:v>0.19292374808454824</c:v>
                </c:pt>
                <c:pt idx="876" formatCode="0.0%">
                  <c:v>0.20628619713417323</c:v>
                </c:pt>
                <c:pt idx="877" formatCode="0.0%">
                  <c:v>0.20628619713417323</c:v>
                </c:pt>
                <c:pt idx="878" formatCode="0.0%">
                  <c:v>0.20628619713417323</c:v>
                </c:pt>
                <c:pt idx="879" formatCode="0.0%">
                  <c:v>0.20628619713417323</c:v>
                </c:pt>
                <c:pt idx="880" formatCode="0.0%">
                  <c:v>0.20392117121143968</c:v>
                </c:pt>
                <c:pt idx="881" formatCode="0.0%">
                  <c:v>0.20019754374456583</c:v>
                </c:pt>
                <c:pt idx="882" formatCode="0.0%">
                  <c:v>0.1985998253237318</c:v>
                </c:pt>
                <c:pt idx="883" formatCode="0.0%">
                  <c:v>0.21728362026106468</c:v>
                </c:pt>
                <c:pt idx="884" formatCode="0.0%">
                  <c:v>0.21728362026106468</c:v>
                </c:pt>
                <c:pt idx="885" formatCode="0.0%">
                  <c:v>0.21728362026106468</c:v>
                </c:pt>
                <c:pt idx="886" formatCode="0.0%">
                  <c:v>0.21728362026106468</c:v>
                </c:pt>
                <c:pt idx="887" formatCode="0.0%">
                  <c:v>0.2250882358553315</c:v>
                </c:pt>
                <c:pt idx="888" formatCode="0.0%">
                  <c:v>0.2200033775352736</c:v>
                </c:pt>
                <c:pt idx="889" formatCode="0.0%">
                  <c:v>0.20794168523084039</c:v>
                </c:pt>
                <c:pt idx="890" formatCode="0.0%">
                  <c:v>0.21681057000264858</c:v>
                </c:pt>
                <c:pt idx="891" formatCode="0.0%">
                  <c:v>0.21681057000264858</c:v>
                </c:pt>
                <c:pt idx="892" formatCode="0.0%">
                  <c:v>0.21681057000264858</c:v>
                </c:pt>
                <c:pt idx="893" formatCode="0.0%">
                  <c:v>0.21669232621882359</c:v>
                </c:pt>
                <c:pt idx="894" formatCode="0.0%">
                  <c:v>0.22236840345800715</c:v>
                </c:pt>
                <c:pt idx="895" formatCode="0.0%">
                  <c:v>0.21870262079008171</c:v>
                </c:pt>
                <c:pt idx="896" formatCode="0.0%">
                  <c:v>0.21420905651226518</c:v>
                </c:pt>
                <c:pt idx="897" formatCode="0.0%">
                  <c:v>0.22248664724183215</c:v>
                </c:pt>
                <c:pt idx="898" formatCode="0.0%">
                  <c:v>0.22248664724183215</c:v>
                </c:pt>
                <c:pt idx="899" formatCode="0.0%">
                  <c:v>0.22248664724183215</c:v>
                </c:pt>
                <c:pt idx="900" formatCode="0.0%">
                  <c:v>0.21681057000264858</c:v>
                </c:pt>
                <c:pt idx="901" formatCode="0.0%">
                  <c:v>0.21645583865117346</c:v>
                </c:pt>
                <c:pt idx="902" formatCode="0.0%">
                  <c:v>0.20616795335034824</c:v>
                </c:pt>
                <c:pt idx="903" formatCode="0.0%">
                  <c:v>0.20344812095302373</c:v>
                </c:pt>
                <c:pt idx="904" formatCode="0.0%">
                  <c:v>0.20534017174045688</c:v>
                </c:pt>
                <c:pt idx="905" formatCode="0.0%">
                  <c:v>0.20534017174045688</c:v>
                </c:pt>
                <c:pt idx="906" formatCode="0.0%">
                  <c:v>0.20534017174045688</c:v>
                </c:pt>
                <c:pt idx="907" formatCode="0.0%">
                  <c:v>0.20238385177548238</c:v>
                </c:pt>
                <c:pt idx="908" formatCode="0.0%">
                  <c:v>0.19221421025848201</c:v>
                </c:pt>
                <c:pt idx="909" formatCode="0.0%">
                  <c:v>0.20439414634674022</c:v>
                </c:pt>
                <c:pt idx="910" formatCode="0.0%">
                  <c:v>0.21018846736974894</c:v>
                </c:pt>
                <c:pt idx="911" formatCode="0.0%">
                  <c:v>0.22266927153565619</c:v>
                </c:pt>
                <c:pt idx="912" formatCode="0.0%">
                  <c:v>0.22266927153565619</c:v>
                </c:pt>
                <c:pt idx="913" formatCode="0.0%">
                  <c:v>0.22266927153565619</c:v>
                </c:pt>
                <c:pt idx="914" formatCode="0.0%">
                  <c:v>0.21964864618379806</c:v>
                </c:pt>
                <c:pt idx="915" formatCode="0.0%">
                  <c:v>0.22071291536133983</c:v>
                </c:pt>
                <c:pt idx="916" formatCode="0.0%">
                  <c:v>0.21728362026106468</c:v>
                </c:pt>
                <c:pt idx="917" formatCode="0.0%">
                  <c:v>0.20191087664018184</c:v>
                </c:pt>
                <c:pt idx="918" formatCode="0.0%">
                  <c:v>0.20143790150488131</c:v>
                </c:pt>
                <c:pt idx="919" formatCode="0.0%">
                  <c:v>0.20143790150488131</c:v>
                </c:pt>
                <c:pt idx="920" formatCode="0.0%">
                  <c:v>0.20143790150488131</c:v>
                </c:pt>
                <c:pt idx="921" formatCode="0.0%">
                  <c:v>0.19552526157493205</c:v>
                </c:pt>
                <c:pt idx="922" formatCode="0.0%">
                  <c:v>0.19457923618121556</c:v>
                </c:pt>
                <c:pt idx="923" formatCode="0.0%">
                  <c:v>0.20593146578269811</c:v>
                </c:pt>
                <c:pt idx="924" formatCode="0.0%">
                  <c:v>0.20876946684073203</c:v>
                </c:pt>
                <c:pt idx="925" formatCode="0.0%">
                  <c:v>0.2155098132574568</c:v>
                </c:pt>
                <c:pt idx="926" formatCode="0.0%">
                  <c:v>0.2155098132574568</c:v>
                </c:pt>
                <c:pt idx="927" formatCode="0.0%">
                  <c:v>0.2155098132574568</c:v>
                </c:pt>
                <c:pt idx="928" formatCode="0.0%">
                  <c:v>0.21018846736974894</c:v>
                </c:pt>
                <c:pt idx="929" formatCode="0.0%">
                  <c:v>0.21314478733472342</c:v>
                </c:pt>
                <c:pt idx="930" formatCode="0.0%">
                  <c:v>0.2291087498747322</c:v>
                </c:pt>
                <c:pt idx="931" formatCode="0.0%">
                  <c:v>0.22603426124904785</c:v>
                </c:pt>
                <c:pt idx="932" formatCode="0.0%">
                  <c:v>0.22899050609090693</c:v>
                </c:pt>
                <c:pt idx="933" formatCode="0.0%">
                  <c:v>0.22899050609090693</c:v>
                </c:pt>
                <c:pt idx="934" formatCode="0.0%">
                  <c:v>0.22899050609090693</c:v>
                </c:pt>
                <c:pt idx="935" formatCode="0.0%">
                  <c:v>0.23230155740735697</c:v>
                </c:pt>
                <c:pt idx="936" formatCode="0.0%">
                  <c:v>0.23797763464654054</c:v>
                </c:pt>
                <c:pt idx="937" formatCode="0.0%">
                  <c:v>0.23383887684331456</c:v>
                </c:pt>
                <c:pt idx="938" formatCode="0.0%">
                  <c:v>0.24684651941834873</c:v>
                </c:pt>
                <c:pt idx="939" formatCode="0.0%">
                  <c:v>0.24057922326003961</c:v>
                </c:pt>
                <c:pt idx="940" formatCode="0.0%">
                  <c:v>0.24057922326003961</c:v>
                </c:pt>
                <c:pt idx="941" formatCode="0.0%">
                  <c:v>0.24057922326003961</c:v>
                </c:pt>
                <c:pt idx="942" formatCode="0.0%">
                  <c:v>0.24180095048770681</c:v>
                </c:pt>
                <c:pt idx="943" formatCode="0.0%">
                  <c:v>0.2421164675728818</c:v>
                </c:pt>
                <c:pt idx="944" formatCode="0.0%">
                  <c:v>0.23088255687834022</c:v>
                </c:pt>
                <c:pt idx="945" formatCode="0.0%">
                  <c:v>0.22094940292898996</c:v>
                </c:pt>
                <c:pt idx="946" formatCode="0.0%">
                  <c:v>0.21172578680570653</c:v>
                </c:pt>
                <c:pt idx="947" formatCode="0.0%">
                  <c:v>0.21172578680570653</c:v>
                </c:pt>
                <c:pt idx="948" formatCode="0.0%">
                  <c:v>0.21172578680570653</c:v>
                </c:pt>
                <c:pt idx="949" formatCode="0.0%">
                  <c:v>0.21491859433833141</c:v>
                </c:pt>
                <c:pt idx="950" formatCode="0.0%">
                  <c:v>0.21101624897964016</c:v>
                </c:pt>
                <c:pt idx="951" formatCode="0.0%">
                  <c:v>0.21208051815718193</c:v>
                </c:pt>
                <c:pt idx="952" formatCode="0.0%">
                  <c:v>0.2202398651029239</c:v>
                </c:pt>
                <c:pt idx="953" formatCode="0.0%">
                  <c:v>0.20912419819220715</c:v>
                </c:pt>
                <c:pt idx="954" formatCode="0.0%">
                  <c:v>0.20912419819220715</c:v>
                </c:pt>
                <c:pt idx="955" formatCode="0.0%">
                  <c:v>0.20912419819220715</c:v>
                </c:pt>
                <c:pt idx="956" formatCode="0.0%">
                  <c:v>0.21669232621882359</c:v>
                </c:pt>
                <c:pt idx="957" formatCode="0.0%">
                  <c:v>0.20829649170543149</c:v>
                </c:pt>
                <c:pt idx="958" formatCode="0.0%">
                  <c:v>0.20959724845062325</c:v>
                </c:pt>
                <c:pt idx="959" formatCode="0.0%">
                  <c:v>0.20344812095302373</c:v>
                </c:pt>
                <c:pt idx="960" formatCode="0.0%">
                  <c:v>0.18902140272585696</c:v>
                </c:pt>
                <c:pt idx="961" formatCode="0.0%">
                  <c:v>0.18902140272585696</c:v>
                </c:pt>
                <c:pt idx="962" formatCode="0.0%">
                  <c:v>0.18902140272585696</c:v>
                </c:pt>
                <c:pt idx="963" formatCode="0.0%">
                  <c:v>0.19694426210394894</c:v>
                </c:pt>
                <c:pt idx="964" formatCode="0.0%">
                  <c:v>0.20805992901466566</c:v>
                </c:pt>
                <c:pt idx="965" formatCode="0.0%">
                  <c:v>0.21432730029609018</c:v>
                </c:pt>
                <c:pt idx="966" formatCode="0.0%">
                  <c:v>0.21633759486734833</c:v>
                </c:pt>
                <c:pt idx="967" formatCode="0.0%">
                  <c:v>0.21279005598324802</c:v>
                </c:pt>
                <c:pt idx="968" formatCode="0.0%">
                  <c:v>0.21279005598324802</c:v>
                </c:pt>
                <c:pt idx="969" formatCode="0.0%">
                  <c:v>0.21279005598324802</c:v>
                </c:pt>
                <c:pt idx="970" formatCode="0.0%">
                  <c:v>0.21964864618379806</c:v>
                </c:pt>
                <c:pt idx="971" formatCode="0.0%">
                  <c:v>0.22236840345800715</c:v>
                </c:pt>
                <c:pt idx="972" formatCode="0.0%">
                  <c:v>0.2246151855969154</c:v>
                </c:pt>
                <c:pt idx="973" formatCode="0.0%">
                  <c:v>0.22478346137567556</c:v>
                </c:pt>
                <c:pt idx="974" formatCode="0.0%">
                  <c:v>0.2330110952334232</c:v>
                </c:pt>
                <c:pt idx="975" formatCode="0.0%">
                  <c:v>0.2330110952334232</c:v>
                </c:pt>
                <c:pt idx="976" formatCode="0.0%">
                  <c:v>0.2330110952334232</c:v>
                </c:pt>
                <c:pt idx="977" formatCode="0.0%">
                  <c:v>0.23206506983970684</c:v>
                </c:pt>
                <c:pt idx="978" formatCode="0.0%">
                  <c:v>0.23171033848823128</c:v>
                </c:pt>
                <c:pt idx="979" formatCode="0.0%">
                  <c:v>0.22650723638434841</c:v>
                </c:pt>
                <c:pt idx="980" formatCode="0.0%">
                  <c:v>0.22485174828768109</c:v>
                </c:pt>
                <c:pt idx="981" formatCode="0.0%">
                  <c:v>0.22698021151964881</c:v>
                </c:pt>
                <c:pt idx="982" formatCode="0.0%">
                  <c:v>0.22698021151964881</c:v>
                </c:pt>
                <c:pt idx="983" formatCode="0.0%">
                  <c:v>0.22698021151964881</c:v>
                </c:pt>
                <c:pt idx="984" formatCode="0.0%">
                  <c:v>0.22603426124904785</c:v>
                </c:pt>
                <c:pt idx="985" formatCode="0.0%">
                  <c:v>0.23147377579746561</c:v>
                </c:pt>
                <c:pt idx="986" formatCode="0.0%">
                  <c:v>0.22532472342298163</c:v>
                </c:pt>
                <c:pt idx="987" formatCode="0.0%">
                  <c:v>0.24057922326003961</c:v>
                </c:pt>
                <c:pt idx="988" formatCode="0.0%">
                  <c:v>0.2419982237890565</c:v>
                </c:pt>
                <c:pt idx="989" formatCode="0.0%">
                  <c:v>0.2419982237890565</c:v>
                </c:pt>
                <c:pt idx="990" formatCode="0.0%">
                  <c:v>0.2419982237890565</c:v>
                </c:pt>
                <c:pt idx="991" formatCode="0.0%">
                  <c:v>0.23147377579746561</c:v>
                </c:pt>
                <c:pt idx="992" formatCode="0.0%">
                  <c:v>0.22733501799423977</c:v>
                </c:pt>
                <c:pt idx="993" formatCode="0.0%">
                  <c:v>0.23194682605588141</c:v>
                </c:pt>
                <c:pt idx="994" formatCode="0.0%">
                  <c:v>0.21740186404488981</c:v>
                </c:pt>
                <c:pt idx="995" formatCode="0.0%">
                  <c:v>0.21042503006051461</c:v>
                </c:pt>
                <c:pt idx="996" formatCode="0.0%">
                  <c:v>0.21042503006051461</c:v>
                </c:pt>
                <c:pt idx="997" formatCode="0.0%">
                  <c:v>0.21042503006051461</c:v>
                </c:pt>
                <c:pt idx="998" formatCode="0.0%">
                  <c:v>0.21042503006051461</c:v>
                </c:pt>
                <c:pt idx="999" formatCode="0.0%">
                  <c:v>0.20061011989498964</c:v>
                </c:pt>
                <c:pt idx="1000" formatCode="0.0%">
                  <c:v>0.2030933896015486</c:v>
                </c:pt>
                <c:pt idx="1001" formatCode="0.0%">
                  <c:v>0.20368468364378955</c:v>
                </c:pt>
                <c:pt idx="1002" formatCode="0.0%">
                  <c:v>0.21468203164756544</c:v>
                </c:pt>
                <c:pt idx="1003" formatCode="0.0%">
                  <c:v>0.20454454282400689</c:v>
                </c:pt>
                <c:pt idx="1004" formatCode="0.0%">
                  <c:v>0.20454454282400689</c:v>
                </c:pt>
                <c:pt idx="1005" formatCode="0.0%">
                  <c:v>0.20510368417280644</c:v>
                </c:pt>
                <c:pt idx="1006" formatCode="0.0%">
                  <c:v>0.19907280045903236</c:v>
                </c:pt>
                <c:pt idx="1007" formatCode="0.0%">
                  <c:v>0.19457923618121556</c:v>
                </c:pt>
                <c:pt idx="1008" formatCode="0.0%">
                  <c:v>0.20037363232733951</c:v>
                </c:pt>
                <c:pt idx="1009" formatCode="0.0%">
                  <c:v>0.19942760693362288</c:v>
                </c:pt>
                <c:pt idx="1010" formatCode="0.0%">
                  <c:v>0.19942760693362288</c:v>
                </c:pt>
                <c:pt idx="1011" formatCode="0.0%">
                  <c:v>0.19942760693362288</c:v>
                </c:pt>
                <c:pt idx="1012" formatCode="0.0%">
                  <c:v>0.20947900466679825</c:v>
                </c:pt>
                <c:pt idx="1013" formatCode="0.0%">
                  <c:v>0.21941215861614793</c:v>
                </c:pt>
                <c:pt idx="1014" formatCode="0.0%">
                  <c:v>0.2201216213190986</c:v>
                </c:pt>
                <c:pt idx="1015" formatCode="0.0%">
                  <c:v>0.22757150556189004</c:v>
                </c:pt>
                <c:pt idx="1016" formatCode="0.0%">
                  <c:v>0.22295969750024811</c:v>
                </c:pt>
                <c:pt idx="1017" formatCode="0.0%">
                  <c:v>0.22295969750024811</c:v>
                </c:pt>
                <c:pt idx="1018" formatCode="0.0%">
                  <c:v>0.22295969750024811</c:v>
                </c:pt>
                <c:pt idx="1019" formatCode="0.0%">
                  <c:v>0.2202398651029239</c:v>
                </c:pt>
                <c:pt idx="1020" formatCode="0.0%">
                  <c:v>0.2200033775352736</c:v>
                </c:pt>
                <c:pt idx="1021" formatCode="0.0%">
                  <c:v>0.21917559592538211</c:v>
                </c:pt>
                <c:pt idx="1022" formatCode="0.0%">
                  <c:v>0.20593146578269811</c:v>
                </c:pt>
                <c:pt idx="1023" formatCode="0.0%">
                  <c:v>0.19044047837798955</c:v>
                </c:pt>
                <c:pt idx="1024" formatCode="0.0%">
                  <c:v>0.19044047837798955</c:v>
                </c:pt>
                <c:pt idx="1025" formatCode="0.0%">
                  <c:v>0.19044047837798955</c:v>
                </c:pt>
                <c:pt idx="1026" formatCode="0.0%">
                  <c:v>0.18062556821246489</c:v>
                </c:pt>
                <c:pt idx="1027" formatCode="0.0%">
                  <c:v>0.18665637680312358</c:v>
                </c:pt>
                <c:pt idx="1028" formatCode="0.0%">
                  <c:v>0.17873351742503188</c:v>
                </c:pt>
                <c:pt idx="1029" formatCode="0.0%">
                  <c:v>0.17152019587300643</c:v>
                </c:pt>
                <c:pt idx="1030" formatCode="0.0%">
                  <c:v>0.16383382406256472</c:v>
                </c:pt>
                <c:pt idx="1031" formatCode="0.0%">
                  <c:v>0.16383382406256472</c:v>
                </c:pt>
                <c:pt idx="1032" formatCode="0.0%">
                  <c:v>0.16383382406256472</c:v>
                </c:pt>
                <c:pt idx="1033" formatCode="0.0%">
                  <c:v>0.16430679919786528</c:v>
                </c:pt>
                <c:pt idx="1034" formatCode="0.0%">
                  <c:v>0.17564039826669928</c:v>
                </c:pt>
                <c:pt idx="1035" formatCode="0.0%">
                  <c:v>0.1851191324902817</c:v>
                </c:pt>
                <c:pt idx="1036" formatCode="0.0%">
                  <c:v>0.19505228643963166</c:v>
                </c:pt>
                <c:pt idx="1037" formatCode="0.0%">
                  <c:v>0.19824509397225626</c:v>
                </c:pt>
                <c:pt idx="1038" formatCode="0.0%">
                  <c:v>0.19824509397225626</c:v>
                </c:pt>
                <c:pt idx="1039" formatCode="0.0%">
                  <c:v>0.19824509397225626</c:v>
                </c:pt>
                <c:pt idx="1040" formatCode="0.0%">
                  <c:v>0.19765379993001517</c:v>
                </c:pt>
                <c:pt idx="1041" formatCode="0.0%">
                  <c:v>0.20392117121143968</c:v>
                </c:pt>
                <c:pt idx="1042" formatCode="0.0%">
                  <c:v>0.20888771062455702</c:v>
                </c:pt>
                <c:pt idx="1043" formatCode="0.0%">
                  <c:v>0.20368468364378955</c:v>
                </c:pt>
                <c:pt idx="1044" formatCode="0.0%">
                  <c:v>0.20120133881411534</c:v>
                </c:pt>
                <c:pt idx="1045" formatCode="0.0%">
                  <c:v>0.20120133881411534</c:v>
                </c:pt>
                <c:pt idx="1046" formatCode="0.0%">
                  <c:v>0.20120133881411534</c:v>
                </c:pt>
                <c:pt idx="1047" formatCode="0.0%">
                  <c:v>0.20805992901466566</c:v>
                </c:pt>
                <c:pt idx="1048" formatCode="0.0%">
                  <c:v>0.21681057000264858</c:v>
                </c:pt>
                <c:pt idx="1049" formatCode="0.0%">
                  <c:v>0.22165894075505649</c:v>
                </c:pt>
                <c:pt idx="1050" formatCode="0.0%">
                  <c:v>0.21953040239997307</c:v>
                </c:pt>
                <c:pt idx="1051" formatCode="0.0%">
                  <c:v>0.22260496614877284</c:v>
                </c:pt>
                <c:pt idx="1052" formatCode="0.0%">
                  <c:v>0.22260496614877284</c:v>
                </c:pt>
                <c:pt idx="1053" formatCode="0.0%">
                  <c:v>0.22260496614877284</c:v>
                </c:pt>
                <c:pt idx="1054" formatCode="0.0%">
                  <c:v>0.21882086457390698</c:v>
                </c:pt>
                <c:pt idx="1055" formatCode="0.0%">
                  <c:v>0.22272320993259798</c:v>
                </c:pt>
                <c:pt idx="1056" formatCode="0.0%">
                  <c:v>0.23431185197861509</c:v>
                </c:pt>
                <c:pt idx="1057" formatCode="0.0%">
                  <c:v>0.23443009576244037</c:v>
                </c:pt>
                <c:pt idx="1058" formatCode="0.0%">
                  <c:v>0.23171033848823128</c:v>
                </c:pt>
                <c:pt idx="1059" formatCode="0.0%">
                  <c:v>0.23171033848823128</c:v>
                </c:pt>
                <c:pt idx="1060" formatCode="0.0%">
                  <c:v>0.23171033848823128</c:v>
                </c:pt>
                <c:pt idx="1061" formatCode="0.0%">
                  <c:v>0.23005477526844856</c:v>
                </c:pt>
                <c:pt idx="1062" formatCode="0.0%">
                  <c:v>0.22189542832270662</c:v>
                </c:pt>
                <c:pt idx="1063" formatCode="0.0%">
                  <c:v>0.22993653148462356</c:v>
                </c:pt>
                <c:pt idx="1064" formatCode="0.0%">
                  <c:v>0.23789544995816386</c:v>
                </c:pt>
                <c:pt idx="1065" formatCode="0.0%">
                  <c:v>0.24282600539894786</c:v>
                </c:pt>
                <c:pt idx="1066" formatCode="0.0%">
                  <c:v>0.24282600539894786</c:v>
                </c:pt>
                <c:pt idx="1067" formatCode="0.0%">
                  <c:v>0.24282600539894786</c:v>
                </c:pt>
                <c:pt idx="1068" formatCode="0.0%">
                  <c:v>0.24483622484709058</c:v>
                </c:pt>
                <c:pt idx="1069" formatCode="0.0%">
                  <c:v>0.24294424918277316</c:v>
                </c:pt>
                <c:pt idx="1070" formatCode="0.0%">
                  <c:v>0.25595189175780719</c:v>
                </c:pt>
                <c:pt idx="1071" formatCode="0.0%">
                  <c:v>0.25618845444857286</c:v>
                </c:pt>
                <c:pt idx="1072" formatCode="0.0%">
                  <c:v>0.25784394254524018</c:v>
                </c:pt>
                <c:pt idx="1073" formatCode="0.0%">
                  <c:v>0.25784394254524018</c:v>
                </c:pt>
                <c:pt idx="1074" formatCode="0.0%">
                  <c:v>0.25784394254524018</c:v>
                </c:pt>
                <c:pt idx="1075" formatCode="0.0%">
                  <c:v>0.26529382678803159</c:v>
                </c:pt>
                <c:pt idx="1076" formatCode="0.0%">
                  <c:v>0.26623985218174823</c:v>
                </c:pt>
                <c:pt idx="1077" formatCode="0.0%">
                  <c:v>0.27156112294634055</c:v>
                </c:pt>
                <c:pt idx="1078" formatCode="0.0%">
                  <c:v>0.26281055708147294</c:v>
                </c:pt>
                <c:pt idx="1079" formatCode="0.0%">
                  <c:v>0.26517558300420646</c:v>
                </c:pt>
                <c:pt idx="1080" formatCode="0.0%">
                  <c:v>0.26517558300420646</c:v>
                </c:pt>
                <c:pt idx="1081" formatCode="0.0%">
                  <c:v>0.26517558300420646</c:v>
                </c:pt>
                <c:pt idx="1082" formatCode="0.0%">
                  <c:v>0.26529382678803159</c:v>
                </c:pt>
                <c:pt idx="1083" formatCode="0.0%">
                  <c:v>0.2687231218883066</c:v>
                </c:pt>
                <c:pt idx="1084" formatCode="0.0%">
                  <c:v>0.27605476234727261</c:v>
                </c:pt>
                <c:pt idx="1085" formatCode="0.0%">
                  <c:v>0.26718587757546458</c:v>
                </c:pt>
                <c:pt idx="1086" formatCode="0.0%">
                  <c:v>0.27061517267573948</c:v>
                </c:pt>
                <c:pt idx="1087" formatCode="0.0%">
                  <c:v>0.27061517267573948</c:v>
                </c:pt>
                <c:pt idx="1088" formatCode="0.0%">
                  <c:v>0.27061517267573948</c:v>
                </c:pt>
                <c:pt idx="1089" formatCode="0.0%">
                  <c:v>0.27061517267573948</c:v>
                </c:pt>
                <c:pt idx="1090" formatCode="0.0%">
                  <c:v>0.27061517267573948</c:v>
                </c:pt>
                <c:pt idx="1091" formatCode="0.0%">
                  <c:v>0.26470253274579036</c:v>
                </c:pt>
                <c:pt idx="1092" formatCode="0.0%">
                  <c:v>0.26884136567213163</c:v>
                </c:pt>
                <c:pt idx="1093" formatCode="0.0%">
                  <c:v>0.2725071483400569</c:v>
                </c:pt>
                <c:pt idx="1094" formatCode="0.0%">
                  <c:v>0.2725071483400569</c:v>
                </c:pt>
                <c:pt idx="1095" formatCode="0.0%">
                  <c:v>0.27291664444274488</c:v>
                </c:pt>
                <c:pt idx="1096" formatCode="0.0%">
                  <c:v>0.27291664444274488</c:v>
                </c:pt>
                <c:pt idx="1097" formatCode="0.0%">
                  <c:v>0.27416271155983979</c:v>
                </c:pt>
                <c:pt idx="1098" formatCode="0.0%">
                  <c:v>0.27238890455623177</c:v>
                </c:pt>
                <c:pt idx="1099" formatCode="0.0%">
                  <c:v>0.27179768563710627</c:v>
                </c:pt>
                <c:pt idx="1100" formatCode="0.0%">
                  <c:v>0.267895340278415</c:v>
                </c:pt>
                <c:pt idx="1101" formatCode="0.0%">
                  <c:v>0.267895340278415</c:v>
                </c:pt>
                <c:pt idx="1102" formatCode="0.0%">
                  <c:v>0.267895340278415</c:v>
                </c:pt>
                <c:pt idx="1103" formatCode="0.0%">
                  <c:v>0.27026036620114868</c:v>
                </c:pt>
                <c:pt idx="1104" formatCode="0.0%">
                  <c:v>0.27901100718913185</c:v>
                </c:pt>
                <c:pt idx="1105" formatCode="0.0%">
                  <c:v>0.28279510876399772</c:v>
                </c:pt>
                <c:pt idx="1106" formatCode="0.0%">
                  <c:v>0.28244030228940714</c:v>
                </c:pt>
                <c:pt idx="1107" formatCode="0.0%">
                  <c:v>0.28527837847055648</c:v>
                </c:pt>
                <c:pt idx="1108" formatCode="0.0%">
                  <c:v>0.28527837847055648</c:v>
                </c:pt>
                <c:pt idx="1109" formatCode="0.0%">
                  <c:v>0.28527837847055648</c:v>
                </c:pt>
                <c:pt idx="1110" formatCode="0.0%">
                  <c:v>0.28669737899957343</c:v>
                </c:pt>
                <c:pt idx="1111" formatCode="0.0%">
                  <c:v>0.28823462331241556</c:v>
                </c:pt>
                <c:pt idx="1112" formatCode="0.0%">
                  <c:v>0.27782849422776507</c:v>
                </c:pt>
                <c:pt idx="1113" formatCode="0.0%">
                  <c:v>0.28669737899957343</c:v>
                </c:pt>
                <c:pt idx="1114" formatCode="0.0%">
                  <c:v>0.29249170002258185</c:v>
                </c:pt>
                <c:pt idx="1115" formatCode="0.0%">
                  <c:v>0.29249170002258185</c:v>
                </c:pt>
                <c:pt idx="1116" formatCode="0.0%">
                  <c:v>0.29249170002258185</c:v>
                </c:pt>
                <c:pt idx="1117" formatCode="0.0%">
                  <c:v>0.30573590528838196</c:v>
                </c:pt>
                <c:pt idx="1118" formatCode="0.0%">
                  <c:v>0.30774619985963964</c:v>
                </c:pt>
                <c:pt idx="1119" formatCode="0.0%">
                  <c:v>0.31365876466647336</c:v>
                </c:pt>
                <c:pt idx="1120" formatCode="0.0%">
                  <c:v>0.32169986782839033</c:v>
                </c:pt>
                <c:pt idx="1121" formatCode="0.0%">
                  <c:v>0.32489267536101524</c:v>
                </c:pt>
                <c:pt idx="1122" formatCode="0.0%">
                  <c:v>0.32489267536101524</c:v>
                </c:pt>
                <c:pt idx="1123" formatCode="0.0%">
                  <c:v>0.32489267536101524</c:v>
                </c:pt>
                <c:pt idx="1124" formatCode="0.0%">
                  <c:v>0.33447109795888991</c:v>
                </c:pt>
                <c:pt idx="1125" formatCode="0.0%">
                  <c:v>0.33577185470408155</c:v>
                </c:pt>
                <c:pt idx="1126" formatCode="0.0%">
                  <c:v>0.31701571620650498</c:v>
                </c:pt>
                <c:pt idx="1127" formatCode="0.0%">
                  <c:v>0.32288245591287279</c:v>
                </c:pt>
                <c:pt idx="1128" formatCode="0.0%">
                  <c:v>0.32583870075473159</c:v>
                </c:pt>
                <c:pt idx="1129" formatCode="0.0%">
                  <c:v>0.32583870075473159</c:v>
                </c:pt>
                <c:pt idx="1130" formatCode="0.0%">
                  <c:v>0.32583870075473159</c:v>
                </c:pt>
                <c:pt idx="1131" formatCode="0.0%">
                  <c:v>0.33175134068468082</c:v>
                </c:pt>
                <c:pt idx="1132" formatCode="0.0%">
                  <c:v>0.33056875260019863</c:v>
                </c:pt>
                <c:pt idx="1133" formatCode="0.0%">
                  <c:v>0.34144793194326495</c:v>
                </c:pt>
                <c:pt idx="1134" formatCode="0.0%">
                  <c:v>0.34239395733698158</c:v>
                </c:pt>
                <c:pt idx="1135" formatCode="0.0%">
                  <c:v>0.3441677643405896</c:v>
                </c:pt>
                <c:pt idx="1136" formatCode="0.0%">
                  <c:v>0.3441677643405896</c:v>
                </c:pt>
                <c:pt idx="1137" formatCode="0.0%">
                  <c:v>0.3441677643405896</c:v>
                </c:pt>
                <c:pt idx="1138" formatCode="0.0%">
                  <c:v>0.35067154806654882</c:v>
                </c:pt>
                <c:pt idx="1139" formatCode="0.0%">
                  <c:v>0.35078986697348941</c:v>
                </c:pt>
                <c:pt idx="1140" formatCode="0.0%">
                  <c:v>0.34487557433499888</c:v>
                </c:pt>
                <c:pt idx="1141" formatCode="0.0%">
                  <c:v>0.34770951874479494</c:v>
                </c:pt>
                <c:pt idx="1142" formatCode="0.0%">
                  <c:v>0.3474630398027807</c:v>
                </c:pt>
                <c:pt idx="1143" formatCode="0.0%">
                  <c:v>0.3474630398027807</c:v>
                </c:pt>
                <c:pt idx="1144" formatCode="0.0%">
                  <c:v>0.3474630398027807</c:v>
                </c:pt>
                <c:pt idx="1145" formatCode="0.0%">
                  <c:v>0.34697023216498368</c:v>
                </c:pt>
                <c:pt idx="1146" formatCode="0.0%">
                  <c:v>0.33169176805407546</c:v>
                </c:pt>
                <c:pt idx="1147" formatCode="0.0%">
                  <c:v>0.32972031213354003</c:v>
                </c:pt>
                <c:pt idx="1148" formatCode="0.0%">
                  <c:v>0.35005058039367809</c:v>
                </c:pt>
                <c:pt idx="1149" formatCode="0.0%">
                  <c:v>0.35756657297812522</c:v>
                </c:pt>
                <c:pt idx="1150" formatCode="0.0%">
                  <c:v>0.35756657297812522</c:v>
                </c:pt>
                <c:pt idx="1151" formatCode="0.0%">
                  <c:v>0.35756657297812522</c:v>
                </c:pt>
                <c:pt idx="1152" formatCode="0.0%">
                  <c:v>0.35066658994092476</c:v>
                </c:pt>
                <c:pt idx="1153" formatCode="0.0%">
                  <c:v>0.34709343407443272</c:v>
                </c:pt>
                <c:pt idx="1154" formatCode="0.0%">
                  <c:v>0.33662029517074044</c:v>
                </c:pt>
                <c:pt idx="1155" formatCode="0.0%">
                  <c:v>0.34922452661544356</c:v>
                </c:pt>
                <c:pt idx="1156" formatCode="0.0%">
                  <c:v>0.35436302283998117</c:v>
                </c:pt>
                <c:pt idx="1157" formatCode="0.0%">
                  <c:v>0.35436302283998117</c:v>
                </c:pt>
                <c:pt idx="1158" formatCode="0.0%">
                  <c:v>0.35436302283998117</c:v>
                </c:pt>
                <c:pt idx="1159" formatCode="0.0%">
                  <c:v>0.35621120172795173</c:v>
                </c:pt>
                <c:pt idx="1160" formatCode="0.0%">
                  <c:v>0.34807912447314265</c:v>
                </c:pt>
                <c:pt idx="1161" formatCode="0.0%">
                  <c:v>0.3484488053246062</c:v>
                </c:pt>
                <c:pt idx="1162" formatCode="0.0%">
                  <c:v>0.36187909054754386</c:v>
                </c:pt>
                <c:pt idx="1163" formatCode="0.0%">
                  <c:v>0.37247543136068517</c:v>
                </c:pt>
                <c:pt idx="1164" formatCode="0.0%">
                  <c:v>0.37247543136068517</c:v>
                </c:pt>
                <c:pt idx="1165" formatCode="0.0%">
                  <c:v>0.37247543136068517</c:v>
                </c:pt>
                <c:pt idx="1166" formatCode="0.0%">
                  <c:v>0.35682728639831368</c:v>
                </c:pt>
                <c:pt idx="1167" formatCode="0.0%">
                  <c:v>0.37370752557829379</c:v>
                </c:pt>
                <c:pt idx="1168" formatCode="0.0%">
                  <c:v>0.37038077353070065</c:v>
                </c:pt>
                <c:pt idx="1169" formatCode="0.0%">
                  <c:v>0.37358432366884442</c:v>
                </c:pt>
                <c:pt idx="1170" formatCode="0.0%">
                  <c:v>0.35941475186609551</c:v>
                </c:pt>
                <c:pt idx="1171" formatCode="0.0%">
                  <c:v>0.35941475186609551</c:v>
                </c:pt>
                <c:pt idx="1172" formatCode="0.0%">
                  <c:v>0.35941475186609551</c:v>
                </c:pt>
                <c:pt idx="1173" formatCode="0.0%">
                  <c:v>0.37136646392941086</c:v>
                </c:pt>
                <c:pt idx="1174" formatCode="0.0%">
                  <c:v>0.36779330806291882</c:v>
                </c:pt>
                <c:pt idx="1175" formatCode="0.0%">
                  <c:v>0.37198254859977281</c:v>
                </c:pt>
                <c:pt idx="1176" formatCode="0.0%">
                  <c:v>0.38652172613086916</c:v>
                </c:pt>
                <c:pt idx="1177" formatCode="0.0%">
                  <c:v>0.38960207435956418</c:v>
                </c:pt>
                <c:pt idx="1178" formatCode="0.0%">
                  <c:v>0.38960207435956418</c:v>
                </c:pt>
                <c:pt idx="1179" formatCode="0.0%">
                  <c:v>0.38960207435956418</c:v>
                </c:pt>
                <c:pt idx="1180" formatCode="0.0%">
                  <c:v>0.38479674915234824</c:v>
                </c:pt>
                <c:pt idx="1181" formatCode="0.0%">
                  <c:v>0.38627532231197109</c:v>
                </c:pt>
                <c:pt idx="1182" formatCode="0.0%">
                  <c:v>0.38615212040252145</c:v>
                </c:pt>
                <c:pt idx="1183" formatCode="0.0%">
                  <c:v>0.39477708041824344</c:v>
                </c:pt>
                <c:pt idx="1184" formatCode="0.0%">
                  <c:v>0.39539316508860539</c:v>
                </c:pt>
                <c:pt idx="1185" formatCode="0.0%">
                  <c:v>0.39539316508860539</c:v>
                </c:pt>
                <c:pt idx="1186" formatCode="0.0%">
                  <c:v>0.39526508017664724</c:v>
                </c:pt>
                <c:pt idx="1187" formatCode="0.0%">
                  <c:v>0.39526508017664724</c:v>
                </c:pt>
                <c:pt idx="1188" formatCode="0.0%">
                  <c:v>0.3825788894129144</c:v>
                </c:pt>
                <c:pt idx="1189" formatCode="0.0%">
                  <c:v>0.38245568750346509</c:v>
                </c:pt>
                <c:pt idx="1190" formatCode="0.0%">
                  <c:v>0.38331817599272566</c:v>
                </c:pt>
                <c:pt idx="1191" formatCode="0.0%">
                  <c:v>0.37173614478087413</c:v>
                </c:pt>
                <c:pt idx="1192" formatCode="0.0%">
                  <c:v>0.37173614478087413</c:v>
                </c:pt>
                <c:pt idx="1193" formatCode="0.0%">
                  <c:v>0.37173614478087413</c:v>
                </c:pt>
                <c:pt idx="1194" formatCode="0.0%">
                  <c:v>0.37814324505716174</c:v>
                </c:pt>
                <c:pt idx="1195" formatCode="0.0%">
                  <c:v>0.37604858722717721</c:v>
                </c:pt>
                <c:pt idx="1196" formatCode="0.0%">
                  <c:v>0.37765036229624938</c:v>
                </c:pt>
                <c:pt idx="1197" formatCode="0.0%">
                  <c:v>0.37543257767993082</c:v>
                </c:pt>
                <c:pt idx="1198" formatCode="0.0%">
                  <c:v>0.38294857026437767</c:v>
                </c:pt>
                <c:pt idx="1199" formatCode="0.0%">
                  <c:v>0.38294857026437767</c:v>
                </c:pt>
                <c:pt idx="1200" formatCode="0.0%">
                  <c:v>0.38294857026437767</c:v>
                </c:pt>
                <c:pt idx="1201" formatCode="0.0%">
                  <c:v>0.38110039137640739</c:v>
                </c:pt>
                <c:pt idx="1202" formatCode="0.0%">
                  <c:v>0.36495936365312276</c:v>
                </c:pt>
                <c:pt idx="1203" formatCode="0.0%">
                  <c:v>0.3601540384459071</c:v>
                </c:pt>
                <c:pt idx="1204" formatCode="0.0%">
                  <c:v>0.35399341711163346</c:v>
                </c:pt>
                <c:pt idx="1205" formatCode="0.0%">
                  <c:v>0.34524525518646215</c:v>
                </c:pt>
                <c:pt idx="1206" formatCode="0.0%">
                  <c:v>0.34524525518646215</c:v>
                </c:pt>
                <c:pt idx="1207" formatCode="0.0%">
                  <c:v>0.34524525518646215</c:v>
                </c:pt>
                <c:pt idx="1208" formatCode="0.0%">
                  <c:v>0.35078986697348941</c:v>
                </c:pt>
                <c:pt idx="1209" formatCode="0.0%">
                  <c:v>0.35732016915922654</c:v>
                </c:pt>
                <c:pt idx="1210" formatCode="0.0%">
                  <c:v>0.35584159599960374</c:v>
                </c:pt>
                <c:pt idx="1211" formatCode="0.0%">
                  <c:v>0.33994704721833358</c:v>
                </c:pt>
                <c:pt idx="1212" formatCode="0.0%">
                  <c:v>0.37617178913662658</c:v>
                </c:pt>
                <c:pt idx="1213" formatCode="0.0%">
                  <c:v>0.37617178913662658</c:v>
                </c:pt>
                <c:pt idx="1214" formatCode="0.0%">
                  <c:v>0.37617178913662658</c:v>
                </c:pt>
                <c:pt idx="1215" formatCode="0.0%">
                  <c:v>0.36927188122254134</c:v>
                </c:pt>
                <c:pt idx="1216" formatCode="0.0%">
                  <c:v>0.35201407326396861</c:v>
                </c:pt>
                <c:pt idx="1217" formatCode="0.0%">
                  <c:v>0.35201407326396861</c:v>
                </c:pt>
                <c:pt idx="1218" formatCode="0.0%">
                  <c:v>0.34352020308482567</c:v>
                </c:pt>
                <c:pt idx="1219" formatCode="0.0%">
                  <c:v>0.3512826746112867</c:v>
                </c:pt>
                <c:pt idx="1220" formatCode="0.0%">
                  <c:v>0.3512826746112867</c:v>
                </c:pt>
                <c:pt idx="1221" formatCode="0.0%">
                  <c:v>0.3512826746112867</c:v>
                </c:pt>
                <c:pt idx="1222" formatCode="0.0%">
                  <c:v>0.35978443271755933</c:v>
                </c:pt>
                <c:pt idx="1223" formatCode="0.0%">
                  <c:v>0.37370752557829379</c:v>
                </c:pt>
                <c:pt idx="1224" formatCode="0.0%">
                  <c:v>0.37703435274900271</c:v>
                </c:pt>
                <c:pt idx="1225" formatCode="0.0%">
                  <c:v>0.37703435274900271</c:v>
                </c:pt>
                <c:pt idx="1226" formatCode="0.0%">
                  <c:v>0.38861638396085396</c:v>
                </c:pt>
                <c:pt idx="1227" formatCode="0.0%">
                  <c:v>0.38861638396085396</c:v>
                </c:pt>
                <c:pt idx="1228" formatCode="0.0%">
                  <c:v>0.38861638396085396</c:v>
                </c:pt>
                <c:pt idx="1229" formatCode="0.0%">
                  <c:v>0.38282536835492836</c:v>
                </c:pt>
                <c:pt idx="1230" formatCode="0.0%">
                  <c:v>0.38405746257253698</c:v>
                </c:pt>
                <c:pt idx="1231" formatCode="0.0%">
                  <c:v>0.38836998014195556</c:v>
                </c:pt>
                <c:pt idx="1232" formatCode="0.0%">
                  <c:v>0.39810383246583653</c:v>
                </c:pt>
                <c:pt idx="1233" formatCode="0.0%">
                  <c:v>0.39687166312511268</c:v>
                </c:pt>
                <c:pt idx="1234" formatCode="0.0%">
                  <c:v>0.39687166312511268</c:v>
                </c:pt>
                <c:pt idx="1235" formatCode="0.0%">
                  <c:v>0.39687166312511268</c:v>
                </c:pt>
                <c:pt idx="1236" formatCode="0.0%">
                  <c:v>0.39687166312511268</c:v>
                </c:pt>
                <c:pt idx="1237" formatCode="0.0%">
                  <c:v>0.39970560753490875</c:v>
                </c:pt>
                <c:pt idx="1238" formatCode="0.0%">
                  <c:v>0.40327876340140023</c:v>
                </c:pt>
                <c:pt idx="1239" formatCode="0.0%">
                  <c:v>0.40463413465157372</c:v>
                </c:pt>
                <c:pt idx="1240" formatCode="0.0%">
                  <c:v>0.39366811298696858</c:v>
                </c:pt>
                <c:pt idx="1241" formatCode="0.0%">
                  <c:v>0.39366811298696858</c:v>
                </c:pt>
                <c:pt idx="1242" formatCode="0.0%">
                  <c:v>0.39366811298696858</c:v>
                </c:pt>
                <c:pt idx="1243" formatCode="0.0%">
                  <c:v>0.39748774779547458</c:v>
                </c:pt>
                <c:pt idx="1244" formatCode="0.0%">
                  <c:v>0.3934217091680699</c:v>
                </c:pt>
                <c:pt idx="1245" formatCode="0.0%">
                  <c:v>0.38775389547159361</c:v>
                </c:pt>
                <c:pt idx="1246" formatCode="0.0%">
                  <c:v>0.37580218340827853</c:v>
                </c:pt>
                <c:pt idx="1247" formatCode="0.0%">
                  <c:v>0.38263402977970429</c:v>
                </c:pt>
                <c:pt idx="1248" formatCode="0.0%">
                  <c:v>0.38263402977970429</c:v>
                </c:pt>
                <c:pt idx="1249" formatCode="0.0%">
                  <c:v>0.38263402977970429</c:v>
                </c:pt>
                <c:pt idx="1250" formatCode="0.0%">
                  <c:v>0.38368785684418893</c:v>
                </c:pt>
                <c:pt idx="1251" formatCode="0.0%">
                  <c:v>0.37888253163697327</c:v>
                </c:pt>
                <c:pt idx="1252" formatCode="0.0%">
                  <c:v>0.37888253163697327</c:v>
                </c:pt>
                <c:pt idx="1253" formatCode="0.0%">
                  <c:v>0.40833056755063041</c:v>
                </c:pt>
                <c:pt idx="1254" formatCode="0.0%">
                  <c:v>0.4180644198745111</c:v>
                </c:pt>
                <c:pt idx="1255" formatCode="0.0%">
                  <c:v>0.4180644198745111</c:v>
                </c:pt>
                <c:pt idx="1256" formatCode="0.0%">
                  <c:v>0.4180644198745111</c:v>
                </c:pt>
                <c:pt idx="1257" formatCode="0.0%">
                  <c:v>0.41794121796506206</c:v>
                </c:pt>
                <c:pt idx="1258" formatCode="0.0%">
                  <c:v>0.41769481414616338</c:v>
                </c:pt>
                <c:pt idx="1259" formatCode="0.0%">
                  <c:v>0.42718218752803011</c:v>
                </c:pt>
                <c:pt idx="1260" formatCode="0.0%">
                  <c:v>0.43358928780431794</c:v>
                </c:pt>
                <c:pt idx="1261" formatCode="0.0%">
                  <c:v>0.44270713058095285</c:v>
                </c:pt>
                <c:pt idx="1262" formatCode="0.0%">
                  <c:v>0.44270713058095285</c:v>
                </c:pt>
                <c:pt idx="1263" formatCode="0.0%">
                  <c:v>0.44270713058095285</c:v>
                </c:pt>
                <c:pt idx="1264" formatCode="0.0%">
                  <c:v>0.44221424782003965</c:v>
                </c:pt>
                <c:pt idx="1265" formatCode="0.0%">
                  <c:v>0.43925717662391006</c:v>
                </c:pt>
                <c:pt idx="1266" formatCode="0.0%">
                  <c:v>0.43716251879392531</c:v>
                </c:pt>
                <c:pt idx="1267" formatCode="0.0%">
                  <c:v>0.4413517593307793</c:v>
                </c:pt>
                <c:pt idx="1268" formatCode="0.0%">
                  <c:v>0.44578747880964698</c:v>
                </c:pt>
                <c:pt idx="1269" formatCode="0.0%">
                  <c:v>0.44578747880964698</c:v>
                </c:pt>
                <c:pt idx="1270" formatCode="0.0%">
                  <c:v>0.44578747880964698</c:v>
                </c:pt>
                <c:pt idx="1271" formatCode="0.0%">
                  <c:v>0.44763565769761782</c:v>
                </c:pt>
                <c:pt idx="1272" formatCode="0.0%">
                  <c:v>0.44763565769761782</c:v>
                </c:pt>
                <c:pt idx="1273" formatCode="0.0%">
                  <c:v>0.44603388262854565</c:v>
                </c:pt>
                <c:pt idx="1274" formatCode="0.0%">
                  <c:v>0.44726605196926983</c:v>
                </c:pt>
                <c:pt idx="1275" formatCode="0.0%">
                  <c:v>0.45219457908593486</c:v>
                </c:pt>
                <c:pt idx="1276" formatCode="0.0%">
                  <c:v>0.45219457908593486</c:v>
                </c:pt>
                <c:pt idx="1277" formatCode="0.0%">
                  <c:v>0.44209450157390423</c:v>
                </c:pt>
                <c:pt idx="1278" formatCode="0.0%">
                  <c:v>0.43691611497502664</c:v>
                </c:pt>
                <c:pt idx="1279" formatCode="0.0%">
                  <c:v>0.436423232214114</c:v>
                </c:pt>
                <c:pt idx="1280" formatCode="0.0%">
                  <c:v>0.44098215360243131</c:v>
                </c:pt>
                <c:pt idx="1281" formatCode="0.0%">
                  <c:v>0.44430890565002445</c:v>
                </c:pt>
                <c:pt idx="1282" formatCode="0.0%">
                  <c:v>0.44591068071909634</c:v>
                </c:pt>
                <c:pt idx="1283" formatCode="0.0%">
                  <c:v>0.44591068071909634</c:v>
                </c:pt>
                <c:pt idx="1284" formatCode="0.0%">
                  <c:v>0.44591068071909634</c:v>
                </c:pt>
                <c:pt idx="1285" formatCode="0.0%">
                  <c:v>0.45342667330354347</c:v>
                </c:pt>
                <c:pt idx="1286" formatCode="0.0%">
                  <c:v>0.44973031552760234</c:v>
                </c:pt>
                <c:pt idx="1287" formatCode="0.0%">
                  <c:v>0.45318026948464479</c:v>
                </c:pt>
                <c:pt idx="1288" formatCode="0.0%">
                  <c:v>0.45638381962278857</c:v>
                </c:pt>
                <c:pt idx="1289" formatCode="0.0%">
                  <c:v>0.46081953910165652</c:v>
                </c:pt>
                <c:pt idx="1290" formatCode="0.0%">
                  <c:v>0.46081953910165652</c:v>
                </c:pt>
                <c:pt idx="1291" formatCode="0.0%">
                  <c:v>0.46081953910165652</c:v>
                </c:pt>
                <c:pt idx="1292" formatCode="0.0%">
                  <c:v>0.45995705061239589</c:v>
                </c:pt>
                <c:pt idx="1293" formatCode="0.0%">
                  <c:v>0.46328380265998931</c:v>
                </c:pt>
                <c:pt idx="1294" formatCode="0.0%">
                  <c:v>0.4494838365855881</c:v>
                </c:pt>
                <c:pt idx="1295" formatCode="0.0%">
                  <c:v>0.45293386566574612</c:v>
                </c:pt>
                <c:pt idx="1296" formatCode="0.0%">
                  <c:v>0.4375321245222733</c:v>
                </c:pt>
                <c:pt idx="1297" formatCode="0.0%">
                  <c:v>0.4375321245222733</c:v>
                </c:pt>
                <c:pt idx="1298" formatCode="0.0%">
                  <c:v>0.4375321245222733</c:v>
                </c:pt>
                <c:pt idx="1299" formatCode="0.0%">
                  <c:v>0.44517139413928503</c:v>
                </c:pt>
                <c:pt idx="1300" formatCode="0.0%">
                  <c:v>0.45601421389444086</c:v>
                </c:pt>
                <c:pt idx="1301" formatCode="0.0%">
                  <c:v>0.43888749577244679</c:v>
                </c:pt>
                <c:pt idx="1302" formatCode="0.0%">
                  <c:v>0.41978939685303263</c:v>
                </c:pt>
                <c:pt idx="1303" formatCode="0.0%">
                  <c:v>0.43124830127855035</c:v>
                </c:pt>
                <c:pt idx="1304" formatCode="0.0%">
                  <c:v>0.43124830127855035</c:v>
                </c:pt>
                <c:pt idx="1305" formatCode="0.0%">
                  <c:v>0.43124830127855035</c:v>
                </c:pt>
                <c:pt idx="1306" formatCode="0.0%">
                  <c:v>0.4387642938629972</c:v>
                </c:pt>
                <c:pt idx="1307" formatCode="0.0%">
                  <c:v>0.44701957302725559</c:v>
                </c:pt>
                <c:pt idx="1308" formatCode="0.0%">
                  <c:v>0.46028646547394203</c:v>
                </c:pt>
                <c:pt idx="1309" formatCode="0.0%">
                  <c:v>0.4619284314098161</c:v>
                </c:pt>
                <c:pt idx="1310" formatCode="0.0%">
                  <c:v>0.40537342123138503</c:v>
                </c:pt>
                <c:pt idx="1311" formatCode="0.0%">
                  <c:v>0.40537342123138503</c:v>
                </c:pt>
                <c:pt idx="1312" formatCode="0.0%">
                  <c:v>0.40537342123138503</c:v>
                </c:pt>
                <c:pt idx="1313" formatCode="0.0%">
                  <c:v>0.37099685820106287</c:v>
                </c:pt>
                <c:pt idx="1314" formatCode="0.0%">
                  <c:v>0.38873958587030333</c:v>
                </c:pt>
                <c:pt idx="1315" formatCode="0.0%">
                  <c:v>0.40709839820990623</c:v>
                </c:pt>
                <c:pt idx="1316" formatCode="0.0%">
                  <c:v>0.40229307300269029</c:v>
                </c:pt>
                <c:pt idx="1317" formatCode="0.0%">
                  <c:v>0.40796088669916686</c:v>
                </c:pt>
                <c:pt idx="1318" formatCode="0.0%">
                  <c:v>0.40796088669916686</c:v>
                </c:pt>
                <c:pt idx="1319" formatCode="0.0%">
                  <c:v>0.40796088669916686</c:v>
                </c:pt>
                <c:pt idx="1320" formatCode="0.0%">
                  <c:v>0.41251980808748412</c:v>
                </c:pt>
                <c:pt idx="1321" formatCode="0.0%">
                  <c:v>0.4201590777044959</c:v>
                </c:pt>
                <c:pt idx="1322" formatCode="0.0%">
                  <c:v>0.4180644198745111</c:v>
                </c:pt>
                <c:pt idx="1323" formatCode="0.0%">
                  <c:v>0.4413517593307793</c:v>
                </c:pt>
                <c:pt idx="1324" formatCode="0.0%">
                  <c:v>0.44812854045853046</c:v>
                </c:pt>
                <c:pt idx="1325" formatCode="0.0%">
                  <c:v>0.44812854045853046</c:v>
                </c:pt>
                <c:pt idx="1326" formatCode="0.0%">
                  <c:v>0.44812854045853046</c:v>
                </c:pt>
                <c:pt idx="1327" formatCode="0.0%">
                  <c:v>0.44726605196926983</c:v>
                </c:pt>
                <c:pt idx="1328" formatCode="0.0%">
                  <c:v>0.45034632507484873</c:v>
                </c:pt>
                <c:pt idx="1329" formatCode="0.0%">
                  <c:v>0.44899102894779103</c:v>
                </c:pt>
                <c:pt idx="1330" formatCode="0.0%">
                  <c:v>0.4571231062026001</c:v>
                </c:pt>
                <c:pt idx="1331" formatCode="0.0%">
                  <c:v>0.45281066375629675</c:v>
                </c:pt>
                <c:pt idx="1332" formatCode="0.0%">
                  <c:v>0.45281066375629675</c:v>
                </c:pt>
                <c:pt idx="1333" formatCode="0.0%">
                  <c:v>0.45281066375629675</c:v>
                </c:pt>
                <c:pt idx="1334" formatCode="0.0%">
                  <c:v>0.44899102894779103</c:v>
                </c:pt>
                <c:pt idx="1335" formatCode="0.0%">
                  <c:v>0.44911423085724039</c:v>
                </c:pt>
                <c:pt idx="1336" formatCode="0.0%">
                  <c:v>0.45552133113352822</c:v>
                </c:pt>
                <c:pt idx="1337" formatCode="0.0%">
                  <c:v>0.4659944700372205</c:v>
                </c:pt>
                <c:pt idx="1338" formatCode="0.0%">
                  <c:v>0.46439269496814861</c:v>
                </c:pt>
                <c:pt idx="1339" formatCode="0.0%">
                  <c:v>0.46699248062687532</c:v>
                </c:pt>
                <c:pt idx="1340" formatCode="0.0%">
                  <c:v>0.46699248062687532</c:v>
                </c:pt>
                <c:pt idx="1341" formatCode="0.0%">
                  <c:v>0.46414629114924993</c:v>
                </c:pt>
                <c:pt idx="1342" formatCode="0.0%">
                  <c:v>0.45749271193094787</c:v>
                </c:pt>
                <c:pt idx="1343" formatCode="0.0%">
                  <c:v>0.44184464209169194</c:v>
                </c:pt>
                <c:pt idx="1344" formatCode="0.0%">
                  <c:v>0.43605362648576629</c:v>
                </c:pt>
                <c:pt idx="1345" formatCode="0.0%">
                  <c:v>0.41917331218267068</c:v>
                </c:pt>
                <c:pt idx="1346" formatCode="0.0%">
                  <c:v>0.41917331218267068</c:v>
                </c:pt>
                <c:pt idx="1347" formatCode="0.0%">
                  <c:v>0.41917331218267068</c:v>
                </c:pt>
                <c:pt idx="1348" formatCode="0.0%">
                  <c:v>0.42533400864005955</c:v>
                </c:pt>
                <c:pt idx="1349" formatCode="0.0%">
                  <c:v>0.42693578370913171</c:v>
                </c:pt>
                <c:pt idx="1350" formatCode="0.0%">
                  <c:v>0.4206518853422932</c:v>
                </c:pt>
                <c:pt idx="1351" formatCode="0.0%">
                  <c:v>0.4428303324904016</c:v>
                </c:pt>
                <c:pt idx="1352" formatCode="0.0%">
                  <c:v>0.45133209059667451</c:v>
                </c:pt>
                <c:pt idx="1353" formatCode="0.0%">
                  <c:v>0.45133209059667451</c:v>
                </c:pt>
                <c:pt idx="1354" formatCode="0.0%">
                  <c:v>0.45133209059667451</c:v>
                </c:pt>
                <c:pt idx="1355" formatCode="0.0%">
                  <c:v>0.45034632507484873</c:v>
                </c:pt>
                <c:pt idx="1356" formatCode="0.0%">
                  <c:v>0.45552133113352822</c:v>
                </c:pt>
                <c:pt idx="1357" formatCode="0.0%">
                  <c:v>0.44344641716076383</c:v>
                </c:pt>
                <c:pt idx="1358" formatCode="0.0%">
                  <c:v>0.45453564073481828</c:v>
                </c:pt>
                <c:pt idx="1359" formatCode="0.0%">
                  <c:v>0.44381602288911182</c:v>
                </c:pt>
                <c:pt idx="1360" formatCode="0.0%">
                  <c:v>0.44381602288911182</c:v>
                </c:pt>
                <c:pt idx="1361" formatCode="0.0%">
                  <c:v>0.44381602288911182</c:v>
                </c:pt>
                <c:pt idx="1362" formatCode="0.0%">
                  <c:v>0.45108561165466027</c:v>
                </c:pt>
                <c:pt idx="1363" formatCode="0.0%">
                  <c:v>0.44701957302725559</c:v>
                </c:pt>
                <c:pt idx="1364" formatCode="0.0%">
                  <c:v>0.44960711361815298</c:v>
                </c:pt>
                <c:pt idx="1365" formatCode="0.0%">
                  <c:v>0.4614355486489029</c:v>
                </c:pt>
                <c:pt idx="1366" formatCode="0.0%">
                  <c:v>0.46402308923980057</c:v>
                </c:pt>
                <c:pt idx="1367" formatCode="0.0%">
                  <c:v>0.46402308923980057</c:v>
                </c:pt>
                <c:pt idx="1368" formatCode="0.0%">
                  <c:v>0.46402308923980057</c:v>
                </c:pt>
                <c:pt idx="1369" formatCode="0.0%">
                  <c:v>0.46169186871904999</c:v>
                </c:pt>
                <c:pt idx="1370" formatCode="0.0%">
                  <c:v>0.46008025252184526</c:v>
                </c:pt>
                <c:pt idx="1371" formatCode="0.0%">
                  <c:v>0.46500877963851023</c:v>
                </c:pt>
                <c:pt idx="1372" formatCode="0.0%">
                  <c:v>0.4659944700372205</c:v>
                </c:pt>
                <c:pt idx="1373" formatCode="0.0%">
                  <c:v>0.4738801434731309</c:v>
                </c:pt>
                <c:pt idx="1374" formatCode="0.0%">
                  <c:v>0.4738801434731309</c:v>
                </c:pt>
                <c:pt idx="1375" formatCode="0.0%">
                  <c:v>0.4738801434731309</c:v>
                </c:pt>
                <c:pt idx="1376" formatCode="0.0%">
                  <c:v>0.4751123128138548</c:v>
                </c:pt>
                <c:pt idx="1377" formatCode="0.0%">
                  <c:v>0.47104619906333484</c:v>
                </c:pt>
                <c:pt idx="1378" formatCode="0.0%">
                  <c:v>0.47930155335070851</c:v>
                </c:pt>
                <c:pt idx="1379" formatCode="0.0%">
                  <c:v>0.48792651336643045</c:v>
                </c:pt>
                <c:pt idx="1380" formatCode="0.0%">
                  <c:v>0.49433361364271805</c:v>
                </c:pt>
                <c:pt idx="1381" formatCode="0.0%">
                  <c:v>0.49433361364271805</c:v>
                </c:pt>
                <c:pt idx="1382" formatCode="0.0%">
                  <c:v>0.49433361364271805</c:v>
                </c:pt>
                <c:pt idx="1383" formatCode="0.0%">
                  <c:v>0.50813350459400397</c:v>
                </c:pt>
                <c:pt idx="1384" formatCode="0.0%">
                  <c:v>0.50702461228584472</c:v>
                </c:pt>
                <c:pt idx="1385" formatCode="0.0%">
                  <c:v>0.49642819634958729</c:v>
                </c:pt>
                <c:pt idx="1386" formatCode="0.0%">
                  <c:v>0.50874958926436586</c:v>
                </c:pt>
                <c:pt idx="1387" formatCode="0.0%">
                  <c:v>0.50406746596659924</c:v>
                </c:pt>
                <c:pt idx="1388" formatCode="0.0%">
                  <c:v>0.50406746596659924</c:v>
                </c:pt>
                <c:pt idx="1389" formatCode="0.0%">
                  <c:v>0.50406746596659924</c:v>
                </c:pt>
                <c:pt idx="1390" formatCode="0.0%">
                  <c:v>0.50727101610474312</c:v>
                </c:pt>
                <c:pt idx="1391" formatCode="0.0%">
                  <c:v>0.50283529662587545</c:v>
                </c:pt>
                <c:pt idx="1392" formatCode="0.0%">
                  <c:v>0.50677813334383048</c:v>
                </c:pt>
                <c:pt idx="1393" formatCode="0.0%">
                  <c:v>0.50246569089752735</c:v>
                </c:pt>
                <c:pt idx="1394" formatCode="0.0%">
                  <c:v>0.50529956018420785</c:v>
                </c:pt>
                <c:pt idx="1395" formatCode="0.0%">
                  <c:v>0.50529956018420785</c:v>
                </c:pt>
                <c:pt idx="1396" formatCode="0.0%">
                  <c:v>0.50529956018420785</c:v>
                </c:pt>
                <c:pt idx="1397" formatCode="0.0%">
                  <c:v>0.50529956018420785</c:v>
                </c:pt>
                <c:pt idx="1398" formatCode="0.0%">
                  <c:v>0.50677813334383048</c:v>
                </c:pt>
                <c:pt idx="1399" formatCode="0.0%">
                  <c:v>0.5013567234662526</c:v>
                </c:pt>
                <c:pt idx="1400" formatCode="0.0%">
                  <c:v>0.46831892947757409</c:v>
                </c:pt>
                <c:pt idx="1401" formatCode="0.0%">
                  <c:v>0.48484616513773604</c:v>
                </c:pt>
                <c:pt idx="1402" formatCode="0.0%">
                  <c:v>0.48484616513773604</c:v>
                </c:pt>
                <c:pt idx="1403" formatCode="0.0%">
                  <c:v>0.48484616513773604</c:v>
                </c:pt>
                <c:pt idx="1404" formatCode="0.0%">
                  <c:v>0.46932122208481358</c:v>
                </c:pt>
                <c:pt idx="1405" formatCode="0.0%">
                  <c:v>0.47055339142553776</c:v>
                </c:pt>
                <c:pt idx="1406" formatCode="0.0%">
                  <c:v>0.51392452019992962</c:v>
                </c:pt>
                <c:pt idx="1407" formatCode="0.0%">
                  <c:v>0.51897632434915975</c:v>
                </c:pt>
                <c:pt idx="1408" formatCode="0.0%">
                  <c:v>0.53906011366728368</c:v>
                </c:pt>
                <c:pt idx="1409" formatCode="0.0%">
                  <c:v>0.53906011366728368</c:v>
                </c:pt>
                <c:pt idx="1410" formatCode="0.0%">
                  <c:v>0.53906011366728368</c:v>
                </c:pt>
                <c:pt idx="1411" formatCode="0.0%">
                  <c:v>0.55409217395929322</c:v>
                </c:pt>
                <c:pt idx="1412" formatCode="0.0%">
                  <c:v>0.55212071803875773</c:v>
                </c:pt>
                <c:pt idx="1413" formatCode="0.0%">
                  <c:v>0.54472792736375997</c:v>
                </c:pt>
                <c:pt idx="1414" formatCode="0.0%">
                  <c:v>0.5484243602628166</c:v>
                </c:pt>
                <c:pt idx="1415" formatCode="0.0%">
                  <c:v>0.53018874983266329</c:v>
                </c:pt>
                <c:pt idx="1416" formatCode="0.0%">
                  <c:v>0.53018874983266329</c:v>
                </c:pt>
                <c:pt idx="1417" formatCode="0.0%">
                  <c:v>0.53018874983266329</c:v>
                </c:pt>
                <c:pt idx="1418" formatCode="0.0%">
                  <c:v>0.52291916106711456</c:v>
                </c:pt>
                <c:pt idx="1419" formatCode="0.0%">
                  <c:v>0.51946913198695654</c:v>
                </c:pt>
                <c:pt idx="1420" formatCode="0.0%">
                  <c:v>0.52723160351341758</c:v>
                </c:pt>
                <c:pt idx="1421" formatCode="0.0%">
                  <c:v>0.53166732299228558</c:v>
                </c:pt>
                <c:pt idx="1422" formatCode="0.0%">
                  <c:v>0.56136176272484162</c:v>
                </c:pt>
                <c:pt idx="1423" formatCode="0.0%">
                  <c:v>0.56136176272484162</c:v>
                </c:pt>
                <c:pt idx="1424" formatCode="0.0%">
                  <c:v>0.56136176272484162</c:v>
                </c:pt>
                <c:pt idx="1425" formatCode="0.0%">
                  <c:v>0.55828141449614688</c:v>
                </c:pt>
                <c:pt idx="1426" formatCode="0.0%">
                  <c:v>0.55778853173523435</c:v>
                </c:pt>
                <c:pt idx="1427" formatCode="0.0%">
                  <c:v>0.5560635547567131</c:v>
                </c:pt>
                <c:pt idx="1428" formatCode="0.0%">
                  <c:v>0.56000639147466813</c:v>
                </c:pt>
                <c:pt idx="1429" formatCode="0.0%">
                  <c:v>0.56074567805447939</c:v>
                </c:pt>
                <c:pt idx="1430" formatCode="0.0%">
                  <c:v>0.56127634774249768</c:v>
                </c:pt>
                <c:pt idx="1431" formatCode="0.0%">
                  <c:v>0.56127634774249768</c:v>
                </c:pt>
                <c:pt idx="1432" formatCode="0.0%">
                  <c:v>0.57602414216538766</c:v>
                </c:pt>
                <c:pt idx="1433" formatCode="0.0%">
                  <c:v>0.58144555204296522</c:v>
                </c:pt>
                <c:pt idx="1434" formatCode="0.0%">
                  <c:v>0.5904401177870352</c:v>
                </c:pt>
                <c:pt idx="1435" formatCode="0.0%">
                  <c:v>0.58341693284038543</c:v>
                </c:pt>
                <c:pt idx="1436" formatCode="0.0%">
                  <c:v>0.58526518685147122</c:v>
                </c:pt>
                <c:pt idx="1437" formatCode="0.0%">
                  <c:v>0.58526518685147122</c:v>
                </c:pt>
                <c:pt idx="1438" formatCode="0.0%">
                  <c:v>0.58526518685147122</c:v>
                </c:pt>
                <c:pt idx="1439" formatCode="0.0%">
                  <c:v>0.57861160763316943</c:v>
                </c:pt>
                <c:pt idx="1440" formatCode="0.0%">
                  <c:v>0.58563479257981921</c:v>
                </c:pt>
                <c:pt idx="1441" formatCode="0.0%">
                  <c:v>0.58994731014923785</c:v>
                </c:pt>
                <c:pt idx="1442" formatCode="0.0%">
                  <c:v>0.58674376001109407</c:v>
                </c:pt>
                <c:pt idx="1443" formatCode="0.0%">
                  <c:v>0.58119914822406715</c:v>
                </c:pt>
                <c:pt idx="1444" formatCode="0.0%">
                  <c:v>0.58119914822406715</c:v>
                </c:pt>
                <c:pt idx="1445" formatCode="0.0%">
                  <c:v>0.58119914822406715</c:v>
                </c:pt>
                <c:pt idx="1446" formatCode="0.0%">
                  <c:v>0.58021338270224132</c:v>
                </c:pt>
                <c:pt idx="1447" formatCode="0.0%">
                  <c:v>0.57516165367612704</c:v>
                </c:pt>
                <c:pt idx="1448" formatCode="0.0%">
                  <c:v>0.57787232105335817</c:v>
                </c:pt>
                <c:pt idx="1449" formatCode="0.0%">
                  <c:v>0.55249039889022133</c:v>
                </c:pt>
                <c:pt idx="1450" formatCode="0.0%">
                  <c:v>0.54090829255525397</c:v>
                </c:pt>
                <c:pt idx="1451" formatCode="0.0%">
                  <c:v>0.54090829255525397</c:v>
                </c:pt>
                <c:pt idx="1452" formatCode="0.0%">
                  <c:v>0.54090829255525397</c:v>
                </c:pt>
                <c:pt idx="1453" formatCode="0.0%">
                  <c:v>0.55557067199580024</c:v>
                </c:pt>
                <c:pt idx="1454" formatCode="0.0%">
                  <c:v>0.55557067199580024</c:v>
                </c:pt>
                <c:pt idx="1455" formatCode="0.0%">
                  <c:v>0.55557067199580024</c:v>
                </c:pt>
                <c:pt idx="1456" formatCode="0.0%">
                  <c:v>0.55557067199580024</c:v>
                </c:pt>
                <c:pt idx="1457" formatCode="0.0%">
                  <c:v>0.55704924515542298</c:v>
                </c:pt>
                <c:pt idx="1458" formatCode="0.0%">
                  <c:v>0.55704924515542298</c:v>
                </c:pt>
                <c:pt idx="1459" formatCode="0.0%">
                  <c:v>0.55704924515542298</c:v>
                </c:pt>
                <c:pt idx="1460" formatCode="0.0%">
                  <c:v>0.54509753309210762</c:v>
                </c:pt>
                <c:pt idx="1461" formatCode="0.0%">
                  <c:v>0.55297081121395797</c:v>
                </c:pt>
                <c:pt idx="1462" formatCode="0.0%">
                  <c:v>0.55297081121395797</c:v>
                </c:pt>
                <c:pt idx="1463" formatCode="0.0%">
                  <c:v>0.57319027287870739</c:v>
                </c:pt>
                <c:pt idx="1464" formatCode="0.0%">
                  <c:v>0.57072600932037465</c:v>
                </c:pt>
                <c:pt idx="1465" formatCode="0.0%">
                  <c:v>0.57072600932037465</c:v>
                </c:pt>
                <c:pt idx="1466" formatCode="0.0%">
                  <c:v>0.57072600932037465</c:v>
                </c:pt>
                <c:pt idx="1467" formatCode="0.0%">
                  <c:v>0.58280092329313904</c:v>
                </c:pt>
                <c:pt idx="1468" formatCode="0.0%">
                  <c:v>0.57959737315499493</c:v>
                </c:pt>
                <c:pt idx="1469" formatCode="0.0%">
                  <c:v>0.57294379393669315</c:v>
                </c:pt>
                <c:pt idx="1470" formatCode="0.0%">
                  <c:v>0.57959737315499493</c:v>
                </c:pt>
                <c:pt idx="1471" formatCode="0.0%">
                  <c:v>0.56764566109168013</c:v>
                </c:pt>
                <c:pt idx="1472" formatCode="0.0%">
                  <c:v>0.56764566109168013</c:v>
                </c:pt>
                <c:pt idx="1473" formatCode="0.0%">
                  <c:v>0.56764566109168013</c:v>
                </c:pt>
                <c:pt idx="1474" formatCode="0.0%">
                  <c:v>0.56604388602260802</c:v>
                </c:pt>
                <c:pt idx="1475" formatCode="0.0%">
                  <c:v>0.56912415912818715</c:v>
                </c:pt>
                <c:pt idx="1476" formatCode="0.0%">
                  <c:v>0.57873488466573431</c:v>
                </c:pt>
                <c:pt idx="1477" formatCode="0.0%">
                  <c:v>0.59795618549459761</c:v>
                </c:pt>
                <c:pt idx="1478" formatCode="0.0%">
                  <c:v>0.60559537998849411</c:v>
                </c:pt>
                <c:pt idx="1479" formatCode="0.0%">
                  <c:v>0.60559537998849411</c:v>
                </c:pt>
                <c:pt idx="1480" formatCode="0.0%">
                  <c:v>0.60559537998849411</c:v>
                </c:pt>
                <c:pt idx="1481" formatCode="0.0%">
                  <c:v>0.60165254327053874</c:v>
                </c:pt>
                <c:pt idx="1482" formatCode="0.0%">
                  <c:v>0.60559537998849411</c:v>
                </c:pt>
                <c:pt idx="1483" formatCode="0.0%">
                  <c:v>0.62592564824863217</c:v>
                </c:pt>
                <c:pt idx="1484" formatCode="0.0%">
                  <c:v>0.62888271944476204</c:v>
                </c:pt>
                <c:pt idx="1485" formatCode="0.0%">
                  <c:v>0.6229685019293868</c:v>
                </c:pt>
                <c:pt idx="1486" formatCode="0.0%">
                  <c:v>0.6229685019293868</c:v>
                </c:pt>
                <c:pt idx="1487" formatCode="0.0%">
                  <c:v>0.6229685019293868</c:v>
                </c:pt>
                <c:pt idx="1488" formatCode="0.0%">
                  <c:v>0.5990650778027572</c:v>
                </c:pt>
                <c:pt idx="1489" formatCode="0.0%">
                  <c:v>0.61643819974364955</c:v>
                </c:pt>
                <c:pt idx="1490" formatCode="0.0%">
                  <c:v>0.63196306767345678</c:v>
                </c:pt>
                <c:pt idx="1491" formatCode="0.0%">
                  <c:v>0.62469347890790827</c:v>
                </c:pt>
                <c:pt idx="1492" formatCode="0.0%">
                  <c:v>0.63285402782349853</c:v>
                </c:pt>
                <c:pt idx="1493" formatCode="0.0%">
                  <c:v>0.63285402782349853</c:v>
                </c:pt>
                <c:pt idx="1494" formatCode="0.0%">
                  <c:v>0.63285402782349853</c:v>
                </c:pt>
                <c:pt idx="1495" formatCode="0.0%">
                  <c:v>0.62629525397698016</c:v>
                </c:pt>
                <c:pt idx="1496" formatCode="0.0%">
                  <c:v>0.62666493482844343</c:v>
                </c:pt>
                <c:pt idx="1497" formatCode="0.0%">
                  <c:v>0.62912919838677628</c:v>
                </c:pt>
                <c:pt idx="1498" formatCode="0.0%">
                  <c:v>0.64699512796546632</c:v>
                </c:pt>
                <c:pt idx="1499" formatCode="0.0%">
                  <c:v>0.64490054525859708</c:v>
                </c:pt>
                <c:pt idx="1500" formatCode="0.0%">
                  <c:v>0.64490054525859708</c:v>
                </c:pt>
                <c:pt idx="1501" formatCode="0.0%">
                  <c:v>0.64490054525859708</c:v>
                </c:pt>
                <c:pt idx="1502" formatCode="0.0%">
                  <c:v>0.65315582442285514</c:v>
                </c:pt>
                <c:pt idx="1503" formatCode="0.0%">
                  <c:v>0.64908978579545074</c:v>
                </c:pt>
                <c:pt idx="1504" formatCode="0.0%">
                  <c:v>0.64083443150807684</c:v>
                </c:pt>
                <c:pt idx="1505" formatCode="0.0%">
                  <c:v>0.64145051617843873</c:v>
                </c:pt>
                <c:pt idx="1506" formatCode="0.0%">
                  <c:v>0.64595805335574197</c:v>
                </c:pt>
                <c:pt idx="1507" formatCode="0.0%">
                  <c:v>0.64595805335574197</c:v>
                </c:pt>
                <c:pt idx="1508" formatCode="0.0%">
                  <c:v>0.64595805335574197</c:v>
                </c:pt>
                <c:pt idx="1509" formatCode="0.0%">
                  <c:v>0.64412527470645242</c:v>
                </c:pt>
                <c:pt idx="1510" formatCode="0.0%">
                  <c:v>0.64776844531660716</c:v>
                </c:pt>
                <c:pt idx="1511" formatCode="0.0%">
                  <c:v>0.64763344907802145</c:v>
                </c:pt>
                <c:pt idx="1512" formatCode="0.0%">
                  <c:v>0.64345066912910232</c:v>
                </c:pt>
                <c:pt idx="1513" formatCode="0.0%">
                  <c:v>0.64560955722285451</c:v>
                </c:pt>
                <c:pt idx="1514" formatCode="0.0%">
                  <c:v>0.64560955722285451</c:v>
                </c:pt>
                <c:pt idx="1515" formatCode="0.0%">
                  <c:v>0.64560955722285451</c:v>
                </c:pt>
                <c:pt idx="1516" formatCode="0.0%">
                  <c:v>0.62914805428877119</c:v>
                </c:pt>
                <c:pt idx="1517" formatCode="0.0%">
                  <c:v>0.61471051833296997</c:v>
                </c:pt>
                <c:pt idx="1518" formatCode="0.0%">
                  <c:v>0.63710892596331492</c:v>
                </c:pt>
                <c:pt idx="1519" formatCode="0.0%">
                  <c:v>0.62901313317330076</c:v>
                </c:pt>
                <c:pt idx="1520" formatCode="0.0%">
                  <c:v>0.62441507264179907</c:v>
                </c:pt>
                <c:pt idx="1521" formatCode="0.0%">
                  <c:v>0.62441507264179907</c:v>
                </c:pt>
                <c:pt idx="1522" formatCode="0.0%">
                  <c:v>0.62441507264179907</c:v>
                </c:pt>
                <c:pt idx="1523" formatCode="0.0%">
                  <c:v>0.61835361382000886</c:v>
                </c:pt>
                <c:pt idx="1524" formatCode="0.0%">
                  <c:v>0.59177235111762883</c:v>
                </c:pt>
                <c:pt idx="1525" formatCode="0.0%">
                  <c:v>0.58219227581121291</c:v>
                </c:pt>
                <c:pt idx="1526" formatCode="0.0%">
                  <c:v>0.57112799311151063</c:v>
                </c:pt>
                <c:pt idx="1527" formatCode="0.0%">
                  <c:v>0.54805497990381524</c:v>
                </c:pt>
                <c:pt idx="1528" formatCode="0.0%">
                  <c:v>0.54805497990381524</c:v>
                </c:pt>
                <c:pt idx="1529" formatCode="0.0%">
                  <c:v>0.54805497990381524</c:v>
                </c:pt>
                <c:pt idx="1530" formatCode="0.0%">
                  <c:v>0.53253799990113804</c:v>
                </c:pt>
                <c:pt idx="1531" formatCode="0.0%">
                  <c:v>0.51351277040377596</c:v>
                </c:pt>
                <c:pt idx="1532" formatCode="0.0%">
                  <c:v>0.50946491157032681</c:v>
                </c:pt>
                <c:pt idx="1533" formatCode="0.0%">
                  <c:v>0.51013951714767758</c:v>
                </c:pt>
                <c:pt idx="1534" formatCode="0.0%">
                  <c:v>0.52133872096284994</c:v>
                </c:pt>
                <c:pt idx="1535" formatCode="0.0%">
                  <c:v>0.52133872096284994</c:v>
                </c:pt>
                <c:pt idx="1536" formatCode="0.0%">
                  <c:v>0.52133872096284994</c:v>
                </c:pt>
                <c:pt idx="1537" formatCode="0.0%">
                  <c:v>0.52700585855128679</c:v>
                </c:pt>
                <c:pt idx="1538" formatCode="0.0%">
                  <c:v>0.52174355943237571</c:v>
                </c:pt>
                <c:pt idx="1539" formatCode="0.0%">
                  <c:v>0.53159347696973158</c:v>
                </c:pt>
                <c:pt idx="1540" formatCode="0.0%">
                  <c:v>0.54157831562255809</c:v>
                </c:pt>
                <c:pt idx="1541" formatCode="0.0%">
                  <c:v>0.52768046412863701</c:v>
                </c:pt>
                <c:pt idx="1542" formatCode="0.0%">
                  <c:v>0.52768046412863701</c:v>
                </c:pt>
                <c:pt idx="1543" formatCode="0.0%">
                  <c:v>0.52768046412863701</c:v>
                </c:pt>
                <c:pt idx="1544" formatCode="0.0%">
                  <c:v>0.54899942771210586</c:v>
                </c:pt>
                <c:pt idx="1545" formatCode="0.0%">
                  <c:v>0.55102339469038808</c:v>
                </c:pt>
                <c:pt idx="1546" formatCode="0.0%">
                  <c:v>0.54643577627194306</c:v>
                </c:pt>
                <c:pt idx="1547" formatCode="0.0%">
                  <c:v>0.53631601650364702</c:v>
                </c:pt>
                <c:pt idx="1548" formatCode="0.0%">
                  <c:v>0.51378268775783165</c:v>
                </c:pt>
                <c:pt idx="1549" formatCode="0.0%">
                  <c:v>0.51378268775783165</c:v>
                </c:pt>
                <c:pt idx="1550" formatCode="0.0%">
                  <c:v>0.51378268775783165</c:v>
                </c:pt>
                <c:pt idx="1551" formatCode="0.0%">
                  <c:v>0.50857951053083328</c:v>
                </c:pt>
                <c:pt idx="1552" formatCode="0.0%">
                  <c:v>0.52214832277878576</c:v>
                </c:pt>
                <c:pt idx="1553" formatCode="0.0%">
                  <c:v>0.51148887854860936</c:v>
                </c:pt>
                <c:pt idx="1554" formatCode="0.0%">
                  <c:v>0.4653427018869874</c:v>
                </c:pt>
                <c:pt idx="1555" formatCode="0.0%">
                  <c:v>0.41811708117848922</c:v>
                </c:pt>
                <c:pt idx="1556" formatCode="0.0%">
                  <c:v>0.41811708117848922</c:v>
                </c:pt>
                <c:pt idx="1557" formatCode="0.0%">
                  <c:v>0.41811708117848922</c:v>
                </c:pt>
                <c:pt idx="1558" formatCode="0.0%">
                  <c:v>0.3703517760081107</c:v>
                </c:pt>
                <c:pt idx="1559" formatCode="0.0%">
                  <c:v>0.41568835085379646</c:v>
                </c:pt>
                <c:pt idx="1560" formatCode="0.0%">
                  <c:v>0.34957249688652242</c:v>
                </c:pt>
                <c:pt idx="1561" formatCode="0.0%">
                  <c:v>0.40651311401690665</c:v>
                </c:pt>
                <c:pt idx="1562" formatCode="0.0%">
                  <c:v>0.38532907154890778</c:v>
                </c:pt>
                <c:pt idx="1563" formatCode="0.0%">
                  <c:v>0.38532907154890778</c:v>
                </c:pt>
                <c:pt idx="1564" formatCode="0.0%">
                  <c:v>0.38532907154890778</c:v>
                </c:pt>
                <c:pt idx="1565" formatCode="0.0%">
                  <c:v>0.42243485736599412</c:v>
                </c:pt>
                <c:pt idx="1566" formatCode="0.0%">
                  <c:v>0.43268953824976053</c:v>
                </c:pt>
                <c:pt idx="1567" formatCode="0.0%">
                  <c:v>0.41258493982863798</c:v>
                </c:pt>
                <c:pt idx="1568" formatCode="0.0%">
                  <c:v>0.41258493982863798</c:v>
                </c:pt>
                <c:pt idx="1569" formatCode="0.0%">
                  <c:v>0.41258493982863798</c:v>
                </c:pt>
                <c:pt idx="1570" formatCode="0.0%">
                  <c:v>0.41258493982863798</c:v>
                </c:pt>
                <c:pt idx="1571" formatCode="0.0%">
                  <c:v>0.41258493982863798</c:v>
                </c:pt>
                <c:pt idx="1572" formatCode="0.0%">
                  <c:v>0.41258493982863798</c:v>
                </c:pt>
                <c:pt idx="1573" formatCode="0.0%">
                  <c:v>0.39585359466361436</c:v>
                </c:pt>
                <c:pt idx="1574" formatCode="0.0%">
                  <c:v>0.44334905760305249</c:v>
                </c:pt>
                <c:pt idx="1575" formatCode="0.0%">
                  <c:v>0.43579294927491902</c:v>
                </c:pt>
                <c:pt idx="1576" formatCode="0.0%">
                  <c:v>0.440245646577894</c:v>
                </c:pt>
                <c:pt idx="1577" formatCode="0.0%">
                  <c:v>0.440245646577894</c:v>
                </c:pt>
                <c:pt idx="1578" formatCode="0.0%">
                  <c:v>0.440245646577894</c:v>
                </c:pt>
                <c:pt idx="1579" formatCode="0.0%">
                  <c:v>0.45508802100322099</c:v>
                </c:pt>
                <c:pt idx="1580" formatCode="0.0%">
                  <c:v>0.45616746505009731</c:v>
                </c:pt>
                <c:pt idx="1581" formatCode="0.0%">
                  <c:v>0.47687492647325058</c:v>
                </c:pt>
                <c:pt idx="1582" formatCode="0.0%">
                  <c:v>0.47687492647325058</c:v>
                </c:pt>
                <c:pt idx="1583" formatCode="0.0%">
                  <c:v>0.51405252998877216</c:v>
                </c:pt>
                <c:pt idx="1584" formatCode="0.0%">
                  <c:v>0.51405252998877216</c:v>
                </c:pt>
                <c:pt idx="1585" formatCode="0.0%">
                  <c:v>0.51405252998877216</c:v>
                </c:pt>
                <c:pt idx="1586" formatCode="0.0%">
                  <c:v>0.51405252998877216</c:v>
                </c:pt>
                <c:pt idx="1587" formatCode="0.0%">
                  <c:v>0.51040943450173304</c:v>
                </c:pt>
                <c:pt idx="1588" formatCode="0.0%">
                  <c:v>0.51324292817283579</c:v>
                </c:pt>
                <c:pt idx="1589" formatCode="0.0%">
                  <c:v>0.51108404007908348</c:v>
                </c:pt>
                <c:pt idx="1590" formatCode="0.0%">
                  <c:v>0.51823538506080669</c:v>
                </c:pt>
                <c:pt idx="1591" formatCode="0.0%">
                  <c:v>0.51823538506080669</c:v>
                </c:pt>
                <c:pt idx="1592" formatCode="0.0%">
                  <c:v>0.51823538506080669</c:v>
                </c:pt>
                <c:pt idx="1593" formatCode="0.0%">
                  <c:v>0.54063379269115186</c:v>
                </c:pt>
                <c:pt idx="1594" formatCode="0.0%">
                  <c:v>0.54643577627194306</c:v>
                </c:pt>
                <c:pt idx="1595" formatCode="0.0%">
                  <c:v>0.54481664776318661</c:v>
                </c:pt>
                <c:pt idx="1596" formatCode="0.0%">
                  <c:v>0.54913442395069156</c:v>
                </c:pt>
                <c:pt idx="1597" formatCode="0.0%">
                  <c:v>0.55857950301852188</c:v>
                </c:pt>
                <c:pt idx="1598" formatCode="0.0%">
                  <c:v>0.55857950301852188</c:v>
                </c:pt>
                <c:pt idx="1599" formatCode="0.0%">
                  <c:v>0.55857950301852188</c:v>
                </c:pt>
                <c:pt idx="1600" formatCode="0.0%">
                  <c:v>0.55803981855664153</c:v>
                </c:pt>
                <c:pt idx="1601" formatCode="0.0%">
                  <c:v>0.56505616729977903</c:v>
                </c:pt>
                <c:pt idx="1602" formatCode="0.0%">
                  <c:v>0.55453156906195689</c:v>
                </c:pt>
                <c:pt idx="1603" formatCode="0.0%">
                  <c:v>0.54805497990381524</c:v>
                </c:pt>
                <c:pt idx="1604" formatCode="0.0%">
                  <c:v>0.53699069720411274</c:v>
                </c:pt>
                <c:pt idx="1605" formatCode="0.0%">
                  <c:v>0.53699069720411274</c:v>
                </c:pt>
                <c:pt idx="1606" formatCode="0.0%">
                  <c:v>0.53699069720411274</c:v>
                </c:pt>
                <c:pt idx="1607" formatCode="0.0%">
                  <c:v>0.55034878911303797</c:v>
                </c:pt>
                <c:pt idx="1608" formatCode="0.0%">
                  <c:v>0.55588093046288889</c:v>
                </c:pt>
                <c:pt idx="1609" formatCode="0.0%">
                  <c:v>0.55453156906195689</c:v>
                </c:pt>
                <c:pt idx="1610" formatCode="0.0%">
                  <c:v>0.55453156906195689</c:v>
                </c:pt>
                <c:pt idx="1611" formatCode="0.0%">
                  <c:v>0.55453156906195689</c:v>
                </c:pt>
                <c:pt idx="1612" formatCode="0.0%">
                  <c:v>0.54977898028183492</c:v>
                </c:pt>
                <c:pt idx="1613" formatCode="0.0%">
                  <c:v>0.54977898028183492</c:v>
                </c:pt>
                <c:pt idx="1614" formatCode="0.0%">
                  <c:v>0.53334752659395834</c:v>
                </c:pt>
                <c:pt idx="1615" formatCode="0.0%">
                  <c:v>0.540094033106156</c:v>
                </c:pt>
                <c:pt idx="1616" formatCode="0.0%">
                  <c:v>0.55480148641601257</c:v>
                </c:pt>
                <c:pt idx="1617" formatCode="0.0%">
                  <c:v>0.55480148641601257</c:v>
                </c:pt>
                <c:pt idx="1618" formatCode="0.0%">
                  <c:v>0.56397672325290304</c:v>
                </c:pt>
                <c:pt idx="1619" formatCode="0.0%">
                  <c:v>0.56397672325290304</c:v>
                </c:pt>
                <c:pt idx="1620" formatCode="0.0%">
                  <c:v>0.56397672325290304</c:v>
                </c:pt>
                <c:pt idx="1621" formatCode="0.0%">
                  <c:v>0.56397672325290304</c:v>
                </c:pt>
                <c:pt idx="1622" formatCode="0.0%">
                  <c:v>0.56748489762447174</c:v>
                </c:pt>
                <c:pt idx="1623" formatCode="0.0%">
                  <c:v>0.56654037469306562</c:v>
                </c:pt>
                <c:pt idx="1624" formatCode="0.0%">
                  <c:v>0.55426172683101693</c:v>
                </c:pt>
                <c:pt idx="1625" formatCode="0.0%">
                  <c:v>0.53995911199068558</c:v>
                </c:pt>
                <c:pt idx="1626" formatCode="0.0%">
                  <c:v>0.53995911199068558</c:v>
                </c:pt>
                <c:pt idx="1627" formatCode="0.0%">
                  <c:v>0.53995911199068558</c:v>
                </c:pt>
                <c:pt idx="1628" formatCode="0.0%">
                  <c:v>0.54198307896896802</c:v>
                </c:pt>
                <c:pt idx="1629" formatCode="0.0%">
                  <c:v>0.53793514501240336</c:v>
                </c:pt>
                <c:pt idx="1630" formatCode="0.0%">
                  <c:v>0.53091879626926586</c:v>
                </c:pt>
                <c:pt idx="1631" formatCode="0.0%">
                  <c:v>0.5178305465912808</c:v>
                </c:pt>
                <c:pt idx="1632" formatCode="0.0%">
                  <c:v>0.5228230034792517</c:v>
                </c:pt>
                <c:pt idx="1633" formatCode="0.0%">
                  <c:v>0.5228230034792517</c:v>
                </c:pt>
                <c:pt idx="1634" formatCode="0.0%">
                  <c:v>0.5228230034792517</c:v>
                </c:pt>
                <c:pt idx="1635" formatCode="0.0%">
                  <c:v>0.51702101989846061</c:v>
                </c:pt>
                <c:pt idx="1636" formatCode="0.0%">
                  <c:v>0.53145855585426149</c:v>
                </c:pt>
                <c:pt idx="1637" formatCode="0.0%">
                  <c:v>0.53564133580318074</c:v>
                </c:pt>
                <c:pt idx="1638" formatCode="0.0%">
                  <c:v>0.52471197421894855</c:v>
                </c:pt>
                <c:pt idx="1639" formatCode="0.0%">
                  <c:v>0.53685570096552737</c:v>
                </c:pt>
                <c:pt idx="1640" formatCode="0.0%">
                  <c:v>0.53685570096552737</c:v>
                </c:pt>
                <c:pt idx="1641" formatCode="0.0%">
                  <c:v>0.53685570096552737</c:v>
                </c:pt>
                <c:pt idx="1642" formatCode="0.0%">
                  <c:v>0.53748425607306505</c:v>
                </c:pt>
                <c:pt idx="1643" formatCode="0.0%">
                  <c:v>0.53105371738473595</c:v>
                </c:pt>
                <c:pt idx="1644" formatCode="0.0%">
                  <c:v>0.52768046412863701</c:v>
                </c:pt>
                <c:pt idx="1645" formatCode="0.0%">
                  <c:v>0.54130839826850208</c:v>
                </c:pt>
                <c:pt idx="1646" formatCode="0.0%">
                  <c:v>0.53415712840989438</c:v>
                </c:pt>
                <c:pt idx="1647" formatCode="0.0%">
                  <c:v>0.53415712840989438</c:v>
                </c:pt>
                <c:pt idx="1648" formatCode="0.0%">
                  <c:v>0.53415712840989438</c:v>
                </c:pt>
                <c:pt idx="1649" formatCode="0.0%">
                  <c:v>0.53901458905927968</c:v>
                </c:pt>
                <c:pt idx="1650" formatCode="0.0%">
                  <c:v>0.53847490459739933</c:v>
                </c:pt>
                <c:pt idx="1651" formatCode="0.0%">
                  <c:v>0.54292760190037426</c:v>
                </c:pt>
                <c:pt idx="1652" formatCode="0.0%">
                  <c:v>0.54427688817819075</c:v>
                </c:pt>
                <c:pt idx="1653" formatCode="0.0%">
                  <c:v>0.53442697064083433</c:v>
                </c:pt>
                <c:pt idx="1654" formatCode="0.0%">
                  <c:v>0.53442697064083433</c:v>
                </c:pt>
                <c:pt idx="1655" formatCode="0.0%">
                  <c:v>0.53442697064083433</c:v>
                </c:pt>
                <c:pt idx="1656" formatCode="0.0%">
                  <c:v>0.53091879626926586</c:v>
                </c:pt>
                <c:pt idx="1657" formatCode="0.0%">
                  <c:v>0.53860982571286942</c:v>
                </c:pt>
                <c:pt idx="1658" formatCode="0.0%">
                  <c:v>0.53402220729442429</c:v>
                </c:pt>
                <c:pt idx="1659" formatCode="0.0%">
                  <c:v>0.54643577627194306</c:v>
                </c:pt>
                <c:pt idx="1660" formatCode="0.0%">
                  <c:v>0.54036395046021168</c:v>
                </c:pt>
                <c:pt idx="1661" formatCode="0.0%">
                  <c:v>0.54036395046021168</c:v>
                </c:pt>
                <c:pt idx="1662" formatCode="0.0%">
                  <c:v>0.54036395046021168</c:v>
                </c:pt>
                <c:pt idx="1663" formatCode="0.0%">
                  <c:v>0.53928450641333536</c:v>
                </c:pt>
                <c:pt idx="1664" formatCode="0.0%">
                  <c:v>0.53213316143161227</c:v>
                </c:pt>
                <c:pt idx="1665" formatCode="0.0%">
                  <c:v>0.53010919445332971</c:v>
                </c:pt>
                <c:pt idx="1666" formatCode="0.0%">
                  <c:v>0.53294276324754808</c:v>
                </c:pt>
                <c:pt idx="1667" formatCode="0.0%">
                  <c:v>0.53793514501240336</c:v>
                </c:pt>
                <c:pt idx="1668" formatCode="0.0%">
                  <c:v>0.53793514501240336</c:v>
                </c:pt>
                <c:pt idx="1669" formatCode="0.0%">
                  <c:v>0.53793514501240336</c:v>
                </c:pt>
                <c:pt idx="1670" formatCode="0.0%">
                  <c:v>0.54225292119990831</c:v>
                </c:pt>
                <c:pt idx="1671" formatCode="0.0%">
                  <c:v>0.55399188460007676</c:v>
                </c:pt>
                <c:pt idx="1672" formatCode="0.0%">
                  <c:v>0.55601585157835898</c:v>
                </c:pt>
                <c:pt idx="1673" formatCode="0.0%">
                  <c:v>0.55638245238208639</c:v>
                </c:pt>
                <c:pt idx="1674" formatCode="0.0%">
                  <c:v>0.54576109557147734</c:v>
                </c:pt>
                <c:pt idx="1675" formatCode="0.0%">
                  <c:v>0.54576109557147734</c:v>
                </c:pt>
                <c:pt idx="1676" formatCode="0.0%">
                  <c:v>0.54576109557147734</c:v>
                </c:pt>
                <c:pt idx="1677" formatCode="0.0%">
                  <c:v>0.53699069720411274</c:v>
                </c:pt>
                <c:pt idx="1678" formatCode="0.0%">
                  <c:v>0.53793514501240336</c:v>
                </c:pt>
                <c:pt idx="1679" formatCode="0.0%">
                  <c:v>0.52754554301316714</c:v>
                </c:pt>
                <c:pt idx="1680" formatCode="0.0%">
                  <c:v>0.54643577627194306</c:v>
                </c:pt>
                <c:pt idx="1681" formatCode="0.0%">
                  <c:v>0.53577625691865105</c:v>
                </c:pt>
                <c:pt idx="1682" formatCode="0.0%">
                  <c:v>0.53577625691865105</c:v>
                </c:pt>
                <c:pt idx="1683" formatCode="0.0%">
                  <c:v>0.53577625691865105</c:v>
                </c:pt>
                <c:pt idx="1684" formatCode="0.0%">
                  <c:v>0.54319744413131443</c:v>
                </c:pt>
                <c:pt idx="1685" formatCode="0.0%">
                  <c:v>0.53496673022583052</c:v>
                </c:pt>
                <c:pt idx="1686" formatCode="0.0%">
                  <c:v>0.54279268078490417</c:v>
                </c:pt>
                <c:pt idx="1687" formatCode="0.0%">
                  <c:v>0.54346728636225461</c:v>
                </c:pt>
                <c:pt idx="1688" formatCode="0.0%">
                  <c:v>0.54333236524678485</c:v>
                </c:pt>
                <c:pt idx="1689" formatCode="0.0%">
                  <c:v>0.54333236524678485</c:v>
                </c:pt>
                <c:pt idx="1690" formatCode="0.0%">
                  <c:v>0.54333236524678485</c:v>
                </c:pt>
                <c:pt idx="1691" formatCode="0.0%">
                  <c:v>0.5472453780878791</c:v>
                </c:pt>
                <c:pt idx="1692" formatCode="0.0%">
                  <c:v>0.549809029528042</c:v>
                </c:pt>
                <c:pt idx="1693" formatCode="0.0%">
                  <c:v>0.54657069738741315</c:v>
                </c:pt>
                <c:pt idx="1694" formatCode="0.0%">
                  <c:v>0.55007887175898218</c:v>
                </c:pt>
                <c:pt idx="1695" formatCode="0.0%">
                  <c:v>0.55736513785617547</c:v>
                </c:pt>
                <c:pt idx="1696" formatCode="0.0%">
                  <c:v>0.55736513785617547</c:v>
                </c:pt>
                <c:pt idx="1697" formatCode="0.0%">
                  <c:v>0.55736513785617547</c:v>
                </c:pt>
                <c:pt idx="1698" formatCode="0.0%">
                  <c:v>0.54940426618163174</c:v>
                </c:pt>
                <c:pt idx="1699" formatCode="0.0%">
                  <c:v>0.54414196706272067</c:v>
                </c:pt>
                <c:pt idx="1700" formatCode="0.0%">
                  <c:v>0.55277751943773046</c:v>
                </c:pt>
                <c:pt idx="1701" formatCode="0.0%">
                  <c:v>0.54994395064351209</c:v>
                </c:pt>
                <c:pt idx="1702" formatCode="0.0%">
                  <c:v>0.54562617445600692</c:v>
                </c:pt>
                <c:pt idx="1703" formatCode="0.0%">
                  <c:v>0.54562617445600692</c:v>
                </c:pt>
                <c:pt idx="1704" formatCode="0.0%">
                  <c:v>0.54497260335100151</c:v>
                </c:pt>
                <c:pt idx="1705" formatCode="0.0%">
                  <c:v>0.54454673040913093</c:v>
                </c:pt>
                <c:pt idx="1706" formatCode="0.0%">
                  <c:v>0.53591125315723676</c:v>
                </c:pt>
                <c:pt idx="1707" formatCode="0.0%">
                  <c:v>0.53847490459739933</c:v>
                </c:pt>
                <c:pt idx="1708" formatCode="0.0%">
                  <c:v>0.54495156887865648</c:v>
                </c:pt>
                <c:pt idx="1709" formatCode="0.0%">
                  <c:v>0.54657069738741315</c:v>
                </c:pt>
                <c:pt idx="1710" formatCode="0.0%">
                  <c:v>0.54657069738741315</c:v>
                </c:pt>
                <c:pt idx="1711" formatCode="0.0%">
                  <c:v>0.54657069738741315</c:v>
                </c:pt>
                <c:pt idx="1712" formatCode="0.0%">
                  <c:v>0.54711045697240934</c:v>
                </c:pt>
                <c:pt idx="1713" formatCode="0.0%">
                  <c:v>0.5570952956252353</c:v>
                </c:pt>
                <c:pt idx="1714" formatCode="0.0%">
                  <c:v>0.56586576911571518</c:v>
                </c:pt>
                <c:pt idx="1715" formatCode="0.0%">
                  <c:v>0.57018354530322002</c:v>
                </c:pt>
                <c:pt idx="1716" formatCode="0.0%">
                  <c:v>0.57193759492744678</c:v>
                </c:pt>
                <c:pt idx="1717" formatCode="0.0%">
                  <c:v>0.57193759492744678</c:v>
                </c:pt>
                <c:pt idx="1718" formatCode="0.0%">
                  <c:v>0.57193759492744678</c:v>
                </c:pt>
                <c:pt idx="1719" formatCode="0.0%">
                  <c:v>0.56923902237181412</c:v>
                </c:pt>
                <c:pt idx="1720" formatCode="0.0%">
                  <c:v>0.55088847357491799</c:v>
                </c:pt>
                <c:pt idx="1721" formatCode="0.0%">
                  <c:v>0.55331720389961081</c:v>
                </c:pt>
                <c:pt idx="1722" formatCode="0.0%">
                  <c:v>0.56950886460275429</c:v>
                </c:pt>
                <c:pt idx="1723" formatCode="0.0%">
                  <c:v>0.5631671214369669</c:v>
                </c:pt>
                <c:pt idx="1724" formatCode="0.0%">
                  <c:v>0.5631671214369669</c:v>
                </c:pt>
                <c:pt idx="1725" formatCode="0.0%">
                  <c:v>0.5631671214369669</c:v>
                </c:pt>
                <c:pt idx="1726" formatCode="0.0%">
                  <c:v>0.56046854888133391</c:v>
                </c:pt>
                <c:pt idx="1727" formatCode="0.0%">
                  <c:v>0.57153283158103652</c:v>
                </c:pt>
                <c:pt idx="1728" formatCode="0.0%">
                  <c:v>0.56478632506883886</c:v>
                </c:pt>
                <c:pt idx="1729" formatCode="0.0%">
                  <c:v>0.55399188460007676</c:v>
                </c:pt>
                <c:pt idx="1730" formatCode="0.0%">
                  <c:v>0.55196791762179431</c:v>
                </c:pt>
                <c:pt idx="1731" formatCode="0.0%">
                  <c:v>0.55196791762179431</c:v>
                </c:pt>
                <c:pt idx="1732" formatCode="0.0%">
                  <c:v>0.55196791762179431</c:v>
                </c:pt>
                <c:pt idx="1733" formatCode="0.0%">
                  <c:v>0.56343696366790685</c:v>
                </c:pt>
                <c:pt idx="1734" formatCode="0.0%">
                  <c:v>0.56813110666415634</c:v>
                </c:pt>
                <c:pt idx="1735" formatCode="0.0%">
                  <c:v>0.57531084818354539</c:v>
                </c:pt>
                <c:pt idx="1736" formatCode="0.0%">
                  <c:v>0.58556552906731185</c:v>
                </c:pt>
                <c:pt idx="1737" formatCode="0.0%">
                  <c:v>0.58988330525481703</c:v>
                </c:pt>
                <c:pt idx="1738" formatCode="0.0%">
                  <c:v>0.58988330525481703</c:v>
                </c:pt>
                <c:pt idx="1739" formatCode="0.0%">
                  <c:v>0.58988330525481703</c:v>
                </c:pt>
                <c:pt idx="1740" formatCode="0.0%">
                  <c:v>0.60202703200139529</c:v>
                </c:pt>
                <c:pt idx="1741" formatCode="0.0%">
                  <c:v>0.6031064760482715</c:v>
                </c:pt>
                <c:pt idx="1742" formatCode="0.0%">
                  <c:v>0.60944821921405889</c:v>
                </c:pt>
                <c:pt idx="1743" formatCode="0.0%">
                  <c:v>0.61727416977313287</c:v>
                </c:pt>
                <c:pt idx="1744" formatCode="0.0%">
                  <c:v>0.61538512391032041</c:v>
                </c:pt>
                <c:pt idx="1745" formatCode="0.0%">
                  <c:v>0.61538512391032041</c:v>
                </c:pt>
                <c:pt idx="1746" formatCode="0.0%">
                  <c:v>0.61538512391032041</c:v>
                </c:pt>
                <c:pt idx="1747" formatCode="0.0%">
                  <c:v>0.60459075856467337</c:v>
                </c:pt>
                <c:pt idx="1748" formatCode="0.0%">
                  <c:v>0.59055798595528275</c:v>
                </c:pt>
                <c:pt idx="1749" formatCode="0.0%">
                  <c:v>0.60567020261154969</c:v>
                </c:pt>
                <c:pt idx="1750" formatCode="0.0%">
                  <c:v>0.59878869986076666</c:v>
                </c:pt>
                <c:pt idx="1751" formatCode="0.0%">
                  <c:v>0.58772441716106416</c:v>
                </c:pt>
                <c:pt idx="1752" formatCode="0.0%">
                  <c:v>0.58772441716106416</c:v>
                </c:pt>
                <c:pt idx="1753" formatCode="0.0%">
                  <c:v>0.58772441716106416</c:v>
                </c:pt>
                <c:pt idx="1754" formatCode="0.0%">
                  <c:v>0.60634480818890035</c:v>
                </c:pt>
                <c:pt idx="1755" formatCode="0.0%">
                  <c:v>0.6106625843764053</c:v>
                </c:pt>
                <c:pt idx="1756" formatCode="0.0%">
                  <c:v>0.61228178800827715</c:v>
                </c:pt>
                <c:pt idx="1757" formatCode="0.0%">
                  <c:v>0.6106625843764053</c:v>
                </c:pt>
                <c:pt idx="1758" formatCode="0.0%">
                  <c:v>0.6179488504735986</c:v>
                </c:pt>
                <c:pt idx="1759" formatCode="0.0%">
                  <c:v>0.6179488504735986</c:v>
                </c:pt>
                <c:pt idx="1760" formatCode="0.0%">
                  <c:v>0.6179488504735986</c:v>
                </c:pt>
                <c:pt idx="1761" formatCode="0.0%">
                  <c:v>0.62429051851627038</c:v>
                </c:pt>
                <c:pt idx="1762" formatCode="0.0%">
                  <c:v>0.62402067628532987</c:v>
                </c:pt>
                <c:pt idx="1763" formatCode="0.0%">
                  <c:v>0.60337631827921168</c:v>
                </c:pt>
                <c:pt idx="1764" formatCode="0.0%">
                  <c:v>0.60283663381733132</c:v>
                </c:pt>
                <c:pt idx="1765" formatCode="0.0%">
                  <c:v>0.59196639412501184</c:v>
                </c:pt>
                <c:pt idx="1766" formatCode="0.0%">
                  <c:v>0.59196639412501184</c:v>
                </c:pt>
                <c:pt idx="1767" formatCode="0.0%">
                  <c:v>0.59196639412501184</c:v>
                </c:pt>
                <c:pt idx="1768" formatCode="0.0%">
                  <c:v>0.58812925563058993</c:v>
                </c:pt>
                <c:pt idx="1769" formatCode="0.0%">
                  <c:v>0.58853401897700053</c:v>
                </c:pt>
                <c:pt idx="1770" formatCode="0.0%">
                  <c:v>0.58408132167402527</c:v>
                </c:pt>
                <c:pt idx="1771" formatCode="0.0%">
                  <c:v>0.56438148659931298</c:v>
                </c:pt>
                <c:pt idx="1772" formatCode="0.0%">
                  <c:v>0.55061863134397815</c:v>
                </c:pt>
                <c:pt idx="1773" formatCode="0.0%">
                  <c:v>0.55061863134397815</c:v>
                </c:pt>
                <c:pt idx="1774" formatCode="0.0%">
                  <c:v>0.55061863134397815</c:v>
                </c:pt>
                <c:pt idx="1775" formatCode="0.0%">
                  <c:v>0.57531084818354539</c:v>
                </c:pt>
                <c:pt idx="1776" formatCode="0.0%">
                  <c:v>0.57625537111495162</c:v>
                </c:pt>
                <c:pt idx="1777" formatCode="0.0%">
                  <c:v>0.59177235111762883</c:v>
                </c:pt>
                <c:pt idx="1778" formatCode="0.0%">
                  <c:v>0.58300187762714928</c:v>
                </c:pt>
                <c:pt idx="1779" formatCode="0.0%">
                  <c:v>0.56869926278681793</c:v>
                </c:pt>
                <c:pt idx="1780" formatCode="0.0%">
                  <c:v>0.56869926278681793</c:v>
                </c:pt>
                <c:pt idx="1781" formatCode="0.0%">
                  <c:v>0.56869926278681793</c:v>
                </c:pt>
                <c:pt idx="1782" formatCode="0.0%">
                  <c:v>0.57099307199604055</c:v>
                </c:pt>
                <c:pt idx="1783" formatCode="0.0%">
                  <c:v>0.53833998348192924</c:v>
                </c:pt>
                <c:pt idx="1784" formatCode="0.0%">
                  <c:v>0.55385696348460667</c:v>
                </c:pt>
                <c:pt idx="1785" formatCode="0.0%">
                  <c:v>0.56627053246212566</c:v>
                </c:pt>
                <c:pt idx="1786" formatCode="0.0%">
                  <c:v>0.53361744394801403</c:v>
                </c:pt>
                <c:pt idx="1787" formatCode="0.0%">
                  <c:v>0.53361744394801403</c:v>
                </c:pt>
                <c:pt idx="1788" formatCode="0.0%">
                  <c:v>0.53361744394801403</c:v>
                </c:pt>
                <c:pt idx="1789" formatCode="0.0%">
                  <c:v>0.54805497990381524</c:v>
                </c:pt>
                <c:pt idx="1790" formatCode="0.0%">
                  <c:v>0.54427688817819075</c:v>
                </c:pt>
                <c:pt idx="1791" formatCode="0.0%">
                  <c:v>0.56492124618430917</c:v>
                </c:pt>
                <c:pt idx="1792" formatCode="0.0%">
                  <c:v>0.56505616729977903</c:v>
                </c:pt>
                <c:pt idx="1793" formatCode="0.0%">
                  <c:v>0.57207251604291687</c:v>
                </c:pt>
                <c:pt idx="1794" formatCode="0.0%">
                  <c:v>0.57207251604291687</c:v>
                </c:pt>
                <c:pt idx="1795" formatCode="0.0%">
                  <c:v>0.57108419633516372</c:v>
                </c:pt>
                <c:pt idx="1796" formatCode="0.0%">
                  <c:v>0.55952402594992801</c:v>
                </c:pt>
                <c:pt idx="1797" formatCode="0.0%">
                  <c:v>0.56154799292821023</c:v>
                </c:pt>
                <c:pt idx="1798" formatCode="0.0%">
                  <c:v>0.55034878911303797</c:v>
                </c:pt>
                <c:pt idx="1799" formatCode="0.0%">
                  <c:v>0.55574593422430352</c:v>
                </c:pt>
                <c:pt idx="1800" formatCode="0.0%">
                  <c:v>0.56654037469306562</c:v>
                </c:pt>
                <c:pt idx="1801" formatCode="0.0%">
                  <c:v>0.56654037469306562</c:v>
                </c:pt>
                <c:pt idx="1802" formatCode="0.0%">
                  <c:v>0.56654037469306562</c:v>
                </c:pt>
                <c:pt idx="1803" formatCode="0.0%">
                  <c:v>0.5641116443683728</c:v>
                </c:pt>
                <c:pt idx="1804" formatCode="0.0%">
                  <c:v>0.56006371041180814</c:v>
                </c:pt>
                <c:pt idx="1805" formatCode="0.0%">
                  <c:v>0.55898426636493215</c:v>
                </c:pt>
                <c:pt idx="1806" formatCode="0.0%">
                  <c:v>0.56519108841524934</c:v>
                </c:pt>
                <c:pt idx="1807" formatCode="0.0%">
                  <c:v>0.55965894706539809</c:v>
                </c:pt>
                <c:pt idx="1808" formatCode="0.0%">
                  <c:v>0.55965894706539809</c:v>
                </c:pt>
                <c:pt idx="1809" formatCode="0.0%">
                  <c:v>0.55965894706539809</c:v>
                </c:pt>
                <c:pt idx="1810" formatCode="0.0%">
                  <c:v>0.5521028387372644</c:v>
                </c:pt>
                <c:pt idx="1811" formatCode="0.0%">
                  <c:v>0.54238784231537862</c:v>
                </c:pt>
                <c:pt idx="1812" formatCode="0.0%">
                  <c:v>0.54576109557147734</c:v>
                </c:pt>
                <c:pt idx="1813" formatCode="0.0%">
                  <c:v>0.55426172683101693</c:v>
                </c:pt>
                <c:pt idx="1814" formatCode="0.0%">
                  <c:v>0.56006371041180814</c:v>
                </c:pt>
                <c:pt idx="1815" formatCode="0.0%">
                  <c:v>0.56006371041180814</c:v>
                </c:pt>
                <c:pt idx="1816" formatCode="0.0%">
                  <c:v>0.56006371041180814</c:v>
                </c:pt>
                <c:pt idx="1817" formatCode="0.0%">
                  <c:v>0.56235751962103075</c:v>
                </c:pt>
                <c:pt idx="1818" formatCode="0.0%">
                  <c:v>0.56950886460275429</c:v>
                </c:pt>
                <c:pt idx="1819" formatCode="0.0%">
                  <c:v>0.56950886460275429</c:v>
                </c:pt>
                <c:pt idx="1820" formatCode="0.0%">
                  <c:v>0.56950886460275429</c:v>
                </c:pt>
                <c:pt idx="1821" formatCode="0.0%">
                  <c:v>0.56950886460275429</c:v>
                </c:pt>
                <c:pt idx="1822" formatCode="0.0%">
                  <c:v>0.56950886460275429</c:v>
                </c:pt>
                <c:pt idx="1823" formatCode="0.0%">
                  <c:v>0.56950886460275429</c:v>
                </c:pt>
                <c:pt idx="1824" formatCode="0.0%">
                  <c:v>0.57773957850823821</c:v>
                </c:pt>
                <c:pt idx="1825" formatCode="0.0%">
                  <c:v>0.58138274911839261</c:v>
                </c:pt>
                <c:pt idx="1826" formatCode="0.0%">
                  <c:v>0.57523895536199487</c:v>
                </c:pt>
              </c:numCache>
            </c:numRef>
          </c:val>
          <c:smooth val="0"/>
          <c:extLst>
            <c:ext xmlns:c16="http://schemas.microsoft.com/office/drawing/2014/chart" uri="{C3380CC4-5D6E-409C-BE32-E72D297353CC}">
              <c16:uniqueId val="{00000005-C592-43EE-8D08-8400729D0F8F}"/>
            </c:ext>
          </c:extLst>
        </c:ser>
        <c:ser>
          <c:idx val="6"/>
          <c:order val="5"/>
          <c:tx>
            <c:strRef>
              <c:f>Sheet1!$H$1</c:f>
              <c:strCache>
                <c:ptCount val="1"/>
                <c:pt idx="0">
                  <c:v>Peer #6</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H$2:$H$2069</c:f>
              <c:numCache>
                <c:formatCode>0.00%</c:formatCode>
                <c:ptCount val="2068"/>
                <c:pt idx="0">
                  <c:v>0</c:v>
                </c:pt>
                <c:pt idx="1">
                  <c:v>0</c:v>
                </c:pt>
                <c:pt idx="2">
                  <c:v>0</c:v>
                </c:pt>
                <c:pt idx="3">
                  <c:v>0</c:v>
                </c:pt>
                <c:pt idx="4">
                  <c:v>-6.4297337966831951E-3</c:v>
                </c:pt>
                <c:pt idx="5">
                  <c:v>-8.20643438541282E-3</c:v>
                </c:pt>
                <c:pt idx="6">
                  <c:v>4.7377292994541164E-3</c:v>
                </c:pt>
                <c:pt idx="7">
                  <c:v>1.3028776414072638E-2</c:v>
                </c:pt>
                <c:pt idx="8">
                  <c:v>1.9627735669167236E-2</c:v>
                </c:pt>
                <c:pt idx="9">
                  <c:v>1.9627735669167236E-2</c:v>
                </c:pt>
                <c:pt idx="10">
                  <c:v>1.9627735669167236E-2</c:v>
                </c:pt>
                <c:pt idx="11">
                  <c:v>2.1912029270835943E-2</c:v>
                </c:pt>
                <c:pt idx="12">
                  <c:v>2.241962228377517E-2</c:v>
                </c:pt>
                <c:pt idx="13">
                  <c:v>2.4027097414093247E-2</c:v>
                </c:pt>
                <c:pt idx="14">
                  <c:v>3.0203076385454181E-2</c:v>
                </c:pt>
                <c:pt idx="15">
                  <c:v>1.9627735669167236E-2</c:v>
                </c:pt>
                <c:pt idx="16">
                  <c:v>1.9627735669167236E-2</c:v>
                </c:pt>
                <c:pt idx="17">
                  <c:v>1.9627735669167236E-2</c:v>
                </c:pt>
                <c:pt idx="18">
                  <c:v>2.3350278942742619E-2</c:v>
                </c:pt>
                <c:pt idx="19">
                  <c:v>2.3011828025920236E-2</c:v>
                </c:pt>
                <c:pt idx="20">
                  <c:v>3.7817305028722076E-2</c:v>
                </c:pt>
                <c:pt idx="21">
                  <c:v>3.8071059854044333E-2</c:v>
                </c:pt>
                <c:pt idx="22">
                  <c:v>3.2148919070300368E-2</c:v>
                </c:pt>
                <c:pt idx="23">
                  <c:v>3.2148919070300368E-2</c:v>
                </c:pt>
                <c:pt idx="24">
                  <c:v>3.2148919070300368E-2</c:v>
                </c:pt>
                <c:pt idx="25">
                  <c:v>3.900171651301193E-2</c:v>
                </c:pt>
                <c:pt idx="26">
                  <c:v>3.536378596864196E-2</c:v>
                </c:pt>
                <c:pt idx="27">
                  <c:v>2.6142165557350838E-2</c:v>
                </c:pt>
                <c:pt idx="28">
                  <c:v>2.1235210799485316E-2</c:v>
                </c:pt>
                <c:pt idx="29">
                  <c:v>9.3908458697025306E-3</c:v>
                </c:pt>
                <c:pt idx="30">
                  <c:v>9.3908458697025306E-3</c:v>
                </c:pt>
                <c:pt idx="31">
                  <c:v>-7.6143120055633057E-4</c:v>
                </c:pt>
                <c:pt idx="32">
                  <c:v>1.4044045802245933E-2</c:v>
                </c:pt>
                <c:pt idx="33">
                  <c:v>1.9796961127578356E-2</c:v>
                </c:pt>
                <c:pt idx="34">
                  <c:v>4.0752908239537505E-2</c:v>
                </c:pt>
                <c:pt idx="35">
                  <c:v>4.8396647135158871E-2</c:v>
                </c:pt>
                <c:pt idx="36">
                  <c:v>5.1059072105967405E-2</c:v>
                </c:pt>
                <c:pt idx="37">
                  <c:v>5.1059072105967405E-2</c:v>
                </c:pt>
                <c:pt idx="38">
                  <c:v>5.1059072105967405E-2</c:v>
                </c:pt>
                <c:pt idx="39">
                  <c:v>5.561098685034821E-2</c:v>
                </c:pt>
                <c:pt idx="40">
                  <c:v>5.3807360240403453E-2</c:v>
                </c:pt>
                <c:pt idx="41">
                  <c:v>4.9684928038749521E-2</c:v>
                </c:pt>
                <c:pt idx="42">
                  <c:v>5.5696850013975875E-2</c:v>
                </c:pt>
                <c:pt idx="43">
                  <c:v>5.7758066114802775E-2</c:v>
                </c:pt>
                <c:pt idx="44">
                  <c:v>5.7758066114802775E-2</c:v>
                </c:pt>
                <c:pt idx="45">
                  <c:v>5.7758066114802775E-2</c:v>
                </c:pt>
                <c:pt idx="46">
                  <c:v>6.5058268993619633E-2</c:v>
                </c:pt>
                <c:pt idx="47">
                  <c:v>6.4285333796383098E-2</c:v>
                </c:pt>
                <c:pt idx="48">
                  <c:v>6.2997052892792602E-2</c:v>
                </c:pt>
                <c:pt idx="49">
                  <c:v>5.0200190382808929E-2</c:v>
                </c:pt>
                <c:pt idx="50">
                  <c:v>5.5009777980366721E-2</c:v>
                </c:pt>
                <c:pt idx="51">
                  <c:v>5.5009777980366721E-2</c:v>
                </c:pt>
                <c:pt idx="52">
                  <c:v>5.5009777980366721E-2</c:v>
                </c:pt>
                <c:pt idx="53">
                  <c:v>4.221291547038291E-2</c:v>
                </c:pt>
                <c:pt idx="54">
                  <c:v>3.4311503721584702E-2</c:v>
                </c:pt>
                <c:pt idx="55">
                  <c:v>3.8949281629592887E-2</c:v>
                </c:pt>
                <c:pt idx="56">
                  <c:v>3.4655039738389064E-2</c:v>
                </c:pt>
                <c:pt idx="57">
                  <c:v>2.1600587737523113E-2</c:v>
                </c:pt>
                <c:pt idx="58">
                  <c:v>2.1600587737523113E-2</c:v>
                </c:pt>
                <c:pt idx="59">
                  <c:v>1.8336953896732809E-2</c:v>
                </c:pt>
                <c:pt idx="60">
                  <c:v>4.4445941260759694E-2</c:v>
                </c:pt>
                <c:pt idx="61">
                  <c:v>4.4445941260759694E-2</c:v>
                </c:pt>
                <c:pt idx="62">
                  <c:v>3.4826849427938955E-2</c:v>
                </c:pt>
                <c:pt idx="63">
                  <c:v>2.7354836859572344E-2</c:v>
                </c:pt>
                <c:pt idx="64">
                  <c:v>2.4692411888763671E-2</c:v>
                </c:pt>
                <c:pt idx="65">
                  <c:v>2.4692411888763671E-2</c:v>
                </c:pt>
                <c:pt idx="66">
                  <c:v>2.4692411888763671E-2</c:v>
                </c:pt>
                <c:pt idx="67">
                  <c:v>4.7709575101550002E-2</c:v>
                </c:pt>
                <c:pt idx="68">
                  <c:v>5.174614413957656E-2</c:v>
                </c:pt>
                <c:pt idx="69">
                  <c:v>5.3549770749521317E-2</c:v>
                </c:pt>
                <c:pt idx="70">
                  <c:v>6.1365235972397444E-2</c:v>
                </c:pt>
                <c:pt idx="71">
                  <c:v>5.7758066114802775E-2</c:v>
                </c:pt>
                <c:pt idx="72">
                  <c:v>5.7758066114802775E-2</c:v>
                </c:pt>
                <c:pt idx="73">
                  <c:v>5.7758066114802775E-2</c:v>
                </c:pt>
                <c:pt idx="74">
                  <c:v>5.9389883035197925E-2</c:v>
                </c:pt>
                <c:pt idx="75">
                  <c:v>7.4763307352362751E-2</c:v>
                </c:pt>
                <c:pt idx="76">
                  <c:v>6.6690085914014652E-2</c:v>
                </c:pt>
                <c:pt idx="77">
                  <c:v>7.2702091251535705E-2</c:v>
                </c:pt>
                <c:pt idx="78">
                  <c:v>6.3598261762774222E-2</c:v>
                </c:pt>
                <c:pt idx="79">
                  <c:v>6.3598261762774222E-2</c:v>
                </c:pt>
                <c:pt idx="80">
                  <c:v>6.3598261762774222E-2</c:v>
                </c:pt>
                <c:pt idx="81">
                  <c:v>6.6088960406328001E-2</c:v>
                </c:pt>
                <c:pt idx="82">
                  <c:v>6.9438457410745405E-2</c:v>
                </c:pt>
                <c:pt idx="83">
                  <c:v>6.6518359586759737E-2</c:v>
                </c:pt>
                <c:pt idx="84">
                  <c:v>5.8445138148411645E-2</c:v>
                </c:pt>
                <c:pt idx="85">
                  <c:v>7.3732699301949089E-2</c:v>
                </c:pt>
                <c:pt idx="86">
                  <c:v>7.3732699301949089E-2</c:v>
                </c:pt>
                <c:pt idx="87">
                  <c:v>7.3732699301949089E-2</c:v>
                </c:pt>
                <c:pt idx="88">
                  <c:v>7.9486948423998172E-2</c:v>
                </c:pt>
                <c:pt idx="89">
                  <c:v>8.5327144071969632E-2</c:v>
                </c:pt>
                <c:pt idx="90">
                  <c:v>8.5498870399224533E-2</c:v>
                </c:pt>
                <c:pt idx="91">
                  <c:v>8.5498870399224533E-2</c:v>
                </c:pt>
                <c:pt idx="92">
                  <c:v>8.5498870399224533E-2</c:v>
                </c:pt>
                <c:pt idx="93">
                  <c:v>8.5498870399224533E-2</c:v>
                </c:pt>
                <c:pt idx="94">
                  <c:v>8.5498870399224533E-2</c:v>
                </c:pt>
                <c:pt idx="95">
                  <c:v>8.5498870399224533E-2</c:v>
                </c:pt>
                <c:pt idx="96">
                  <c:v>0.10611128149437916</c:v>
                </c:pt>
                <c:pt idx="97">
                  <c:v>9.8553405762385318E-2</c:v>
                </c:pt>
                <c:pt idx="98">
                  <c:v>0.10301945734313861</c:v>
                </c:pt>
                <c:pt idx="99">
                  <c:v>0.10516653660759318</c:v>
                </c:pt>
                <c:pt idx="100">
                  <c:v>0.10516653660759318</c:v>
                </c:pt>
                <c:pt idx="101">
                  <c:v>0.10516653660759318</c:v>
                </c:pt>
                <c:pt idx="102">
                  <c:v>0.10585360864120204</c:v>
                </c:pt>
                <c:pt idx="103">
                  <c:v>0.10636895434755629</c:v>
                </c:pt>
                <c:pt idx="104">
                  <c:v>0.10757128872522471</c:v>
                </c:pt>
                <c:pt idx="105">
                  <c:v>0.11341148437319618</c:v>
                </c:pt>
                <c:pt idx="106">
                  <c:v>0.11856460798755847</c:v>
                </c:pt>
                <c:pt idx="107">
                  <c:v>0.11856460798755847</c:v>
                </c:pt>
                <c:pt idx="108">
                  <c:v>0.11856460798755847</c:v>
                </c:pt>
                <c:pt idx="109">
                  <c:v>0.11109259541919173</c:v>
                </c:pt>
                <c:pt idx="110">
                  <c:v>9.8467542598757798E-2</c:v>
                </c:pt>
                <c:pt idx="111">
                  <c:v>0.1036205828508254</c:v>
                </c:pt>
                <c:pt idx="112">
                  <c:v>0.10937491533516948</c:v>
                </c:pt>
                <c:pt idx="113">
                  <c:v>0.10757128872522471</c:v>
                </c:pt>
                <c:pt idx="114">
                  <c:v>0.10757128872522471</c:v>
                </c:pt>
                <c:pt idx="115">
                  <c:v>0.10757128872522471</c:v>
                </c:pt>
                <c:pt idx="116">
                  <c:v>0.11203734030597801</c:v>
                </c:pt>
                <c:pt idx="117">
                  <c:v>0.10989017767922875</c:v>
                </c:pt>
                <c:pt idx="118">
                  <c:v>0.10920310564561973</c:v>
                </c:pt>
                <c:pt idx="119">
                  <c:v>0.10353471968719802</c:v>
                </c:pt>
                <c:pt idx="120">
                  <c:v>0.10765723525114694</c:v>
                </c:pt>
                <c:pt idx="121">
                  <c:v>0.10765723525114694</c:v>
                </c:pt>
                <c:pt idx="122">
                  <c:v>0.10765723525114694</c:v>
                </c:pt>
                <c:pt idx="123">
                  <c:v>0.10671249036436052</c:v>
                </c:pt>
                <c:pt idx="124">
                  <c:v>9.5719171102027045E-2</c:v>
                </c:pt>
                <c:pt idx="125">
                  <c:v>0.10714188954479269</c:v>
                </c:pt>
                <c:pt idx="126">
                  <c:v>0.10164522991362589</c:v>
                </c:pt>
                <c:pt idx="127">
                  <c:v>0.11117845858281925</c:v>
                </c:pt>
                <c:pt idx="128">
                  <c:v>0.11117845858281925</c:v>
                </c:pt>
                <c:pt idx="129">
                  <c:v>0.11117845858281925</c:v>
                </c:pt>
                <c:pt idx="130">
                  <c:v>0.1086018967756381</c:v>
                </c:pt>
                <c:pt idx="131">
                  <c:v>8.6529561811932887E-2</c:v>
                </c:pt>
                <c:pt idx="132">
                  <c:v>8.7130687319619538E-2</c:v>
                </c:pt>
                <c:pt idx="133">
                  <c:v>8.7130687319619538E-2</c:v>
                </c:pt>
                <c:pt idx="134">
                  <c:v>8.7130687319619538E-2</c:v>
                </c:pt>
                <c:pt idx="135">
                  <c:v>8.7130687319619538E-2</c:v>
                </c:pt>
                <c:pt idx="136">
                  <c:v>8.7130687319619538E-2</c:v>
                </c:pt>
                <c:pt idx="137">
                  <c:v>9.3829764690749606E-2</c:v>
                </c:pt>
                <c:pt idx="138">
                  <c:v>9.3228555820768125E-2</c:v>
                </c:pt>
                <c:pt idx="139">
                  <c:v>7.3646752776027002E-2</c:v>
                </c:pt>
                <c:pt idx="140">
                  <c:v>9.1596738900372829E-2</c:v>
                </c:pt>
                <c:pt idx="141">
                  <c:v>0.10009935951915309</c:v>
                </c:pt>
                <c:pt idx="142">
                  <c:v>0.10009935951915309</c:v>
                </c:pt>
                <c:pt idx="143">
                  <c:v>0.10009935951915309</c:v>
                </c:pt>
                <c:pt idx="144">
                  <c:v>0.10009935951915309</c:v>
                </c:pt>
                <c:pt idx="145">
                  <c:v>0.1036205828508254</c:v>
                </c:pt>
                <c:pt idx="146">
                  <c:v>0.10344885652357078</c:v>
                </c:pt>
                <c:pt idx="147">
                  <c:v>0.10851603361201058</c:v>
                </c:pt>
                <c:pt idx="148">
                  <c:v>0.11177966745280088</c:v>
                </c:pt>
                <c:pt idx="149">
                  <c:v>0.11177966745280088</c:v>
                </c:pt>
                <c:pt idx="150">
                  <c:v>0.11177966745280088</c:v>
                </c:pt>
                <c:pt idx="151">
                  <c:v>0.10739956239796981</c:v>
                </c:pt>
                <c:pt idx="152">
                  <c:v>0.10817249759520635</c:v>
                </c:pt>
                <c:pt idx="153">
                  <c:v>0.11358329406274564</c:v>
                </c:pt>
                <c:pt idx="154">
                  <c:v>0.11401269324317752</c:v>
                </c:pt>
                <c:pt idx="155">
                  <c:v>0.119337543184795</c:v>
                </c:pt>
                <c:pt idx="156">
                  <c:v>0.119337543184795</c:v>
                </c:pt>
                <c:pt idx="157">
                  <c:v>0.119337543184795</c:v>
                </c:pt>
                <c:pt idx="158">
                  <c:v>0.11770572626439972</c:v>
                </c:pt>
                <c:pt idx="159">
                  <c:v>0.11976694236522661</c:v>
                </c:pt>
                <c:pt idx="160">
                  <c:v>0.11907987033161788</c:v>
                </c:pt>
                <c:pt idx="161">
                  <c:v>0.11976694236522661</c:v>
                </c:pt>
                <c:pt idx="162">
                  <c:v>0.12792602696720223</c:v>
                </c:pt>
                <c:pt idx="163">
                  <c:v>0.12792602696720223</c:v>
                </c:pt>
                <c:pt idx="164">
                  <c:v>0.12792602696720223</c:v>
                </c:pt>
                <c:pt idx="165">
                  <c:v>0.12801189013082961</c:v>
                </c:pt>
                <c:pt idx="166">
                  <c:v>0.12852723583718359</c:v>
                </c:pt>
                <c:pt idx="167">
                  <c:v>0.12809783665675198</c:v>
                </c:pt>
                <c:pt idx="168">
                  <c:v>0.13823219083363214</c:v>
                </c:pt>
                <c:pt idx="169">
                  <c:v>0.1322202688584059</c:v>
                </c:pt>
                <c:pt idx="170">
                  <c:v>0.1322202688584059</c:v>
                </c:pt>
                <c:pt idx="171">
                  <c:v>0.1322202688584059</c:v>
                </c:pt>
                <c:pt idx="172">
                  <c:v>0.13385208577880106</c:v>
                </c:pt>
                <c:pt idx="173">
                  <c:v>0.13900520939316321</c:v>
                </c:pt>
                <c:pt idx="174">
                  <c:v>0.13780279165320025</c:v>
                </c:pt>
                <c:pt idx="175">
                  <c:v>0.14518885769564435</c:v>
                </c:pt>
                <c:pt idx="176">
                  <c:v>0.14544653054882148</c:v>
                </c:pt>
                <c:pt idx="177">
                  <c:v>0.14544653054882148</c:v>
                </c:pt>
                <c:pt idx="178">
                  <c:v>0.14544653054882148</c:v>
                </c:pt>
                <c:pt idx="179">
                  <c:v>0.14888197407916137</c:v>
                </c:pt>
                <c:pt idx="180">
                  <c:v>0.15291854311718781</c:v>
                </c:pt>
                <c:pt idx="181">
                  <c:v>0.15386328800397409</c:v>
                </c:pt>
                <c:pt idx="182">
                  <c:v>0.15497975921801513</c:v>
                </c:pt>
                <c:pt idx="183">
                  <c:v>0.16133521721004571</c:v>
                </c:pt>
                <c:pt idx="184">
                  <c:v>0.16133521721004571</c:v>
                </c:pt>
                <c:pt idx="185">
                  <c:v>0.16133521721004571</c:v>
                </c:pt>
                <c:pt idx="186">
                  <c:v>0.16365410616404971</c:v>
                </c:pt>
                <c:pt idx="187">
                  <c:v>0.16064814517643683</c:v>
                </c:pt>
                <c:pt idx="188">
                  <c:v>0.16657420398803552</c:v>
                </c:pt>
                <c:pt idx="189">
                  <c:v>0.15317621597036493</c:v>
                </c:pt>
                <c:pt idx="190">
                  <c:v>0.16107762771916342</c:v>
                </c:pt>
                <c:pt idx="191">
                  <c:v>0.16107762771916342</c:v>
                </c:pt>
                <c:pt idx="192">
                  <c:v>0.16107762771916342</c:v>
                </c:pt>
                <c:pt idx="193">
                  <c:v>0.1684636937616078</c:v>
                </c:pt>
                <c:pt idx="194">
                  <c:v>0.17438975257320649</c:v>
                </c:pt>
                <c:pt idx="195">
                  <c:v>0.17438975257320649</c:v>
                </c:pt>
                <c:pt idx="196">
                  <c:v>0.166488340824408</c:v>
                </c:pt>
                <c:pt idx="197">
                  <c:v>0.16391177901722684</c:v>
                </c:pt>
                <c:pt idx="198">
                  <c:v>0.16391177901722684</c:v>
                </c:pt>
                <c:pt idx="199">
                  <c:v>0.16391177901722684</c:v>
                </c:pt>
                <c:pt idx="200">
                  <c:v>0.14089461580444079</c:v>
                </c:pt>
                <c:pt idx="201">
                  <c:v>0.15704097531884215</c:v>
                </c:pt>
                <c:pt idx="202">
                  <c:v>0.16434126155995371</c:v>
                </c:pt>
                <c:pt idx="203">
                  <c:v>0.16975197466519831</c:v>
                </c:pt>
                <c:pt idx="204">
                  <c:v>0.17713804070764255</c:v>
                </c:pt>
                <c:pt idx="205">
                  <c:v>0.17713804070764255</c:v>
                </c:pt>
                <c:pt idx="206">
                  <c:v>0.17713804070764255</c:v>
                </c:pt>
                <c:pt idx="207">
                  <c:v>0.1721567267828297</c:v>
                </c:pt>
                <c:pt idx="208">
                  <c:v>0.16374005268997224</c:v>
                </c:pt>
                <c:pt idx="209">
                  <c:v>0.17164146443877029</c:v>
                </c:pt>
                <c:pt idx="210">
                  <c:v>0.1730156085059886</c:v>
                </c:pt>
                <c:pt idx="211">
                  <c:v>0.16820602090843068</c:v>
                </c:pt>
                <c:pt idx="212">
                  <c:v>0.16657420398803552</c:v>
                </c:pt>
                <c:pt idx="213">
                  <c:v>0.16657420398803552</c:v>
                </c:pt>
                <c:pt idx="214">
                  <c:v>0.17232853647237945</c:v>
                </c:pt>
                <c:pt idx="215">
                  <c:v>0.17078258271561167</c:v>
                </c:pt>
                <c:pt idx="216">
                  <c:v>0.17782511274125157</c:v>
                </c:pt>
                <c:pt idx="217">
                  <c:v>0.18065934740160983</c:v>
                </c:pt>
                <c:pt idx="218">
                  <c:v>0.18632773336003156</c:v>
                </c:pt>
                <c:pt idx="219">
                  <c:v>0.18632773336003156</c:v>
                </c:pt>
                <c:pt idx="220">
                  <c:v>0.18632773336003156</c:v>
                </c:pt>
                <c:pt idx="221">
                  <c:v>0.1884748959867808</c:v>
                </c:pt>
                <c:pt idx="222">
                  <c:v>0.1919102561548256</c:v>
                </c:pt>
                <c:pt idx="223">
                  <c:v>0.19620449804602955</c:v>
                </c:pt>
                <c:pt idx="224">
                  <c:v>0.19543156284879301</c:v>
                </c:pt>
                <c:pt idx="225">
                  <c:v>0.19457268112563456</c:v>
                </c:pt>
                <c:pt idx="226">
                  <c:v>0.19457268112563456</c:v>
                </c:pt>
                <c:pt idx="227">
                  <c:v>0.19457268112563456</c:v>
                </c:pt>
                <c:pt idx="228">
                  <c:v>0.18675713254046328</c:v>
                </c:pt>
                <c:pt idx="229">
                  <c:v>0.19354207307522089</c:v>
                </c:pt>
                <c:pt idx="230">
                  <c:v>0.19354207307522089</c:v>
                </c:pt>
                <c:pt idx="231">
                  <c:v>0.17739571356081968</c:v>
                </c:pt>
                <c:pt idx="232">
                  <c:v>0.18589833417959967</c:v>
                </c:pt>
                <c:pt idx="233">
                  <c:v>0.18589833417959967</c:v>
                </c:pt>
                <c:pt idx="234">
                  <c:v>0.18589833417959967</c:v>
                </c:pt>
                <c:pt idx="235">
                  <c:v>0.1938856090920254</c:v>
                </c:pt>
                <c:pt idx="236">
                  <c:v>0.20006934075680122</c:v>
                </c:pt>
                <c:pt idx="237">
                  <c:v>0.200412876773606</c:v>
                </c:pt>
                <c:pt idx="238">
                  <c:v>0.19500208030606644</c:v>
                </c:pt>
                <c:pt idx="239">
                  <c:v>0.19963994157636947</c:v>
                </c:pt>
                <c:pt idx="240">
                  <c:v>0.19963994157636947</c:v>
                </c:pt>
                <c:pt idx="241">
                  <c:v>0.19963994157636947</c:v>
                </c:pt>
                <c:pt idx="242">
                  <c:v>0.20496479151798638</c:v>
                </c:pt>
                <c:pt idx="243">
                  <c:v>0.203934183467573</c:v>
                </c:pt>
                <c:pt idx="244">
                  <c:v>0.20444944581163241</c:v>
                </c:pt>
                <c:pt idx="245">
                  <c:v>0.20427771948437765</c:v>
                </c:pt>
                <c:pt idx="246">
                  <c:v>0.20264590256398235</c:v>
                </c:pt>
                <c:pt idx="247">
                  <c:v>0.20264590256398235</c:v>
                </c:pt>
                <c:pt idx="248">
                  <c:v>0.20264590256398235</c:v>
                </c:pt>
                <c:pt idx="249">
                  <c:v>0.21080490380366299</c:v>
                </c:pt>
                <c:pt idx="250">
                  <c:v>0.20642479874883193</c:v>
                </c:pt>
                <c:pt idx="251">
                  <c:v>0.20024106708405626</c:v>
                </c:pt>
                <c:pt idx="252">
                  <c:v>0.20444944581163241</c:v>
                </c:pt>
                <c:pt idx="253">
                  <c:v>0.19654803406283405</c:v>
                </c:pt>
                <c:pt idx="254">
                  <c:v>0.19654803406283405</c:v>
                </c:pt>
                <c:pt idx="255">
                  <c:v>0.19654803406283405</c:v>
                </c:pt>
                <c:pt idx="256">
                  <c:v>0.19740691578599281</c:v>
                </c:pt>
                <c:pt idx="257">
                  <c:v>0.19165258330164889</c:v>
                </c:pt>
                <c:pt idx="258">
                  <c:v>0.18967723036444922</c:v>
                </c:pt>
                <c:pt idx="259">
                  <c:v>0.19457268112563456</c:v>
                </c:pt>
                <c:pt idx="260">
                  <c:v>0.19397147225565292</c:v>
                </c:pt>
                <c:pt idx="261">
                  <c:v>0.19397147225565292</c:v>
                </c:pt>
                <c:pt idx="262">
                  <c:v>0.19397147225565292</c:v>
                </c:pt>
                <c:pt idx="263">
                  <c:v>0.17267207248918395</c:v>
                </c:pt>
                <c:pt idx="264">
                  <c:v>0.17335914452279283</c:v>
                </c:pt>
                <c:pt idx="265">
                  <c:v>0.18349358206196811</c:v>
                </c:pt>
                <c:pt idx="266">
                  <c:v>0.19792217813005195</c:v>
                </c:pt>
                <c:pt idx="267">
                  <c:v>0.19629036120965693</c:v>
                </c:pt>
                <c:pt idx="268">
                  <c:v>0.19629036120965693</c:v>
                </c:pt>
                <c:pt idx="269">
                  <c:v>0.19629036120965693</c:v>
                </c:pt>
                <c:pt idx="270">
                  <c:v>0.19869519668958333</c:v>
                </c:pt>
                <c:pt idx="271">
                  <c:v>0.17885580415395963</c:v>
                </c:pt>
                <c:pt idx="272">
                  <c:v>0.18392298124239986</c:v>
                </c:pt>
                <c:pt idx="273">
                  <c:v>0.17447561573683415</c:v>
                </c:pt>
                <c:pt idx="274">
                  <c:v>0.16966611150157093</c:v>
                </c:pt>
                <c:pt idx="275">
                  <c:v>0.16966611150157093</c:v>
                </c:pt>
                <c:pt idx="276">
                  <c:v>0.16966611150157093</c:v>
                </c:pt>
                <c:pt idx="277">
                  <c:v>0.16142116373596821</c:v>
                </c:pt>
                <c:pt idx="278">
                  <c:v>0.18100288341841433</c:v>
                </c:pt>
                <c:pt idx="279">
                  <c:v>0.17473328859001086</c:v>
                </c:pt>
                <c:pt idx="280">
                  <c:v>0.20084227595403761</c:v>
                </c:pt>
                <c:pt idx="281">
                  <c:v>0.19646217089920653</c:v>
                </c:pt>
                <c:pt idx="282">
                  <c:v>0.19646217089920653</c:v>
                </c:pt>
                <c:pt idx="283">
                  <c:v>0.19646217089920653</c:v>
                </c:pt>
                <c:pt idx="284">
                  <c:v>0.19826571414685645</c:v>
                </c:pt>
                <c:pt idx="285">
                  <c:v>0.18967723036444922</c:v>
                </c:pt>
                <c:pt idx="286">
                  <c:v>0.18830308629723105</c:v>
                </c:pt>
                <c:pt idx="287">
                  <c:v>0.20599539956840004</c:v>
                </c:pt>
                <c:pt idx="288">
                  <c:v>0.21681690914118407</c:v>
                </c:pt>
                <c:pt idx="289">
                  <c:v>0.21681690914118407</c:v>
                </c:pt>
                <c:pt idx="290">
                  <c:v>0.21681690914118407</c:v>
                </c:pt>
                <c:pt idx="291">
                  <c:v>0.21578621772847598</c:v>
                </c:pt>
                <c:pt idx="292">
                  <c:v>0.2217122765400748</c:v>
                </c:pt>
                <c:pt idx="293">
                  <c:v>0.22901256278118637</c:v>
                </c:pt>
                <c:pt idx="294">
                  <c:v>0.22686540015443696</c:v>
                </c:pt>
                <c:pt idx="295">
                  <c:v>0.22995722430567753</c:v>
                </c:pt>
                <c:pt idx="296">
                  <c:v>0.22995722430567753</c:v>
                </c:pt>
                <c:pt idx="297">
                  <c:v>0.22995722430567753</c:v>
                </c:pt>
                <c:pt idx="298">
                  <c:v>0.23158904122607255</c:v>
                </c:pt>
                <c:pt idx="299">
                  <c:v>0.24180934192887521</c:v>
                </c:pt>
                <c:pt idx="300">
                  <c:v>0.23433741272280342</c:v>
                </c:pt>
                <c:pt idx="301">
                  <c:v>0.23330680467239007</c:v>
                </c:pt>
                <c:pt idx="302">
                  <c:v>0.23742923687404399</c:v>
                </c:pt>
                <c:pt idx="303">
                  <c:v>0.23742923687404399</c:v>
                </c:pt>
                <c:pt idx="304">
                  <c:v>0.24112226989526589</c:v>
                </c:pt>
                <c:pt idx="305">
                  <c:v>0.24335529568564282</c:v>
                </c:pt>
                <c:pt idx="306">
                  <c:v>0.24618953034600111</c:v>
                </c:pt>
                <c:pt idx="307">
                  <c:v>0.24859428246363252</c:v>
                </c:pt>
                <c:pt idx="308">
                  <c:v>0.26096166243088975</c:v>
                </c:pt>
                <c:pt idx="309">
                  <c:v>0.26577125002844726</c:v>
                </c:pt>
                <c:pt idx="310">
                  <c:v>0.26577125002844726</c:v>
                </c:pt>
                <c:pt idx="311">
                  <c:v>0.26577125002844726</c:v>
                </c:pt>
                <c:pt idx="312">
                  <c:v>0.2632806347471886</c:v>
                </c:pt>
                <c:pt idx="313">
                  <c:v>0.26285115220446159</c:v>
                </c:pt>
                <c:pt idx="314">
                  <c:v>0.26834781183562867</c:v>
                </c:pt>
                <c:pt idx="315">
                  <c:v>0.26997962875602366</c:v>
                </c:pt>
                <c:pt idx="316">
                  <c:v>0.27547620502489578</c:v>
                </c:pt>
                <c:pt idx="317">
                  <c:v>0.27547620502489578</c:v>
                </c:pt>
                <c:pt idx="318">
                  <c:v>0.27547620502489578</c:v>
                </c:pt>
                <c:pt idx="319">
                  <c:v>0.28526710654726628</c:v>
                </c:pt>
                <c:pt idx="320">
                  <c:v>0.29188023739247398</c:v>
                </c:pt>
                <c:pt idx="321">
                  <c:v>0.29600275295642292</c:v>
                </c:pt>
                <c:pt idx="322">
                  <c:v>0.28792953151807493</c:v>
                </c:pt>
                <c:pt idx="323">
                  <c:v>0.29668982499003194</c:v>
                </c:pt>
                <c:pt idx="324">
                  <c:v>0.29668982499003194</c:v>
                </c:pt>
                <c:pt idx="325">
                  <c:v>0.29668982499003194</c:v>
                </c:pt>
                <c:pt idx="326">
                  <c:v>0.30879961546640655</c:v>
                </c:pt>
                <c:pt idx="327">
                  <c:v>0.2861259882704249</c:v>
                </c:pt>
                <c:pt idx="328">
                  <c:v>0.29359791747649666</c:v>
                </c:pt>
                <c:pt idx="329">
                  <c:v>0.29978164914127264</c:v>
                </c:pt>
                <c:pt idx="330">
                  <c:v>0.26104760895681195</c:v>
                </c:pt>
                <c:pt idx="331">
                  <c:v>0.26104760895681195</c:v>
                </c:pt>
                <c:pt idx="332">
                  <c:v>0.26104760895681195</c:v>
                </c:pt>
                <c:pt idx="333">
                  <c:v>0.26688772124248855</c:v>
                </c:pt>
                <c:pt idx="334">
                  <c:v>0.25486387729203597</c:v>
                </c:pt>
                <c:pt idx="335">
                  <c:v>0.26594305971799698</c:v>
                </c:pt>
                <c:pt idx="336">
                  <c:v>0.24902368164406455</c:v>
                </c:pt>
                <c:pt idx="337">
                  <c:v>0.24610358382007888</c:v>
                </c:pt>
                <c:pt idx="338">
                  <c:v>0.24610358382007888</c:v>
                </c:pt>
                <c:pt idx="339">
                  <c:v>0.24610358382007888</c:v>
                </c:pt>
                <c:pt idx="340">
                  <c:v>0.25683923022923566</c:v>
                </c:pt>
                <c:pt idx="341">
                  <c:v>0.29162256453929702</c:v>
                </c:pt>
                <c:pt idx="342">
                  <c:v>0.28320589044643923</c:v>
                </c:pt>
                <c:pt idx="343">
                  <c:v>0.28767185866489797</c:v>
                </c:pt>
                <c:pt idx="344">
                  <c:v>0.28260468157645791</c:v>
                </c:pt>
                <c:pt idx="345">
                  <c:v>0.28260468157645791</c:v>
                </c:pt>
                <c:pt idx="346">
                  <c:v>0.28260468157645791</c:v>
                </c:pt>
                <c:pt idx="347">
                  <c:v>0.2825188184128305</c:v>
                </c:pt>
                <c:pt idx="348">
                  <c:v>0.26791841265519678</c:v>
                </c:pt>
                <c:pt idx="349">
                  <c:v>0.26809013898245154</c:v>
                </c:pt>
                <c:pt idx="350">
                  <c:v>0.28397882564367566</c:v>
                </c:pt>
                <c:pt idx="351">
                  <c:v>0.27015135508327831</c:v>
                </c:pt>
                <c:pt idx="352">
                  <c:v>0.27015135508327831</c:v>
                </c:pt>
                <c:pt idx="353">
                  <c:v>0.27015135508327831</c:v>
                </c:pt>
                <c:pt idx="354">
                  <c:v>0.2434411588492702</c:v>
                </c:pt>
                <c:pt idx="355">
                  <c:v>0.25958751836367155</c:v>
                </c:pt>
                <c:pt idx="356">
                  <c:v>0.27229851771002783</c:v>
                </c:pt>
                <c:pt idx="357">
                  <c:v>0.28689892346766155</c:v>
                </c:pt>
                <c:pt idx="358">
                  <c:v>0.28689892346766155</c:v>
                </c:pt>
                <c:pt idx="359">
                  <c:v>0.28689892346766155</c:v>
                </c:pt>
                <c:pt idx="360">
                  <c:v>0.28689892346766155</c:v>
                </c:pt>
                <c:pt idx="361">
                  <c:v>0.29531568092281391</c:v>
                </c:pt>
                <c:pt idx="362">
                  <c:v>0.30390416470522152</c:v>
                </c:pt>
                <c:pt idx="363">
                  <c:v>0.29454266236328264</c:v>
                </c:pt>
                <c:pt idx="364">
                  <c:v>0.30373235501567164</c:v>
                </c:pt>
                <c:pt idx="365">
                  <c:v>0.29188023739247398</c:v>
                </c:pt>
                <c:pt idx="366">
                  <c:v>0.29188023739247398</c:v>
                </c:pt>
                <c:pt idx="367">
                  <c:v>0.29188023739247398</c:v>
                </c:pt>
                <c:pt idx="368">
                  <c:v>0.29978164914127264</c:v>
                </c:pt>
                <c:pt idx="369">
                  <c:v>0.30149932922529532</c:v>
                </c:pt>
                <c:pt idx="370">
                  <c:v>0.29531568092281391</c:v>
                </c:pt>
                <c:pt idx="371">
                  <c:v>0.27607741389487744</c:v>
                </c:pt>
                <c:pt idx="372">
                  <c:v>0.26405356994442514</c:v>
                </c:pt>
                <c:pt idx="373">
                  <c:v>0.26405356994442514</c:v>
                </c:pt>
                <c:pt idx="374">
                  <c:v>0.26405356994442514</c:v>
                </c:pt>
                <c:pt idx="375">
                  <c:v>0.24747781124959162</c:v>
                </c:pt>
                <c:pt idx="376">
                  <c:v>0.26199235384359798</c:v>
                </c:pt>
                <c:pt idx="377">
                  <c:v>0.27607741389487744</c:v>
                </c:pt>
                <c:pt idx="378">
                  <c:v>0.27040902793645544</c:v>
                </c:pt>
                <c:pt idx="379">
                  <c:v>0.2564098310488036</c:v>
                </c:pt>
                <c:pt idx="380">
                  <c:v>0.2564098310488036</c:v>
                </c:pt>
                <c:pt idx="381">
                  <c:v>0.2564098310488036</c:v>
                </c:pt>
                <c:pt idx="382">
                  <c:v>0.26422529627167962</c:v>
                </c:pt>
                <c:pt idx="383">
                  <c:v>0.25099903458126421</c:v>
                </c:pt>
                <c:pt idx="384">
                  <c:v>0.24636125667325601</c:v>
                </c:pt>
                <c:pt idx="385">
                  <c:v>0.25237317864848224</c:v>
                </c:pt>
                <c:pt idx="386">
                  <c:v>0.22368762947727433</c:v>
                </c:pt>
                <c:pt idx="387">
                  <c:v>0.22368762947727433</c:v>
                </c:pt>
                <c:pt idx="388">
                  <c:v>0.22368762947727433</c:v>
                </c:pt>
                <c:pt idx="389">
                  <c:v>0.18624187019640387</c:v>
                </c:pt>
                <c:pt idx="390">
                  <c:v>0.19646217089920653</c:v>
                </c:pt>
                <c:pt idx="391">
                  <c:v>0.20814247883285447</c:v>
                </c:pt>
                <c:pt idx="392">
                  <c:v>0.21733217148524361</c:v>
                </c:pt>
                <c:pt idx="393">
                  <c:v>0.19886692301683823</c:v>
                </c:pt>
                <c:pt idx="394">
                  <c:v>0.19886692301683823</c:v>
                </c:pt>
                <c:pt idx="395">
                  <c:v>0.19886692301683823</c:v>
                </c:pt>
                <c:pt idx="396">
                  <c:v>0.23528215760958943</c:v>
                </c:pt>
                <c:pt idx="397">
                  <c:v>0.23296326865558542</c:v>
                </c:pt>
                <c:pt idx="398">
                  <c:v>0.24661892952643313</c:v>
                </c:pt>
                <c:pt idx="399">
                  <c:v>0.22738074586079121</c:v>
                </c:pt>
                <c:pt idx="400">
                  <c:v>0.20874368770283611</c:v>
                </c:pt>
                <c:pt idx="401">
                  <c:v>0.20874368770283611</c:v>
                </c:pt>
                <c:pt idx="402">
                  <c:v>0.20874368770283611</c:v>
                </c:pt>
                <c:pt idx="403">
                  <c:v>0.22136874052327002</c:v>
                </c:pt>
                <c:pt idx="404">
                  <c:v>0.21561449140122108</c:v>
                </c:pt>
                <c:pt idx="405">
                  <c:v>0.2445323712879916</c:v>
                </c:pt>
                <c:pt idx="406">
                  <c:v>0.24258085996710022</c:v>
                </c:pt>
                <c:pt idx="407">
                  <c:v>0.23184754770219768</c:v>
                </c:pt>
                <c:pt idx="408">
                  <c:v>0.23184754770219768</c:v>
                </c:pt>
                <c:pt idx="409">
                  <c:v>0.23184754770219768</c:v>
                </c:pt>
                <c:pt idx="410">
                  <c:v>0.21375167756197969</c:v>
                </c:pt>
                <c:pt idx="411">
                  <c:v>0.22900897820251059</c:v>
                </c:pt>
                <c:pt idx="412">
                  <c:v>0.22395280493698194</c:v>
                </c:pt>
                <c:pt idx="413">
                  <c:v>0.22004978229519906</c:v>
                </c:pt>
                <c:pt idx="414">
                  <c:v>0.20603432976006417</c:v>
                </c:pt>
                <c:pt idx="415">
                  <c:v>0.20603432976006417</c:v>
                </c:pt>
                <c:pt idx="416">
                  <c:v>0.20603432976006417</c:v>
                </c:pt>
                <c:pt idx="417">
                  <c:v>0.19139799485337888</c:v>
                </c:pt>
                <c:pt idx="418">
                  <c:v>0.19405916938976561</c:v>
                </c:pt>
                <c:pt idx="419">
                  <c:v>0.1844790077486087</c:v>
                </c:pt>
                <c:pt idx="420">
                  <c:v>0.16549607942959496</c:v>
                </c:pt>
                <c:pt idx="421">
                  <c:v>0.19947013258189458</c:v>
                </c:pt>
                <c:pt idx="422">
                  <c:v>0.19947013258189458</c:v>
                </c:pt>
                <c:pt idx="423">
                  <c:v>0.19947013258189458</c:v>
                </c:pt>
                <c:pt idx="424">
                  <c:v>0.20541336402621879</c:v>
                </c:pt>
                <c:pt idx="425">
                  <c:v>0.20443760836577313</c:v>
                </c:pt>
                <c:pt idx="426">
                  <c:v>0.21162277127778822</c:v>
                </c:pt>
                <c:pt idx="427">
                  <c:v>0.21055831813569242</c:v>
                </c:pt>
                <c:pt idx="428" formatCode="0.0%">
                  <c:v>0.19955883006354469</c:v>
                </c:pt>
                <c:pt idx="429" formatCode="0.0%">
                  <c:v>0.19955883006354469</c:v>
                </c:pt>
                <c:pt idx="430" formatCode="0.0%">
                  <c:v>0.19955883006354469</c:v>
                </c:pt>
                <c:pt idx="431" formatCode="0.0%">
                  <c:v>0.18864812283534177</c:v>
                </c:pt>
                <c:pt idx="432" formatCode="0.0%">
                  <c:v>0.16656061593398561</c:v>
                </c:pt>
                <c:pt idx="433" formatCode="0.0%">
                  <c:v>0.182172706501117</c:v>
                </c:pt>
                <c:pt idx="434" formatCode="0.0%">
                  <c:v>0.17507624107075201</c:v>
                </c:pt>
                <c:pt idx="435" formatCode="0.0%">
                  <c:v>0.1876723671748961</c:v>
                </c:pt>
                <c:pt idx="436" formatCode="0.0%">
                  <c:v>0.1876723671748961</c:v>
                </c:pt>
                <c:pt idx="437" formatCode="0.0%">
                  <c:v>0.1876723671748961</c:v>
                </c:pt>
                <c:pt idx="438" formatCode="0.0%">
                  <c:v>0.17401178792865621</c:v>
                </c:pt>
                <c:pt idx="439" formatCode="0.0%">
                  <c:v>0.17986632189133062</c:v>
                </c:pt>
                <c:pt idx="440" formatCode="0.0%">
                  <c:v>0.21029214232844723</c:v>
                </c:pt>
                <c:pt idx="441" formatCode="0.0%">
                  <c:v>0.20834063100755601</c:v>
                </c:pt>
                <c:pt idx="442" formatCode="0.0%">
                  <c:v>0.22971855805571123</c:v>
                </c:pt>
                <c:pt idx="443" formatCode="0.0%">
                  <c:v>0.22971855805571123</c:v>
                </c:pt>
                <c:pt idx="444" formatCode="0.0%">
                  <c:v>0.22971855805571123</c:v>
                </c:pt>
                <c:pt idx="445" formatCode="0.0%">
                  <c:v>0.23832296403642231</c:v>
                </c:pt>
                <c:pt idx="446" formatCode="0.0%">
                  <c:v>0.2519835432826622</c:v>
                </c:pt>
                <c:pt idx="447" formatCode="0.0%">
                  <c:v>0.24781442819592911</c:v>
                </c:pt>
                <c:pt idx="448" formatCode="0.0%">
                  <c:v>0.24843539392977448</c:v>
                </c:pt>
                <c:pt idx="449" formatCode="0.0%">
                  <c:v>0.24896757881967502</c:v>
                </c:pt>
                <c:pt idx="450" formatCode="0.0%">
                  <c:v>0.24896757881967502</c:v>
                </c:pt>
                <c:pt idx="451" formatCode="0.0%">
                  <c:v>0.24896757881967502</c:v>
                </c:pt>
                <c:pt idx="452" formatCode="0.0%">
                  <c:v>0.25491081026399925</c:v>
                </c:pt>
                <c:pt idx="453" formatCode="0.0%">
                  <c:v>0.26005576437347272</c:v>
                </c:pt>
                <c:pt idx="454" formatCode="0.0%">
                  <c:v>0.2565962291399404</c:v>
                </c:pt>
                <c:pt idx="455" formatCode="0.0%">
                  <c:v>0.23761338418322153</c:v>
                </c:pt>
                <c:pt idx="456" formatCode="0.0%">
                  <c:v>0.24808052064087932</c:v>
                </c:pt>
                <c:pt idx="457" formatCode="0.0%">
                  <c:v>0.24808052064087932</c:v>
                </c:pt>
                <c:pt idx="458" formatCode="0.0%">
                  <c:v>0.24808052064087932</c:v>
                </c:pt>
                <c:pt idx="459" formatCode="0.0%">
                  <c:v>0.26138630996051887</c:v>
                </c:pt>
                <c:pt idx="460" formatCode="0.0%">
                  <c:v>0.26218467065766432</c:v>
                </c:pt>
                <c:pt idx="461" formatCode="0.0%">
                  <c:v>0.23912132473356792</c:v>
                </c:pt>
                <c:pt idx="462" formatCode="0.0%">
                  <c:v>0.23566187286233031</c:v>
                </c:pt>
                <c:pt idx="463" formatCode="0.0%">
                  <c:v>0.24941114959022032</c:v>
                </c:pt>
                <c:pt idx="464" formatCode="0.0%">
                  <c:v>0.24941114959022032</c:v>
                </c:pt>
                <c:pt idx="465" formatCode="0.0%">
                  <c:v>0.24941114959022032</c:v>
                </c:pt>
                <c:pt idx="466" formatCode="0.0%">
                  <c:v>0.23069431371615706</c:v>
                </c:pt>
                <c:pt idx="467" formatCode="0.0%">
                  <c:v>0.23069431371615706</c:v>
                </c:pt>
                <c:pt idx="468" formatCode="0.0%">
                  <c:v>0.22962986057406126</c:v>
                </c:pt>
                <c:pt idx="469" formatCode="0.0%">
                  <c:v>0.22962986057406126</c:v>
                </c:pt>
                <c:pt idx="470" formatCode="0.0%">
                  <c:v>0.22962986057406126</c:v>
                </c:pt>
                <c:pt idx="471" formatCode="0.0%">
                  <c:v>0.22962986057406126</c:v>
                </c:pt>
                <c:pt idx="472" formatCode="0.0%">
                  <c:v>0.22962986057406126</c:v>
                </c:pt>
                <c:pt idx="473" formatCode="0.0%">
                  <c:v>0.22962986057406126</c:v>
                </c:pt>
                <c:pt idx="474" formatCode="0.0%">
                  <c:v>0.24000838291236362</c:v>
                </c:pt>
                <c:pt idx="475" formatCode="0.0%">
                  <c:v>0.2443549763246915</c:v>
                </c:pt>
                <c:pt idx="476" formatCode="0.0%">
                  <c:v>0.24426619548074682</c:v>
                </c:pt>
                <c:pt idx="477" formatCode="0.0%">
                  <c:v>0.21472743322242535</c:v>
                </c:pt>
                <c:pt idx="478" formatCode="0.0%">
                  <c:v>0.21472743322242535</c:v>
                </c:pt>
                <c:pt idx="479" formatCode="0.0%">
                  <c:v>0.21472743322242535</c:v>
                </c:pt>
                <c:pt idx="480" formatCode="0.0%">
                  <c:v>0.19317211121096989</c:v>
                </c:pt>
                <c:pt idx="481" formatCode="0.0%">
                  <c:v>0.19680904140780256</c:v>
                </c:pt>
                <c:pt idx="482" formatCode="0.0%">
                  <c:v>0.20222000459993153</c:v>
                </c:pt>
                <c:pt idx="483" formatCode="0.0%">
                  <c:v>0.20621172472336441</c:v>
                </c:pt>
                <c:pt idx="484" formatCode="0.0%">
                  <c:v>0.21188886372273827</c:v>
                </c:pt>
                <c:pt idx="485" formatCode="0.0%">
                  <c:v>0.19654286560055736</c:v>
                </c:pt>
                <c:pt idx="486" formatCode="0.0%">
                  <c:v>0.19654286560055736</c:v>
                </c:pt>
                <c:pt idx="487" formatCode="0.0%">
                  <c:v>0.19423656435306569</c:v>
                </c:pt>
                <c:pt idx="488" formatCode="0.0%">
                  <c:v>0.19326080869262</c:v>
                </c:pt>
                <c:pt idx="489" formatCode="0.0%">
                  <c:v>0.1896238784957876</c:v>
                </c:pt>
                <c:pt idx="490" formatCode="0.0%">
                  <c:v>0.18820463542709148</c:v>
                </c:pt>
                <c:pt idx="491" formatCode="0.0%">
                  <c:v>0.16744759075048662</c:v>
                </c:pt>
                <c:pt idx="492" formatCode="0.0%">
                  <c:v>0.16744759075048662</c:v>
                </c:pt>
                <c:pt idx="493" formatCode="0.0%">
                  <c:v>0.16744759075048662</c:v>
                </c:pt>
                <c:pt idx="494" formatCode="0.0%">
                  <c:v>0.14438432818868491</c:v>
                </c:pt>
                <c:pt idx="495" formatCode="0.0%">
                  <c:v>0.14092479295515248</c:v>
                </c:pt>
                <c:pt idx="496" formatCode="0.0%">
                  <c:v>0.14482781559693536</c:v>
                </c:pt>
                <c:pt idx="497" formatCode="0.0%">
                  <c:v>0.1381749209371155</c:v>
                </c:pt>
                <c:pt idx="498" formatCode="0.0%">
                  <c:v>0.1381749209371155</c:v>
                </c:pt>
                <c:pt idx="499" formatCode="0.0%">
                  <c:v>0.1381749209371155</c:v>
                </c:pt>
                <c:pt idx="500" formatCode="0.0%">
                  <c:v>0.1381749209371155</c:v>
                </c:pt>
                <c:pt idx="501" formatCode="0.0%">
                  <c:v>0.15884326813207011</c:v>
                </c:pt>
                <c:pt idx="502" formatCode="0.0%">
                  <c:v>0.15928675554032054</c:v>
                </c:pt>
                <c:pt idx="503" formatCode="0.0%">
                  <c:v>0.15662558100393384</c:v>
                </c:pt>
                <c:pt idx="504" formatCode="0.0%">
                  <c:v>0.12380476183767514</c:v>
                </c:pt>
                <c:pt idx="505" formatCode="0.0%">
                  <c:v>0.12797387692440837</c:v>
                </c:pt>
                <c:pt idx="506" formatCode="0.0%">
                  <c:v>0.12797387692440837</c:v>
                </c:pt>
                <c:pt idx="507" formatCode="0.0%">
                  <c:v>0.12797387692440837</c:v>
                </c:pt>
                <c:pt idx="508" formatCode="0.0%">
                  <c:v>0.12886093510320379</c:v>
                </c:pt>
                <c:pt idx="509" formatCode="0.0%">
                  <c:v>0.107837797981649</c:v>
                </c:pt>
                <c:pt idx="510" formatCode="0.0%">
                  <c:v>0.12983669076364948</c:v>
                </c:pt>
                <c:pt idx="511" formatCode="0.0%">
                  <c:v>0.12983669076364948</c:v>
                </c:pt>
                <c:pt idx="512" formatCode="0.0%">
                  <c:v>0.12983669076364948</c:v>
                </c:pt>
                <c:pt idx="513" formatCode="0.0%">
                  <c:v>0.12983669076364948</c:v>
                </c:pt>
                <c:pt idx="514" formatCode="0.0%">
                  <c:v>0.12983669076364948</c:v>
                </c:pt>
                <c:pt idx="515" formatCode="0.0%">
                  <c:v>0.1707297310207187</c:v>
                </c:pt>
                <c:pt idx="516" formatCode="0.0%">
                  <c:v>0.16904431214477783</c:v>
                </c:pt>
                <c:pt idx="517" formatCode="0.0%">
                  <c:v>0.16398813887924901</c:v>
                </c:pt>
                <c:pt idx="518" formatCode="0.0%">
                  <c:v>0.16141566182451214</c:v>
                </c:pt>
                <c:pt idx="519" formatCode="0.0%">
                  <c:v>0.16301238321880335</c:v>
                </c:pt>
                <c:pt idx="520" formatCode="0.0%">
                  <c:v>0.16301238321880335</c:v>
                </c:pt>
                <c:pt idx="521" formatCode="0.0%">
                  <c:v>0.16301238321880335</c:v>
                </c:pt>
                <c:pt idx="522" formatCode="0.0%">
                  <c:v>0.16301238321880335</c:v>
                </c:pt>
                <c:pt idx="523" formatCode="0.0%">
                  <c:v>0.1686008247365271</c:v>
                </c:pt>
                <c:pt idx="524" formatCode="0.0%">
                  <c:v>0.16452032376914943</c:v>
                </c:pt>
                <c:pt idx="525" formatCode="0.0%">
                  <c:v>0.15715784925612894</c:v>
                </c:pt>
                <c:pt idx="526" formatCode="0.0%">
                  <c:v>0.13028017817189991</c:v>
                </c:pt>
                <c:pt idx="527" formatCode="0.0%">
                  <c:v>0.13028017817189991</c:v>
                </c:pt>
                <c:pt idx="528" formatCode="0.0%">
                  <c:v>0.13028017817189991</c:v>
                </c:pt>
                <c:pt idx="529" formatCode="0.0%">
                  <c:v>9.6128730056300349E-2</c:v>
                </c:pt>
                <c:pt idx="530" formatCode="0.0%">
                  <c:v>9.5419066840804867E-2</c:v>
                </c:pt>
                <c:pt idx="531" formatCode="0.0%">
                  <c:v>0.10100750835852892</c:v>
                </c:pt>
                <c:pt idx="532" formatCode="0.0%">
                  <c:v>6.8718874082170769E-2</c:v>
                </c:pt>
                <c:pt idx="533" formatCode="0.0%">
                  <c:v>6.8807571563820738E-2</c:v>
                </c:pt>
                <c:pt idx="534" formatCode="0.0%">
                  <c:v>6.8807571563820738E-2</c:v>
                </c:pt>
                <c:pt idx="535" formatCode="0.0%">
                  <c:v>6.8807571563820738E-2</c:v>
                </c:pt>
                <c:pt idx="536" formatCode="0.0%">
                  <c:v>7.8032943278377329E-2</c:v>
                </c:pt>
                <c:pt idx="537" formatCode="0.0%">
                  <c:v>9.0540288538576444E-2</c:v>
                </c:pt>
                <c:pt idx="538" formatCode="0.0%">
                  <c:v>8.5040627864797214E-2</c:v>
                </c:pt>
                <c:pt idx="539" formatCode="0.0%">
                  <c:v>9.2137009932867497E-2</c:v>
                </c:pt>
                <c:pt idx="540" formatCode="0.0%">
                  <c:v>0.11440199515981846</c:v>
                </c:pt>
                <c:pt idx="541" formatCode="0.0%">
                  <c:v>0.11440199515981846</c:v>
                </c:pt>
                <c:pt idx="542" formatCode="0.0%">
                  <c:v>0.11440199515981846</c:v>
                </c:pt>
                <c:pt idx="543" formatCode="0.0%">
                  <c:v>0.11892598353544656</c:v>
                </c:pt>
                <c:pt idx="544" formatCode="0.0%">
                  <c:v>0.12300640114052967</c:v>
                </c:pt>
                <c:pt idx="545" formatCode="0.0%">
                  <c:v>0.11049897251803571</c:v>
                </c:pt>
                <c:pt idx="546" formatCode="0.0%">
                  <c:v>9.6217427537950609E-2</c:v>
                </c:pt>
                <c:pt idx="547" formatCode="0.0%">
                  <c:v>9.7281880680046409E-2</c:v>
                </c:pt>
                <c:pt idx="548" formatCode="0.0%">
                  <c:v>9.7281880680046409E-2</c:v>
                </c:pt>
                <c:pt idx="549" formatCode="0.0%">
                  <c:v>9.7281880680046409E-2</c:v>
                </c:pt>
                <c:pt idx="550" formatCode="0.0%">
                  <c:v>0.1040234728215161</c:v>
                </c:pt>
                <c:pt idx="551" formatCode="0.0%">
                  <c:v>0.10703943728450312</c:v>
                </c:pt>
                <c:pt idx="552" formatCode="0.0%">
                  <c:v>0.12912702754815414</c:v>
                </c:pt>
                <c:pt idx="553" formatCode="0.0%">
                  <c:v>0.15112592033015473</c:v>
                </c:pt>
                <c:pt idx="554" formatCode="0.0%">
                  <c:v>0.15600469863238331</c:v>
                </c:pt>
                <c:pt idx="555" formatCode="0.0%">
                  <c:v>0.15600469863238331</c:v>
                </c:pt>
                <c:pt idx="556" formatCode="0.0%">
                  <c:v>0.15600469863238331</c:v>
                </c:pt>
                <c:pt idx="557" formatCode="0.0%">
                  <c:v>0.15227907095390067</c:v>
                </c:pt>
                <c:pt idx="558" formatCode="0.0%">
                  <c:v>0.15236776843555064</c:v>
                </c:pt>
                <c:pt idx="559" formatCode="0.0%">
                  <c:v>0.13782013101051532</c:v>
                </c:pt>
                <c:pt idx="560" formatCode="0.0%">
                  <c:v>0.12868354013990355</c:v>
                </c:pt>
                <c:pt idx="561" formatCode="0.0%">
                  <c:v>0.14589226873903116</c:v>
                </c:pt>
                <c:pt idx="562" formatCode="0.0%">
                  <c:v>0.14589226873903116</c:v>
                </c:pt>
                <c:pt idx="563" formatCode="0.0%">
                  <c:v>0.14589226873903116</c:v>
                </c:pt>
                <c:pt idx="564" formatCode="0.0%">
                  <c:v>0.14855344327541786</c:v>
                </c:pt>
                <c:pt idx="565" formatCode="0.0%">
                  <c:v>0.14997268634411398</c:v>
                </c:pt>
                <c:pt idx="566" formatCode="0.0%">
                  <c:v>0.16638313760839082</c:v>
                </c:pt>
                <c:pt idx="567" formatCode="0.0%">
                  <c:v>0.16478649957639463</c:v>
                </c:pt>
                <c:pt idx="568" formatCode="0.0%">
                  <c:v>0.17481014862580152</c:v>
                </c:pt>
                <c:pt idx="569" formatCode="0.0%">
                  <c:v>0.17481014862580152</c:v>
                </c:pt>
                <c:pt idx="570" formatCode="0.0%">
                  <c:v>0.17481014862580152</c:v>
                </c:pt>
                <c:pt idx="571" formatCode="0.0%">
                  <c:v>0.16656061593398561</c:v>
                </c:pt>
                <c:pt idx="572" formatCode="0.0%">
                  <c:v>0.16673801089728599</c:v>
                </c:pt>
                <c:pt idx="573" formatCode="0.0%">
                  <c:v>0.17720514735494361</c:v>
                </c:pt>
                <c:pt idx="574" formatCode="0.0%">
                  <c:v>0.18687400647775049</c:v>
                </c:pt>
                <c:pt idx="575" formatCode="0.0%">
                  <c:v>0.20461508669136805</c:v>
                </c:pt>
                <c:pt idx="576" formatCode="0.0%">
                  <c:v>0.20461508669136805</c:v>
                </c:pt>
                <c:pt idx="577" formatCode="0.0%">
                  <c:v>0.20638911968666449</c:v>
                </c:pt>
                <c:pt idx="578" formatCode="0.0%">
                  <c:v>0.20284097033377677</c:v>
                </c:pt>
                <c:pt idx="579" formatCode="0.0%">
                  <c:v>0.20106685397618548</c:v>
                </c:pt>
                <c:pt idx="580" formatCode="0.0%">
                  <c:v>0.20958256247524659</c:v>
                </c:pt>
                <c:pt idx="581" formatCode="0.0%">
                  <c:v>0.21100180554394285</c:v>
                </c:pt>
                <c:pt idx="582" formatCode="0.0%">
                  <c:v>0.21321949267207913</c:v>
                </c:pt>
                <c:pt idx="583" formatCode="0.0%">
                  <c:v>0.21321949267207913</c:v>
                </c:pt>
                <c:pt idx="584" formatCode="0.0%">
                  <c:v>0.21321949267207913</c:v>
                </c:pt>
                <c:pt idx="585" formatCode="0.0%">
                  <c:v>0.21774339768541268</c:v>
                </c:pt>
                <c:pt idx="586" formatCode="0.0%">
                  <c:v>0.20337315522367747</c:v>
                </c:pt>
                <c:pt idx="587" formatCode="0.0%">
                  <c:v>0.21188886372273827</c:v>
                </c:pt>
                <c:pt idx="588" formatCode="0.0%">
                  <c:v>0.22546074548732803</c:v>
                </c:pt>
                <c:pt idx="589" formatCode="0.0%">
                  <c:v>0.22847670995031535</c:v>
                </c:pt>
                <c:pt idx="590" formatCode="0.0%">
                  <c:v>0.22847670995031535</c:v>
                </c:pt>
                <c:pt idx="591" formatCode="0.0%">
                  <c:v>0.22847670995031535</c:v>
                </c:pt>
                <c:pt idx="592" formatCode="0.0%">
                  <c:v>0.24142770934335431</c:v>
                </c:pt>
                <c:pt idx="593" formatCode="0.0%">
                  <c:v>0.2455968244300874</c:v>
                </c:pt>
                <c:pt idx="594" formatCode="0.0%">
                  <c:v>0.24204859171490484</c:v>
                </c:pt>
                <c:pt idx="595" formatCode="0.0%">
                  <c:v>0.24497585869624203</c:v>
                </c:pt>
                <c:pt idx="596" formatCode="0.0%">
                  <c:v>0.24089544109115907</c:v>
                </c:pt>
                <c:pt idx="597" formatCode="0.0%">
                  <c:v>0.24089544109115907</c:v>
                </c:pt>
                <c:pt idx="598" formatCode="0.0%">
                  <c:v>0.24089544109115907</c:v>
                </c:pt>
                <c:pt idx="599" formatCode="0.0%">
                  <c:v>0.22998473386295615</c:v>
                </c:pt>
                <c:pt idx="600" formatCode="0.0%">
                  <c:v>0.22297704927653611</c:v>
                </c:pt>
                <c:pt idx="601" formatCode="0.0%">
                  <c:v>0.22120293291894483</c:v>
                </c:pt>
                <c:pt idx="602" formatCode="0.0%">
                  <c:v>0.23317809328924355</c:v>
                </c:pt>
                <c:pt idx="603" formatCode="0.0%">
                  <c:v>0.21641285209836653</c:v>
                </c:pt>
                <c:pt idx="604" formatCode="0.0%">
                  <c:v>0.21641285209836653</c:v>
                </c:pt>
                <c:pt idx="605" formatCode="0.0%">
                  <c:v>0.21641285209836653</c:v>
                </c:pt>
                <c:pt idx="606" formatCode="0.0%">
                  <c:v>0.18935778605083711</c:v>
                </c:pt>
                <c:pt idx="607" formatCode="0.0%">
                  <c:v>0.17702775239164353</c:v>
                </c:pt>
                <c:pt idx="608" formatCode="0.0%">
                  <c:v>0.1659396502001404</c:v>
                </c:pt>
                <c:pt idx="609" formatCode="0.0%">
                  <c:v>0.15884326813207011</c:v>
                </c:pt>
                <c:pt idx="610" formatCode="0.0%">
                  <c:v>0.17472145114415169</c:v>
                </c:pt>
                <c:pt idx="611" formatCode="0.0%">
                  <c:v>0.17472145114415169</c:v>
                </c:pt>
                <c:pt idx="612" formatCode="0.0%">
                  <c:v>0.17472145114415169</c:v>
                </c:pt>
                <c:pt idx="613" formatCode="0.0%">
                  <c:v>0.16762506907608141</c:v>
                </c:pt>
                <c:pt idx="614" formatCode="0.0%">
                  <c:v>0.16664931341563574</c:v>
                </c:pt>
                <c:pt idx="615" formatCode="0.0%">
                  <c:v>0.15928675554032054</c:v>
                </c:pt>
                <c:pt idx="616" formatCode="0.0%">
                  <c:v>0.17401178792865621</c:v>
                </c:pt>
                <c:pt idx="617" formatCode="0.0%">
                  <c:v>0.18776106465654621</c:v>
                </c:pt>
                <c:pt idx="618" formatCode="0.0%">
                  <c:v>0.18776106465654621</c:v>
                </c:pt>
                <c:pt idx="619" formatCode="0.0%">
                  <c:v>0.18776106465654621</c:v>
                </c:pt>
                <c:pt idx="620" formatCode="0.0%">
                  <c:v>0.19272854044042462</c:v>
                </c:pt>
                <c:pt idx="621" formatCode="0.0%">
                  <c:v>0.17232636905271506</c:v>
                </c:pt>
                <c:pt idx="622" formatCode="0.0%">
                  <c:v>0.16265759329220303</c:v>
                </c:pt>
                <c:pt idx="623" formatCode="0.0%">
                  <c:v>0.15245646591720102</c:v>
                </c:pt>
                <c:pt idx="624" formatCode="0.0%">
                  <c:v>0.13640088794181907</c:v>
                </c:pt>
                <c:pt idx="625" formatCode="0.0%">
                  <c:v>0.13640088794181907</c:v>
                </c:pt>
                <c:pt idx="626" formatCode="0.0%">
                  <c:v>0.13640088794181907</c:v>
                </c:pt>
                <c:pt idx="627" formatCode="0.0%">
                  <c:v>0.14207794357889852</c:v>
                </c:pt>
                <c:pt idx="628" formatCode="0.0%">
                  <c:v>0.13507025899247835</c:v>
                </c:pt>
                <c:pt idx="629" formatCode="0.0%">
                  <c:v>0.14615844454627619</c:v>
                </c:pt>
                <c:pt idx="630" formatCode="0.0%">
                  <c:v>0.12832866685100838</c:v>
                </c:pt>
                <c:pt idx="631" formatCode="0.0%">
                  <c:v>0.11626480899905971</c:v>
                </c:pt>
                <c:pt idx="632" formatCode="0.0%">
                  <c:v>0.11626480899905971</c:v>
                </c:pt>
                <c:pt idx="633" formatCode="0.0%">
                  <c:v>0.11626480899905971</c:v>
                </c:pt>
                <c:pt idx="634" formatCode="0.0%">
                  <c:v>0.12203064548008385</c:v>
                </c:pt>
                <c:pt idx="635" formatCode="0.0%">
                  <c:v>0.12327249358547988</c:v>
                </c:pt>
                <c:pt idx="636" formatCode="0.0%">
                  <c:v>0.11848241276490129</c:v>
                </c:pt>
                <c:pt idx="637" formatCode="0.0%">
                  <c:v>9.178222000626704E-2</c:v>
                </c:pt>
                <c:pt idx="638" formatCode="0.0%">
                  <c:v>8.1137605223014622E-2</c:v>
                </c:pt>
                <c:pt idx="639" formatCode="0.0%">
                  <c:v>8.1137605223014622E-2</c:v>
                </c:pt>
                <c:pt idx="640" formatCode="0.0%">
                  <c:v>8.1137605223014622E-2</c:v>
                </c:pt>
                <c:pt idx="641" formatCode="0.0%">
                  <c:v>9.8701207111037095E-2</c:v>
                </c:pt>
                <c:pt idx="642" formatCode="0.0%">
                  <c:v>0.11999043667754236</c:v>
                </c:pt>
                <c:pt idx="643" formatCode="0.0%">
                  <c:v>0.11369233194432297</c:v>
                </c:pt>
                <c:pt idx="644" formatCode="0.0%">
                  <c:v>0.12486921497977094</c:v>
                </c:pt>
                <c:pt idx="645" formatCode="0.0%">
                  <c:v>0.1053541017708568</c:v>
                </c:pt>
                <c:pt idx="646" formatCode="0.0%">
                  <c:v>0.1053541017708568</c:v>
                </c:pt>
                <c:pt idx="647" formatCode="0.0%">
                  <c:v>0.1053541017708568</c:v>
                </c:pt>
                <c:pt idx="648" formatCode="0.0%">
                  <c:v>9.9499567808182976E-2</c:v>
                </c:pt>
                <c:pt idx="649" formatCode="0.0%">
                  <c:v>8.8766255543280007E-2</c:v>
                </c:pt>
                <c:pt idx="650" formatCode="0.0%">
                  <c:v>8.9564532878130765E-2</c:v>
                </c:pt>
                <c:pt idx="651" formatCode="0.0%">
                  <c:v>7.4307315599894536E-2</c:v>
                </c:pt>
                <c:pt idx="652" formatCode="0.0%">
                  <c:v>9.4354613698709219E-2</c:v>
                </c:pt>
                <c:pt idx="653" formatCode="0.0%">
                  <c:v>9.4354613698709219E-2</c:v>
                </c:pt>
                <c:pt idx="654" formatCode="0.0%">
                  <c:v>9.4354613698709219E-2</c:v>
                </c:pt>
                <c:pt idx="655" formatCode="0.0%">
                  <c:v>9.8789904592687203E-2</c:v>
                </c:pt>
                <c:pt idx="656" formatCode="0.0%">
                  <c:v>0.11253918132057691</c:v>
                </c:pt>
                <c:pt idx="657" formatCode="0.0%">
                  <c:v>0.10774910049999889</c:v>
                </c:pt>
                <c:pt idx="658" formatCode="0.0%">
                  <c:v>0.10792649546329884</c:v>
                </c:pt>
                <c:pt idx="659" formatCode="0.0%">
                  <c:v>9.834633382214221E-2</c:v>
                </c:pt>
                <c:pt idx="660" formatCode="0.0%">
                  <c:v>9.834633382214221E-2</c:v>
                </c:pt>
                <c:pt idx="661" formatCode="0.0%">
                  <c:v>9.834633382214221E-2</c:v>
                </c:pt>
                <c:pt idx="662" formatCode="0.0%">
                  <c:v>0.10659594987625297</c:v>
                </c:pt>
                <c:pt idx="663" formatCode="0.0%">
                  <c:v>0.12087749485633807</c:v>
                </c:pt>
                <c:pt idx="664" formatCode="0.0%">
                  <c:v>0.12265152785163451</c:v>
                </c:pt>
                <c:pt idx="665" formatCode="0.0%">
                  <c:v>0.12451434169087562</c:v>
                </c:pt>
                <c:pt idx="666" formatCode="0.0%">
                  <c:v>0.12868354013990355</c:v>
                </c:pt>
                <c:pt idx="667" formatCode="0.0%">
                  <c:v>0.12868354013990355</c:v>
                </c:pt>
                <c:pt idx="668" formatCode="0.0%">
                  <c:v>0.12868354013990355</c:v>
                </c:pt>
                <c:pt idx="669" formatCode="0.0%">
                  <c:v>0.13773143352886535</c:v>
                </c:pt>
                <c:pt idx="670" formatCode="0.0%">
                  <c:v>0.13719916527666995</c:v>
                </c:pt>
                <c:pt idx="671" formatCode="0.0%">
                  <c:v>0.13622340961622428</c:v>
                </c:pt>
                <c:pt idx="672" formatCode="0.0%">
                  <c:v>0.1183050178016012</c:v>
                </c:pt>
                <c:pt idx="673" formatCode="0.0%">
                  <c:v>0.11378102942597308</c:v>
                </c:pt>
                <c:pt idx="674" formatCode="0.0%">
                  <c:v>0.11378102942597308</c:v>
                </c:pt>
                <c:pt idx="675" formatCode="0.0%">
                  <c:v>0.11378102942597308</c:v>
                </c:pt>
                <c:pt idx="676" formatCode="0.0%">
                  <c:v>0.11528905333861389</c:v>
                </c:pt>
                <c:pt idx="677" formatCode="0.0%">
                  <c:v>0.12788517944275823</c:v>
                </c:pt>
                <c:pt idx="678" formatCode="0.0%">
                  <c:v>0.12105488981963816</c:v>
                </c:pt>
                <c:pt idx="679" formatCode="0.0%">
                  <c:v>0.14660193195452664</c:v>
                </c:pt>
                <c:pt idx="680" formatCode="0.0%">
                  <c:v>0.15316612913269623</c:v>
                </c:pt>
                <c:pt idx="681" formatCode="0.0%">
                  <c:v>0.15316612913269623</c:v>
                </c:pt>
                <c:pt idx="682" formatCode="0.0%">
                  <c:v>0.15316612913269623</c:v>
                </c:pt>
                <c:pt idx="683" formatCode="0.0%">
                  <c:v>0.14961789641751366</c:v>
                </c:pt>
                <c:pt idx="684" formatCode="0.0%">
                  <c:v>0.15476276716469242</c:v>
                </c:pt>
                <c:pt idx="685" formatCode="0.0%">
                  <c:v>0.13870718918931074</c:v>
                </c:pt>
                <c:pt idx="686" formatCode="0.0%">
                  <c:v>0.13303005018993688</c:v>
                </c:pt>
                <c:pt idx="687" formatCode="0.0%">
                  <c:v>0.14083609547350234</c:v>
                </c:pt>
                <c:pt idx="688" formatCode="0.0%">
                  <c:v>0.14083609547350234</c:v>
                </c:pt>
                <c:pt idx="689" formatCode="0.0%">
                  <c:v>0.14083609547350234</c:v>
                </c:pt>
                <c:pt idx="690" formatCode="0.0%">
                  <c:v>0.14722289768837199</c:v>
                </c:pt>
                <c:pt idx="691" formatCode="0.0%">
                  <c:v>0.15431927975644213</c:v>
                </c:pt>
                <c:pt idx="692" formatCode="0.0%">
                  <c:v>0.15751263918272954</c:v>
                </c:pt>
                <c:pt idx="693" formatCode="0.0%">
                  <c:v>0.15946415050362078</c:v>
                </c:pt>
                <c:pt idx="694" formatCode="0.0%">
                  <c:v>0.15715784925612894</c:v>
                </c:pt>
                <c:pt idx="695" formatCode="0.0%">
                  <c:v>0.15715784925612894</c:v>
                </c:pt>
                <c:pt idx="696" formatCode="0.0%">
                  <c:v>0.15715784925612894</c:v>
                </c:pt>
                <c:pt idx="697" formatCode="0.0%">
                  <c:v>0.15068234955960946</c:v>
                </c:pt>
                <c:pt idx="698" formatCode="0.0%">
                  <c:v>0.14979529138081404</c:v>
                </c:pt>
                <c:pt idx="699" formatCode="0.0%">
                  <c:v>0.17773741560713902</c:v>
                </c:pt>
                <c:pt idx="700" formatCode="0.0%">
                  <c:v>0.16354456810870374</c:v>
                </c:pt>
                <c:pt idx="701" formatCode="0.0%">
                  <c:v>0.16079477945296161</c:v>
                </c:pt>
                <c:pt idx="702" formatCode="0.0%">
                  <c:v>0.16079477945296161</c:v>
                </c:pt>
                <c:pt idx="703" formatCode="0.0%">
                  <c:v>0.16079477945296161</c:v>
                </c:pt>
                <c:pt idx="704" formatCode="0.0%">
                  <c:v>0.1512146178118047</c:v>
                </c:pt>
                <c:pt idx="705" formatCode="0.0%">
                  <c:v>0.13906197911591106</c:v>
                </c:pt>
                <c:pt idx="706" formatCode="0.0%">
                  <c:v>0.1391506765975612</c:v>
                </c:pt>
                <c:pt idx="707" formatCode="0.0%">
                  <c:v>0.1391506765975612</c:v>
                </c:pt>
                <c:pt idx="708" formatCode="0.0%">
                  <c:v>0.13959424736810647</c:v>
                </c:pt>
                <c:pt idx="709" formatCode="0.0%">
                  <c:v>0.13959424736810647</c:v>
                </c:pt>
                <c:pt idx="710" formatCode="0.0%">
                  <c:v>0.13959424736810647</c:v>
                </c:pt>
                <c:pt idx="711" formatCode="0.0%">
                  <c:v>0.13276395774498639</c:v>
                </c:pt>
                <c:pt idx="712" formatCode="0.0%">
                  <c:v>0.15085974452290984</c:v>
                </c:pt>
                <c:pt idx="713" formatCode="0.0%">
                  <c:v>0.14598096622068127</c:v>
                </c:pt>
                <c:pt idx="714" formatCode="0.0%">
                  <c:v>0.11369233194432297</c:v>
                </c:pt>
                <c:pt idx="715" formatCode="0.0%">
                  <c:v>0.1018945665373245</c:v>
                </c:pt>
                <c:pt idx="716" formatCode="0.0%">
                  <c:v>0.1018945665373245</c:v>
                </c:pt>
                <c:pt idx="717" formatCode="0.0%">
                  <c:v>0.1018945665373245</c:v>
                </c:pt>
                <c:pt idx="718" formatCode="0.0%">
                  <c:v>0.105176623445262</c:v>
                </c:pt>
                <c:pt idx="719" formatCode="0.0%">
                  <c:v>9.825763634049195E-2</c:v>
                </c:pt>
                <c:pt idx="720" formatCode="0.0%">
                  <c:v>0.11023288007308536</c:v>
                </c:pt>
                <c:pt idx="721" formatCode="0.0%">
                  <c:v>0.10222101328369845</c:v>
                </c:pt>
                <c:pt idx="722" formatCode="0.0%">
                  <c:v>9.8967299555987584E-2</c:v>
                </c:pt>
                <c:pt idx="723" formatCode="0.0%">
                  <c:v>9.8967299555987584E-2</c:v>
                </c:pt>
                <c:pt idx="724" formatCode="0.0%">
                  <c:v>9.8967299555987584E-2</c:v>
                </c:pt>
                <c:pt idx="725" formatCode="0.0%">
                  <c:v>9.8967299555987584E-2</c:v>
                </c:pt>
                <c:pt idx="726" formatCode="0.0%">
                  <c:v>9.7682853317956814E-2</c:v>
                </c:pt>
                <c:pt idx="727" formatCode="0.0%">
                  <c:v>9.6128730056300349E-2</c:v>
                </c:pt>
                <c:pt idx="728" formatCode="0.0%">
                  <c:v>0.10047532346862838</c:v>
                </c:pt>
                <c:pt idx="729" formatCode="0.0%">
                  <c:v>9.2137009932867497E-2</c:v>
                </c:pt>
                <c:pt idx="730" formatCode="0.0%">
                  <c:v>9.3467555519913648E-2</c:v>
                </c:pt>
                <c:pt idx="731" formatCode="0.0%">
                  <c:v>9.3467555519913648E-2</c:v>
                </c:pt>
                <c:pt idx="732" formatCode="0.0%">
                  <c:v>0.10588628666075721</c:v>
                </c:pt>
                <c:pt idx="733" formatCode="0.0%">
                  <c:v>0.10712813476615352</c:v>
                </c:pt>
                <c:pt idx="734" formatCode="0.0%">
                  <c:v>0.11289397124717752</c:v>
                </c:pt>
                <c:pt idx="735" formatCode="0.0%">
                  <c:v>0.114934180049719</c:v>
                </c:pt>
                <c:pt idx="736" formatCode="0.0%">
                  <c:v>0.120700016530743</c:v>
                </c:pt>
                <c:pt idx="737" formatCode="0.0%">
                  <c:v>0.120700016530743</c:v>
                </c:pt>
                <c:pt idx="738" formatCode="0.0%">
                  <c:v>0.120700016530743</c:v>
                </c:pt>
                <c:pt idx="739" formatCode="0.0%">
                  <c:v>0.1301914806902498</c:v>
                </c:pt>
                <c:pt idx="740" formatCode="0.0%">
                  <c:v>0.11848241276490129</c:v>
                </c:pt>
                <c:pt idx="741" formatCode="0.0%">
                  <c:v>0.12859475929595887</c:v>
                </c:pt>
                <c:pt idx="742" formatCode="0.0%">
                  <c:v>0.13391710836873244</c:v>
                </c:pt>
                <c:pt idx="743" formatCode="0.0%">
                  <c:v>0.1381749209371155</c:v>
                </c:pt>
                <c:pt idx="744" formatCode="0.0%">
                  <c:v>0.1381749209371155</c:v>
                </c:pt>
                <c:pt idx="745" formatCode="0.0%">
                  <c:v>0.1381749209371155</c:v>
                </c:pt>
                <c:pt idx="746" formatCode="0.0%">
                  <c:v>0.14278760679439387</c:v>
                </c:pt>
                <c:pt idx="747" formatCode="0.0%">
                  <c:v>0.14748899013332206</c:v>
                </c:pt>
                <c:pt idx="748" formatCode="0.0%">
                  <c:v>0.14606966370233138</c:v>
                </c:pt>
                <c:pt idx="749" formatCode="0.0%">
                  <c:v>0.12877223762155368</c:v>
                </c:pt>
                <c:pt idx="750" formatCode="0.0%">
                  <c:v>0.13249786530003632</c:v>
                </c:pt>
                <c:pt idx="751" formatCode="0.0%">
                  <c:v>0.13249786530003632</c:v>
                </c:pt>
                <c:pt idx="752" formatCode="0.0%">
                  <c:v>0.13249786530003632</c:v>
                </c:pt>
                <c:pt idx="753" formatCode="0.0%">
                  <c:v>0.1490857115276131</c:v>
                </c:pt>
                <c:pt idx="754" formatCode="0.0%">
                  <c:v>0.14864214075706811</c:v>
                </c:pt>
                <c:pt idx="755" formatCode="0.0%">
                  <c:v>0.13480416654752816</c:v>
                </c:pt>
                <c:pt idx="756" formatCode="0.0%">
                  <c:v>0.15644818604063374</c:v>
                </c:pt>
                <c:pt idx="757" formatCode="0.0%">
                  <c:v>0.16318977818210342</c:v>
                </c:pt>
                <c:pt idx="758" formatCode="0.0%">
                  <c:v>0.16318977818210342</c:v>
                </c:pt>
                <c:pt idx="759" formatCode="0.0%">
                  <c:v>0.16318977818210342</c:v>
                </c:pt>
                <c:pt idx="760" formatCode="0.0%">
                  <c:v>0.15644818604063374</c:v>
                </c:pt>
                <c:pt idx="761" formatCode="0.0%">
                  <c:v>0.16354456810870374</c:v>
                </c:pt>
                <c:pt idx="762" formatCode="0.0%">
                  <c:v>0.15644818604063374</c:v>
                </c:pt>
                <c:pt idx="763" formatCode="0.0%">
                  <c:v>0.1829709838359676</c:v>
                </c:pt>
                <c:pt idx="764" formatCode="0.0%">
                  <c:v>0.18312362019771711</c:v>
                </c:pt>
                <c:pt idx="765" formatCode="0.0%">
                  <c:v>0.18312362019771711</c:v>
                </c:pt>
                <c:pt idx="766" formatCode="0.0%">
                  <c:v>0.18312362019771711</c:v>
                </c:pt>
                <c:pt idx="767" formatCode="0.0%">
                  <c:v>0.18226140398276697</c:v>
                </c:pt>
                <c:pt idx="768" formatCode="0.0%">
                  <c:v>0.1832371596432128</c:v>
                </c:pt>
                <c:pt idx="769" formatCode="0.0%">
                  <c:v>0.18820463542709148</c:v>
                </c:pt>
                <c:pt idx="770" formatCode="0.0%">
                  <c:v>0.18953518101413722</c:v>
                </c:pt>
                <c:pt idx="771" formatCode="0.0%">
                  <c:v>0.17977762440968051</c:v>
                </c:pt>
                <c:pt idx="772" formatCode="0.0%">
                  <c:v>0.17977762440968051</c:v>
                </c:pt>
                <c:pt idx="773" formatCode="0.0%">
                  <c:v>0.17977762440968051</c:v>
                </c:pt>
                <c:pt idx="774" formatCode="0.0%">
                  <c:v>0.18944648353248708</c:v>
                </c:pt>
                <c:pt idx="775" formatCode="0.0%">
                  <c:v>0.18847072787204142</c:v>
                </c:pt>
                <c:pt idx="776" formatCode="0.0%">
                  <c:v>0.19388177442646537</c:v>
                </c:pt>
                <c:pt idx="777" formatCode="0.0%">
                  <c:v>0.19707513385275277</c:v>
                </c:pt>
                <c:pt idx="778" formatCode="0.0%">
                  <c:v>0.18385804201476333</c:v>
                </c:pt>
                <c:pt idx="779" formatCode="0.0%">
                  <c:v>0.18385804201476333</c:v>
                </c:pt>
                <c:pt idx="780" formatCode="0.0%">
                  <c:v>0.18385804201476333</c:v>
                </c:pt>
                <c:pt idx="781" formatCode="0.0%">
                  <c:v>0.18332585712486277</c:v>
                </c:pt>
                <c:pt idx="782" formatCode="0.0%">
                  <c:v>0.16802420774350707</c:v>
                </c:pt>
                <c:pt idx="783" formatCode="0.0%">
                  <c:v>0.1686008247365271</c:v>
                </c:pt>
                <c:pt idx="784" formatCode="0.0%">
                  <c:v>0.17418918289195645</c:v>
                </c:pt>
                <c:pt idx="785" formatCode="0.0%">
                  <c:v>0.16283498825550297</c:v>
                </c:pt>
                <c:pt idx="786" formatCode="0.0%">
                  <c:v>0.16283498825550297</c:v>
                </c:pt>
                <c:pt idx="787" formatCode="0.0%">
                  <c:v>0.16283498825550297</c:v>
                </c:pt>
                <c:pt idx="788" formatCode="0.0%">
                  <c:v>0.17250384737830998</c:v>
                </c:pt>
                <c:pt idx="789" formatCode="0.0%">
                  <c:v>0.1675363715944313</c:v>
                </c:pt>
                <c:pt idx="790" formatCode="0.0%">
                  <c:v>0.16327847566375353</c:v>
                </c:pt>
                <c:pt idx="791" formatCode="0.0%">
                  <c:v>0.17057626103602175</c:v>
                </c:pt>
                <c:pt idx="792" formatCode="0.0%">
                  <c:v>0.18243879894606721</c:v>
                </c:pt>
                <c:pt idx="793" formatCode="0.0%">
                  <c:v>0.18243879894606721</c:v>
                </c:pt>
                <c:pt idx="794" formatCode="0.0%">
                  <c:v>0.18243879894606721</c:v>
                </c:pt>
                <c:pt idx="795" formatCode="0.0%">
                  <c:v>0.18705148480334557</c:v>
                </c:pt>
                <c:pt idx="796" formatCode="0.0%">
                  <c:v>0.17614519577676618</c:v>
                </c:pt>
                <c:pt idx="797" formatCode="0.0%">
                  <c:v>0.17981046915382534</c:v>
                </c:pt>
                <c:pt idx="798" formatCode="0.0%">
                  <c:v>0.16436510317626188</c:v>
                </c:pt>
                <c:pt idx="799" formatCode="0.0%">
                  <c:v>0.14225542190449331</c:v>
                </c:pt>
                <c:pt idx="800" formatCode="0.0%">
                  <c:v>0.14225542190449331</c:v>
                </c:pt>
                <c:pt idx="801" formatCode="0.0%">
                  <c:v>0.14225542190449331</c:v>
                </c:pt>
                <c:pt idx="802" formatCode="0.0%">
                  <c:v>0.13054627061685012</c:v>
                </c:pt>
                <c:pt idx="803" formatCode="0.0%">
                  <c:v>0.13746534108391487</c:v>
                </c:pt>
                <c:pt idx="804" formatCode="0.0%">
                  <c:v>0.13418320081368279</c:v>
                </c:pt>
                <c:pt idx="805" formatCode="0.0%">
                  <c:v>0.14376336245483956</c:v>
                </c:pt>
                <c:pt idx="806" formatCode="0.0%">
                  <c:v>0.13533635143742856</c:v>
                </c:pt>
                <c:pt idx="807" formatCode="0.0%">
                  <c:v>0.13533635143742856</c:v>
                </c:pt>
                <c:pt idx="808" formatCode="0.0%">
                  <c:v>0.13533635143742856</c:v>
                </c:pt>
                <c:pt idx="809" formatCode="0.0%">
                  <c:v>0.13986033981305668</c:v>
                </c:pt>
                <c:pt idx="810" formatCode="0.0%">
                  <c:v>0.14314239672099432</c:v>
                </c:pt>
                <c:pt idx="811" formatCode="0.0%">
                  <c:v>0.15015016466970907</c:v>
                </c:pt>
                <c:pt idx="812" formatCode="0.0%">
                  <c:v>0.14394075741813978</c:v>
                </c:pt>
                <c:pt idx="813" formatCode="0.0%">
                  <c:v>0.13764273604721494</c:v>
                </c:pt>
                <c:pt idx="814" formatCode="0.0%">
                  <c:v>0.13764273604721494</c:v>
                </c:pt>
                <c:pt idx="815" formatCode="0.0%">
                  <c:v>0.13764273604721494</c:v>
                </c:pt>
                <c:pt idx="816" formatCode="0.0%">
                  <c:v>0.14473911811528509</c:v>
                </c:pt>
                <c:pt idx="817" formatCode="0.0%">
                  <c:v>0.1380862234554654</c:v>
                </c:pt>
                <c:pt idx="818" formatCode="0.0%">
                  <c:v>0.14828735083046779</c:v>
                </c:pt>
                <c:pt idx="819" formatCode="0.0%">
                  <c:v>0.15414188479314192</c:v>
                </c:pt>
                <c:pt idx="820" formatCode="0.0%">
                  <c:v>0.17188288164446461</c:v>
                </c:pt>
                <c:pt idx="821" formatCode="0.0%">
                  <c:v>0.17188288164446461</c:v>
                </c:pt>
                <c:pt idx="822" formatCode="0.0%">
                  <c:v>0.17188288164446461</c:v>
                </c:pt>
                <c:pt idx="823" formatCode="0.0%">
                  <c:v>0.1700200678052235</c:v>
                </c:pt>
                <c:pt idx="824" formatCode="0.0%">
                  <c:v>0.16318977818210342</c:v>
                </c:pt>
                <c:pt idx="825" formatCode="0.0%">
                  <c:v>0.15866578980647547</c:v>
                </c:pt>
                <c:pt idx="826" formatCode="0.0%">
                  <c:v>0.15866578980647547</c:v>
                </c:pt>
                <c:pt idx="827" formatCode="0.0%">
                  <c:v>0.15866578980647547</c:v>
                </c:pt>
                <c:pt idx="828" formatCode="0.0%">
                  <c:v>0.15866578980647547</c:v>
                </c:pt>
                <c:pt idx="829" formatCode="0.0%">
                  <c:v>0.15866578980647547</c:v>
                </c:pt>
                <c:pt idx="830" formatCode="0.0%">
                  <c:v>0.15866578980647547</c:v>
                </c:pt>
                <c:pt idx="831" formatCode="0.0%">
                  <c:v>0.16877821969982734</c:v>
                </c:pt>
                <c:pt idx="832" formatCode="0.0%">
                  <c:v>0.16469780209474449</c:v>
                </c:pt>
                <c:pt idx="833" formatCode="0.0%">
                  <c:v>0.16363334895264869</c:v>
                </c:pt>
                <c:pt idx="834" formatCode="0.0%">
                  <c:v>0.16939910207137815</c:v>
                </c:pt>
                <c:pt idx="835" formatCode="0.0%">
                  <c:v>0.16939910207137815</c:v>
                </c:pt>
                <c:pt idx="836" formatCode="0.0%">
                  <c:v>0.16939910207137815</c:v>
                </c:pt>
                <c:pt idx="837" formatCode="0.0%">
                  <c:v>0.17791481057043909</c:v>
                </c:pt>
                <c:pt idx="838" formatCode="0.0%">
                  <c:v>0.17880186874923482</c:v>
                </c:pt>
                <c:pt idx="839" formatCode="0.0%">
                  <c:v>0.17756977403232838</c:v>
                </c:pt>
                <c:pt idx="840" formatCode="0.0%">
                  <c:v>0.17543111435964717</c:v>
                </c:pt>
                <c:pt idx="841" formatCode="0.0%">
                  <c:v>0.16727019578718655</c:v>
                </c:pt>
                <c:pt idx="842" formatCode="0.0%">
                  <c:v>0.16727019578718655</c:v>
                </c:pt>
                <c:pt idx="843" formatCode="0.0%">
                  <c:v>0.16727019578718655</c:v>
                </c:pt>
                <c:pt idx="844" formatCode="0.0%">
                  <c:v>0.16558486027353994</c:v>
                </c:pt>
                <c:pt idx="845" formatCode="0.0%">
                  <c:v>0.15691034660291578</c:v>
                </c:pt>
                <c:pt idx="846" formatCode="0.0%">
                  <c:v>0.14997268634411398</c:v>
                </c:pt>
                <c:pt idx="847" formatCode="0.0%">
                  <c:v>0.16346829160897641</c:v>
                </c:pt>
                <c:pt idx="848" formatCode="0.0%">
                  <c:v>0.16815725396598197</c:v>
                </c:pt>
                <c:pt idx="849" formatCode="0.0%">
                  <c:v>0.16815725396598197</c:v>
                </c:pt>
                <c:pt idx="850" formatCode="0.0%">
                  <c:v>0.16939910207137815</c:v>
                </c:pt>
                <c:pt idx="851" formatCode="0.0%">
                  <c:v>0.17606975289998658</c:v>
                </c:pt>
                <c:pt idx="852" formatCode="0.0%">
                  <c:v>0.16454249813956195</c:v>
                </c:pt>
                <c:pt idx="853" formatCode="0.0%">
                  <c:v>0.152117598188904</c:v>
                </c:pt>
                <c:pt idx="854" formatCode="0.0%">
                  <c:v>0.14677932691782686</c:v>
                </c:pt>
                <c:pt idx="855" formatCode="0.0%">
                  <c:v>0.14677932691782686</c:v>
                </c:pt>
                <c:pt idx="856" formatCode="0.0%">
                  <c:v>0.14677932691782686</c:v>
                </c:pt>
                <c:pt idx="857" formatCode="0.0%">
                  <c:v>0.14677932691782686</c:v>
                </c:pt>
                <c:pt idx="858" formatCode="0.0%">
                  <c:v>0.16933883113224923</c:v>
                </c:pt>
                <c:pt idx="859" formatCode="0.0%">
                  <c:v>0.16978682010441787</c:v>
                </c:pt>
                <c:pt idx="860" formatCode="0.0%">
                  <c:v>0.17119722676986712</c:v>
                </c:pt>
                <c:pt idx="861" formatCode="0.0%">
                  <c:v>0.17335631020477038</c:v>
                </c:pt>
                <c:pt idx="862" formatCode="0.0%">
                  <c:v>0.17551981184129731</c:v>
                </c:pt>
                <c:pt idx="863" formatCode="0.0%">
                  <c:v>0.17551981184129731</c:v>
                </c:pt>
                <c:pt idx="864" formatCode="0.0%">
                  <c:v>0.17551981184129731</c:v>
                </c:pt>
                <c:pt idx="865" formatCode="0.0%">
                  <c:v>0.18145412352007967</c:v>
                </c:pt>
                <c:pt idx="866" formatCode="0.0%">
                  <c:v>0.17598105541833675</c:v>
                </c:pt>
                <c:pt idx="867" formatCode="0.0%">
                  <c:v>0.18155174076727149</c:v>
                </c:pt>
                <c:pt idx="868" formatCode="0.0%">
                  <c:v>0.18155174076727149</c:v>
                </c:pt>
                <c:pt idx="869" formatCode="0.0%">
                  <c:v>0.18155174076727149</c:v>
                </c:pt>
                <c:pt idx="870" formatCode="0.0%">
                  <c:v>0.18155174076727149</c:v>
                </c:pt>
                <c:pt idx="871" formatCode="0.0%">
                  <c:v>0.18155174076727149</c:v>
                </c:pt>
                <c:pt idx="872" formatCode="0.0%">
                  <c:v>0.1992927376185942</c:v>
                </c:pt>
                <c:pt idx="873" formatCode="0.0%">
                  <c:v>0.18893197144908086</c:v>
                </c:pt>
                <c:pt idx="874" formatCode="0.0%">
                  <c:v>0.1780514413715899</c:v>
                </c:pt>
                <c:pt idx="875" formatCode="0.0%">
                  <c:v>0.18906501767155603</c:v>
                </c:pt>
                <c:pt idx="876" formatCode="0.0%">
                  <c:v>0.2034618527053273</c:v>
                </c:pt>
                <c:pt idx="877" formatCode="0.0%">
                  <c:v>0.2034618527053273</c:v>
                </c:pt>
                <c:pt idx="878" formatCode="0.0%">
                  <c:v>0.2034618527053273</c:v>
                </c:pt>
                <c:pt idx="879" formatCode="0.0%">
                  <c:v>0.2034618527053273</c:v>
                </c:pt>
                <c:pt idx="880" formatCode="0.0%">
                  <c:v>0.19911534265529426</c:v>
                </c:pt>
                <c:pt idx="881" formatCode="0.0%">
                  <c:v>0.19334950617427013</c:v>
                </c:pt>
                <c:pt idx="882" formatCode="0.0%">
                  <c:v>0.19851838526234672</c:v>
                </c:pt>
                <c:pt idx="883" formatCode="0.0%">
                  <c:v>0.21667894454331688</c:v>
                </c:pt>
                <c:pt idx="884" formatCode="0.0%">
                  <c:v>0.21667894454331688</c:v>
                </c:pt>
                <c:pt idx="885" formatCode="0.0%">
                  <c:v>0.21667894454331688</c:v>
                </c:pt>
                <c:pt idx="886" formatCode="0.0%">
                  <c:v>0.21667894454331688</c:v>
                </c:pt>
                <c:pt idx="887" formatCode="0.0%">
                  <c:v>0.22696876939996913</c:v>
                </c:pt>
                <c:pt idx="888" formatCode="0.0%">
                  <c:v>0.22200129361609044</c:v>
                </c:pt>
                <c:pt idx="889" formatCode="0.0%">
                  <c:v>0.21543709643792083</c:v>
                </c:pt>
                <c:pt idx="890" formatCode="0.0%">
                  <c:v>0.22226738606104063</c:v>
                </c:pt>
                <c:pt idx="891" formatCode="0.0%">
                  <c:v>0.22226738606104063</c:v>
                </c:pt>
                <c:pt idx="892" formatCode="0.0%">
                  <c:v>0.22226738606104063</c:v>
                </c:pt>
                <c:pt idx="893" formatCode="0.0%">
                  <c:v>0.22244478102434101</c:v>
                </c:pt>
                <c:pt idx="894" formatCode="0.0%">
                  <c:v>0.23335548825254393</c:v>
                </c:pt>
                <c:pt idx="895" formatCode="0.0%">
                  <c:v>0.23362158069749397</c:v>
                </c:pt>
                <c:pt idx="896" formatCode="0.0%">
                  <c:v>0.22954116309241115</c:v>
                </c:pt>
                <c:pt idx="897" formatCode="0.0%">
                  <c:v>0.23619405775223071</c:v>
                </c:pt>
                <c:pt idx="898" formatCode="0.0%">
                  <c:v>0.23619405775223071</c:v>
                </c:pt>
                <c:pt idx="899" formatCode="0.0%">
                  <c:v>0.23619405775223071</c:v>
                </c:pt>
                <c:pt idx="900" formatCode="0.0%">
                  <c:v>0.22652519862942383</c:v>
                </c:pt>
                <c:pt idx="901" formatCode="0.0%">
                  <c:v>0.22013847977684903</c:v>
                </c:pt>
                <c:pt idx="902" formatCode="0.0%">
                  <c:v>0.21171146875943819</c:v>
                </c:pt>
                <c:pt idx="903" formatCode="0.0%">
                  <c:v>0.20940516751194665</c:v>
                </c:pt>
                <c:pt idx="904" formatCode="0.0%">
                  <c:v>0.21055831813569242</c:v>
                </c:pt>
                <c:pt idx="905" formatCode="0.0%">
                  <c:v>0.21055831813569242</c:v>
                </c:pt>
                <c:pt idx="906" formatCode="0.0%">
                  <c:v>0.21055831813569242</c:v>
                </c:pt>
                <c:pt idx="907" formatCode="0.0%">
                  <c:v>0.20887289925975125</c:v>
                </c:pt>
                <c:pt idx="908" formatCode="0.0%">
                  <c:v>0.20638911968666449</c:v>
                </c:pt>
                <c:pt idx="909" formatCode="0.0%">
                  <c:v>0.21614675965341631</c:v>
                </c:pt>
                <c:pt idx="910" formatCode="0.0%">
                  <c:v>0.21774339768541268</c:v>
                </c:pt>
                <c:pt idx="911" formatCode="0.0%">
                  <c:v>0.23131527945000244</c:v>
                </c:pt>
                <c:pt idx="912" formatCode="0.0%">
                  <c:v>0.23131527945000244</c:v>
                </c:pt>
                <c:pt idx="913" formatCode="0.0%">
                  <c:v>0.23131527945000244</c:v>
                </c:pt>
                <c:pt idx="914" formatCode="0.0%">
                  <c:v>0.23415384894968924</c:v>
                </c:pt>
                <c:pt idx="915" formatCode="0.0%">
                  <c:v>0.23601666278893063</c:v>
                </c:pt>
                <c:pt idx="916" formatCode="0.0%">
                  <c:v>0.23495754483370093</c:v>
                </c:pt>
                <c:pt idx="917" formatCode="0.0%">
                  <c:v>0.21650154958001663</c:v>
                </c:pt>
                <c:pt idx="918" formatCode="0.0%">
                  <c:v>0.21552579391957097</c:v>
                </c:pt>
                <c:pt idx="919" formatCode="0.0%">
                  <c:v>0.21552579391957097</c:v>
                </c:pt>
                <c:pt idx="920" formatCode="0.0%">
                  <c:v>0.21552579391957097</c:v>
                </c:pt>
                <c:pt idx="921" formatCode="0.0%">
                  <c:v>0.21234568909815407</c:v>
                </c:pt>
                <c:pt idx="922" formatCode="0.0%">
                  <c:v>0.21712251531386201</c:v>
                </c:pt>
                <c:pt idx="923" formatCode="0.0%">
                  <c:v>0.22342053668478656</c:v>
                </c:pt>
                <c:pt idx="924" formatCode="0.0%">
                  <c:v>0.22350923416643681</c:v>
                </c:pt>
                <c:pt idx="925" formatCode="0.0%">
                  <c:v>0.22013847977684903</c:v>
                </c:pt>
                <c:pt idx="926" formatCode="0.0%">
                  <c:v>0.22013847977684903</c:v>
                </c:pt>
                <c:pt idx="927" formatCode="0.0%">
                  <c:v>0.22013847977684903</c:v>
                </c:pt>
                <c:pt idx="928" formatCode="0.0%">
                  <c:v>0.22022717725849916</c:v>
                </c:pt>
                <c:pt idx="929" formatCode="0.0%">
                  <c:v>0.22572683793227838</c:v>
                </c:pt>
                <c:pt idx="930" formatCode="0.0%">
                  <c:v>0.2385004423620174</c:v>
                </c:pt>
                <c:pt idx="931" formatCode="0.0%">
                  <c:v>0.23450863887628984</c:v>
                </c:pt>
                <c:pt idx="932" formatCode="0.0%">
                  <c:v>0.23734720837597664</c:v>
                </c:pt>
                <c:pt idx="933" formatCode="0.0%">
                  <c:v>0.23734720837597664</c:v>
                </c:pt>
                <c:pt idx="934" formatCode="0.0%">
                  <c:v>0.23734720837597664</c:v>
                </c:pt>
                <c:pt idx="935" formatCode="0.0%">
                  <c:v>0.24364531310919602</c:v>
                </c:pt>
                <c:pt idx="936" formatCode="0.0%">
                  <c:v>0.25366896215860352</c:v>
                </c:pt>
                <c:pt idx="937" formatCode="0.0%">
                  <c:v>0.24852409141142445</c:v>
                </c:pt>
                <c:pt idx="938" formatCode="0.0%">
                  <c:v>0.26679735651494269</c:v>
                </c:pt>
                <c:pt idx="939" formatCode="0.0%">
                  <c:v>0.25952349612127734</c:v>
                </c:pt>
                <c:pt idx="940" formatCode="0.0%">
                  <c:v>0.25952349612127734</c:v>
                </c:pt>
                <c:pt idx="941" formatCode="0.0%">
                  <c:v>0.25952349612127734</c:v>
                </c:pt>
                <c:pt idx="942" formatCode="0.0%">
                  <c:v>0.26218467065766432</c:v>
                </c:pt>
                <c:pt idx="943" formatCode="0.0%">
                  <c:v>0.26262815806591461</c:v>
                </c:pt>
                <c:pt idx="944" formatCode="0.0%">
                  <c:v>0.2487901838563748</c:v>
                </c:pt>
                <c:pt idx="945" formatCode="0.0%">
                  <c:v>0.24054065116455889</c:v>
                </c:pt>
                <c:pt idx="946" formatCode="0.0%">
                  <c:v>0.23690372096772619</c:v>
                </c:pt>
                <c:pt idx="947" formatCode="0.0%">
                  <c:v>0.23690372096772619</c:v>
                </c:pt>
                <c:pt idx="948" formatCode="0.0%">
                  <c:v>0.23690372096772619</c:v>
                </c:pt>
                <c:pt idx="949" formatCode="0.0%">
                  <c:v>0.23521830209178504</c:v>
                </c:pt>
                <c:pt idx="950" formatCode="0.0%">
                  <c:v>0.22989603638130604</c:v>
                </c:pt>
                <c:pt idx="951" formatCode="0.0%">
                  <c:v>0.23229103511044813</c:v>
                </c:pt>
                <c:pt idx="952" formatCode="0.0%">
                  <c:v>0.23539569705508526</c:v>
                </c:pt>
                <c:pt idx="953" formatCode="0.0%">
                  <c:v>0.22785582757876455</c:v>
                </c:pt>
                <c:pt idx="954" formatCode="0.0%">
                  <c:v>0.22785582757876455</c:v>
                </c:pt>
                <c:pt idx="955" formatCode="0.0%">
                  <c:v>0.22785582757876455</c:v>
                </c:pt>
                <c:pt idx="956" formatCode="0.0%">
                  <c:v>0.23450863887628984</c:v>
                </c:pt>
                <c:pt idx="957" formatCode="0.0%">
                  <c:v>0.22297704927653611</c:v>
                </c:pt>
                <c:pt idx="958" formatCode="0.0%">
                  <c:v>0.22466238479018258</c:v>
                </c:pt>
                <c:pt idx="959" formatCode="0.0%">
                  <c:v>0.21703373446991719</c:v>
                </c:pt>
                <c:pt idx="960" formatCode="0.0%">
                  <c:v>0.20381672599422246</c:v>
                </c:pt>
                <c:pt idx="961" formatCode="0.0%">
                  <c:v>0.20381672599422246</c:v>
                </c:pt>
                <c:pt idx="962" formatCode="0.0%">
                  <c:v>0.20381672599422246</c:v>
                </c:pt>
                <c:pt idx="963" formatCode="0.0%">
                  <c:v>0.20576823731511396</c:v>
                </c:pt>
                <c:pt idx="964" formatCode="0.0%">
                  <c:v>0.21579188636452115</c:v>
                </c:pt>
                <c:pt idx="965" formatCode="0.0%">
                  <c:v>0.22377532661138688</c:v>
                </c:pt>
                <c:pt idx="966" formatCode="0.0%">
                  <c:v>0.22395280493698194</c:v>
                </c:pt>
                <c:pt idx="967" formatCode="0.0%">
                  <c:v>0.21667894454331688</c:v>
                </c:pt>
                <c:pt idx="968" formatCode="0.0%">
                  <c:v>0.21667894454331688</c:v>
                </c:pt>
                <c:pt idx="969" formatCode="0.0%">
                  <c:v>0.21667894454331688</c:v>
                </c:pt>
                <c:pt idx="970" formatCode="0.0%">
                  <c:v>0.23033952378955647</c:v>
                </c:pt>
                <c:pt idx="971" formatCode="0.0%">
                  <c:v>0.23983098794906327</c:v>
                </c:pt>
                <c:pt idx="972" formatCode="0.0%">
                  <c:v>0.23921002221521775</c:v>
                </c:pt>
                <c:pt idx="973" formatCode="0.0%">
                  <c:v>0.24479846373294195</c:v>
                </c:pt>
                <c:pt idx="974" formatCode="0.0%">
                  <c:v>0.2544673228557488</c:v>
                </c:pt>
                <c:pt idx="975" formatCode="0.0%">
                  <c:v>0.2544673228557488</c:v>
                </c:pt>
                <c:pt idx="976" formatCode="0.0%">
                  <c:v>0.2544673228557488</c:v>
                </c:pt>
                <c:pt idx="977" formatCode="0.0%">
                  <c:v>0.25668492662159054</c:v>
                </c:pt>
                <c:pt idx="978" formatCode="0.0%">
                  <c:v>0.25890253038743211</c:v>
                </c:pt>
                <c:pt idx="979" formatCode="0.0%">
                  <c:v>0.24870148637472483</c:v>
                </c:pt>
                <c:pt idx="980" formatCode="0.0%">
                  <c:v>0.24311304485700064</c:v>
                </c:pt>
                <c:pt idx="981" formatCode="0.0%">
                  <c:v>0.24400010303579633</c:v>
                </c:pt>
                <c:pt idx="982" formatCode="0.0%">
                  <c:v>0.24400010303579633</c:v>
                </c:pt>
                <c:pt idx="983" formatCode="0.0%">
                  <c:v>0.24400010303579633</c:v>
                </c:pt>
                <c:pt idx="984" formatCode="0.0%">
                  <c:v>0.24728224330602872</c:v>
                </c:pt>
                <c:pt idx="985" formatCode="0.0%">
                  <c:v>0.25207224076431234</c:v>
                </c:pt>
                <c:pt idx="986" formatCode="0.0%">
                  <c:v>0.24524195114119224</c:v>
                </c:pt>
                <c:pt idx="987" formatCode="0.0%">
                  <c:v>0.26076534422667352</c:v>
                </c:pt>
                <c:pt idx="988" formatCode="0.0%">
                  <c:v>0.25730589235543561</c:v>
                </c:pt>
                <c:pt idx="989" formatCode="0.0%">
                  <c:v>0.25730589235543561</c:v>
                </c:pt>
                <c:pt idx="990" formatCode="0.0%">
                  <c:v>0.25730589235543561</c:v>
                </c:pt>
                <c:pt idx="991" formatCode="0.0%">
                  <c:v>0.25065299769561605</c:v>
                </c:pt>
                <c:pt idx="992" formatCode="0.0%">
                  <c:v>0.24337922066424583</c:v>
                </c:pt>
                <c:pt idx="993" formatCode="0.0%">
                  <c:v>0.24870148637472483</c:v>
                </c:pt>
                <c:pt idx="994" formatCode="0.0%">
                  <c:v>0.23060561623450695</c:v>
                </c:pt>
                <c:pt idx="995" formatCode="0.0%">
                  <c:v>0.23033952378955647</c:v>
                </c:pt>
                <c:pt idx="996" formatCode="0.0%">
                  <c:v>0.23033952378955647</c:v>
                </c:pt>
                <c:pt idx="997" formatCode="0.0%">
                  <c:v>0.23033952378955647</c:v>
                </c:pt>
                <c:pt idx="998" formatCode="0.0%">
                  <c:v>0.22785582757876455</c:v>
                </c:pt>
                <c:pt idx="999" formatCode="0.0%">
                  <c:v>0.22306574675818625</c:v>
                </c:pt>
                <c:pt idx="1000" formatCode="0.0%">
                  <c:v>0.22342053668478656</c:v>
                </c:pt>
                <c:pt idx="1001" formatCode="0.0%">
                  <c:v>0.22396164134022883</c:v>
                </c:pt>
                <c:pt idx="1002" formatCode="0.0%">
                  <c:v>0.22111240146680985</c:v>
                </c:pt>
                <c:pt idx="1003" formatCode="0.0%">
                  <c:v>0.22111423543729486</c:v>
                </c:pt>
                <c:pt idx="1004" formatCode="0.0%">
                  <c:v>0.22111423543729486</c:v>
                </c:pt>
                <c:pt idx="1005" formatCode="0.0%">
                  <c:v>0.22359793164808692</c:v>
                </c:pt>
                <c:pt idx="1006" formatCode="0.0%">
                  <c:v>0.21162277127778822</c:v>
                </c:pt>
                <c:pt idx="1007" formatCode="0.0%">
                  <c:v>0.20319576026037708</c:v>
                </c:pt>
                <c:pt idx="1008" formatCode="0.0%">
                  <c:v>0.20452638920971794</c:v>
                </c:pt>
                <c:pt idx="1009" formatCode="0.0%">
                  <c:v>0.21020344484679712</c:v>
                </c:pt>
                <c:pt idx="1010" formatCode="0.0%">
                  <c:v>0.21020344484679712</c:v>
                </c:pt>
                <c:pt idx="1011" formatCode="0.0%">
                  <c:v>0.21020344484679712</c:v>
                </c:pt>
                <c:pt idx="1012" formatCode="0.0%">
                  <c:v>0.21437264329582503</c:v>
                </c:pt>
                <c:pt idx="1013" formatCode="0.0%">
                  <c:v>0.23433124391298946</c:v>
                </c:pt>
                <c:pt idx="1014" formatCode="0.0%">
                  <c:v>0.23495220964683483</c:v>
                </c:pt>
                <c:pt idx="1015" formatCode="0.0%">
                  <c:v>0.23823426655477206</c:v>
                </c:pt>
                <c:pt idx="1016" formatCode="0.0%">
                  <c:v>0.23521830209178504</c:v>
                </c:pt>
                <c:pt idx="1017" formatCode="0.0%">
                  <c:v>0.23521830209178504</c:v>
                </c:pt>
                <c:pt idx="1018" formatCode="0.0%">
                  <c:v>0.23521830209178504</c:v>
                </c:pt>
                <c:pt idx="1019" formatCode="0.0%">
                  <c:v>0.23654884767883119</c:v>
                </c:pt>
                <c:pt idx="1020" formatCode="0.0%">
                  <c:v>0.22909767568416073</c:v>
                </c:pt>
                <c:pt idx="1021" formatCode="0.0%">
                  <c:v>0.22138032788224521</c:v>
                </c:pt>
                <c:pt idx="1022" formatCode="0.0%">
                  <c:v>0.20816323604425563</c:v>
                </c:pt>
                <c:pt idx="1023" formatCode="0.0%">
                  <c:v>0.18864812283534177</c:v>
                </c:pt>
                <c:pt idx="1024" formatCode="0.0%">
                  <c:v>0.18864812283534177</c:v>
                </c:pt>
                <c:pt idx="1025" formatCode="0.0%">
                  <c:v>0.18864812283534177</c:v>
                </c:pt>
                <c:pt idx="1026" formatCode="0.0%">
                  <c:v>0.1832371596432128</c:v>
                </c:pt>
                <c:pt idx="1027" formatCode="0.0%">
                  <c:v>0.19494622756856117</c:v>
                </c:pt>
                <c:pt idx="1028" formatCode="0.0%">
                  <c:v>0.18696278732169547</c:v>
                </c:pt>
                <c:pt idx="1029" formatCode="0.0%">
                  <c:v>0.18394673949641344</c:v>
                </c:pt>
                <c:pt idx="1030" formatCode="0.0%">
                  <c:v>0.17197157912611474</c:v>
                </c:pt>
                <c:pt idx="1031" formatCode="0.0%">
                  <c:v>0.17197157912611474</c:v>
                </c:pt>
                <c:pt idx="1032" formatCode="0.0%">
                  <c:v>0.17197157912611474</c:v>
                </c:pt>
                <c:pt idx="1033" formatCode="0.0%">
                  <c:v>0.17055233605741876</c:v>
                </c:pt>
                <c:pt idx="1034" formatCode="0.0%">
                  <c:v>0.18270489139101742</c:v>
                </c:pt>
                <c:pt idx="1035" formatCode="0.0%">
                  <c:v>0.19290601876601968</c:v>
                </c:pt>
                <c:pt idx="1036" formatCode="0.0%">
                  <c:v>0.20736487534711018</c:v>
                </c:pt>
                <c:pt idx="1037" formatCode="0.0%">
                  <c:v>0.21375167756197969</c:v>
                </c:pt>
                <c:pt idx="1038" formatCode="0.0%">
                  <c:v>0.21375167756197969</c:v>
                </c:pt>
                <c:pt idx="1039" formatCode="0.0%">
                  <c:v>0.21375167756197969</c:v>
                </c:pt>
                <c:pt idx="1040" formatCode="0.0%">
                  <c:v>0.21339688763537937</c:v>
                </c:pt>
                <c:pt idx="1041" formatCode="0.0%">
                  <c:v>0.22093675711170008</c:v>
                </c:pt>
                <c:pt idx="1042" formatCode="0.0%">
                  <c:v>0.21729991027716225</c:v>
                </c:pt>
                <c:pt idx="1043" formatCode="0.0%">
                  <c:v>0.21854175838255799</c:v>
                </c:pt>
                <c:pt idx="1044" formatCode="0.0%">
                  <c:v>0.21499352566737556</c:v>
                </c:pt>
                <c:pt idx="1045" formatCode="0.0%">
                  <c:v>0.21499352566737556</c:v>
                </c:pt>
                <c:pt idx="1046" formatCode="0.0%">
                  <c:v>0.21499352566737556</c:v>
                </c:pt>
                <c:pt idx="1047" formatCode="0.0%">
                  <c:v>0.22466238479018258</c:v>
                </c:pt>
                <c:pt idx="1048" formatCode="0.0%">
                  <c:v>0.23637145271553095</c:v>
                </c:pt>
                <c:pt idx="1049" formatCode="0.0%">
                  <c:v>0.2427582549304006</c:v>
                </c:pt>
                <c:pt idx="1050" formatCode="0.0%">
                  <c:v>0.23362158069749397</c:v>
                </c:pt>
                <c:pt idx="1051" formatCode="0.0%">
                  <c:v>0.23601666278893063</c:v>
                </c:pt>
                <c:pt idx="1052" formatCode="0.0%">
                  <c:v>0.23601666278893063</c:v>
                </c:pt>
                <c:pt idx="1053" formatCode="0.0%">
                  <c:v>0.23601666278893063</c:v>
                </c:pt>
                <c:pt idx="1054" formatCode="0.0%">
                  <c:v>0.23708111593102615</c:v>
                </c:pt>
                <c:pt idx="1055" formatCode="0.0%">
                  <c:v>0.23575057034398042</c:v>
                </c:pt>
                <c:pt idx="1056" formatCode="0.0%">
                  <c:v>0.24621770680163807</c:v>
                </c:pt>
                <c:pt idx="1057" formatCode="0.0%">
                  <c:v>0.2454194294667873</c:v>
                </c:pt>
                <c:pt idx="1058" formatCode="0.0%">
                  <c:v>0.24178249926995463</c:v>
                </c:pt>
                <c:pt idx="1059" formatCode="0.0%">
                  <c:v>0.24178249926995463</c:v>
                </c:pt>
                <c:pt idx="1060" formatCode="0.0%">
                  <c:v>0.24178249926995463</c:v>
                </c:pt>
                <c:pt idx="1061" formatCode="0.0%">
                  <c:v>0.24142770934335431</c:v>
                </c:pt>
                <c:pt idx="1062" formatCode="0.0%">
                  <c:v>0.23690372096772619</c:v>
                </c:pt>
                <c:pt idx="1063" formatCode="0.0%">
                  <c:v>0.24018577787566373</c:v>
                </c:pt>
                <c:pt idx="1064" formatCode="0.0%">
                  <c:v>0.24994333448012071</c:v>
                </c:pt>
                <c:pt idx="1065" formatCode="0.0%">
                  <c:v>0.25908000871302717</c:v>
                </c:pt>
                <c:pt idx="1066" formatCode="0.0%">
                  <c:v>0.25908000871302717</c:v>
                </c:pt>
                <c:pt idx="1067" formatCode="0.0%">
                  <c:v>0.25908000871302717</c:v>
                </c:pt>
                <c:pt idx="1068" formatCode="0.0%">
                  <c:v>0.25952349612127734</c:v>
                </c:pt>
                <c:pt idx="1069" formatCode="0.0%">
                  <c:v>0.26245076310261467</c:v>
                </c:pt>
                <c:pt idx="1070" formatCode="0.0%">
                  <c:v>0.27185352978047123</c:v>
                </c:pt>
                <c:pt idx="1071" formatCode="0.0%">
                  <c:v>0.27087777412002539</c:v>
                </c:pt>
                <c:pt idx="1072" formatCode="0.0%">
                  <c:v>0.27256319299596671</c:v>
                </c:pt>
                <c:pt idx="1073" formatCode="0.0%">
                  <c:v>0.27256319299596671</c:v>
                </c:pt>
                <c:pt idx="1074" formatCode="0.0%">
                  <c:v>0.27256319299596671</c:v>
                </c:pt>
                <c:pt idx="1075" formatCode="0.0%">
                  <c:v>0.28560280650836117</c:v>
                </c:pt>
                <c:pt idx="1076" formatCode="0.0%">
                  <c:v>0.28356259770581971</c:v>
                </c:pt>
                <c:pt idx="1077" formatCode="0.0%">
                  <c:v>0.28764301531090269</c:v>
                </c:pt>
                <c:pt idx="1078" formatCode="0.0%">
                  <c:v>0.29065897977388971</c:v>
                </c:pt>
                <c:pt idx="1079" formatCode="0.0%">
                  <c:v>0.29819893261250513</c:v>
                </c:pt>
                <c:pt idx="1080" formatCode="0.0%">
                  <c:v>0.29819893261250513</c:v>
                </c:pt>
                <c:pt idx="1081" formatCode="0.0%">
                  <c:v>0.29819893261250513</c:v>
                </c:pt>
                <c:pt idx="1082" formatCode="0.0%">
                  <c:v>0.29385233920017695</c:v>
                </c:pt>
                <c:pt idx="1083" formatCode="0.0%">
                  <c:v>0.29704578198875936</c:v>
                </c:pt>
                <c:pt idx="1084" formatCode="0.0%">
                  <c:v>0.30130359455714256</c:v>
                </c:pt>
                <c:pt idx="1085" formatCode="0.0%">
                  <c:v>0.2919008278792859</c:v>
                </c:pt>
                <c:pt idx="1086" formatCode="0.0%">
                  <c:v>0.29686838702545915</c:v>
                </c:pt>
                <c:pt idx="1087" formatCode="0.0%">
                  <c:v>0.29686838702545915</c:v>
                </c:pt>
                <c:pt idx="1088" formatCode="0.0%">
                  <c:v>0.29686838702545915</c:v>
                </c:pt>
                <c:pt idx="1089" formatCode="0.0%">
                  <c:v>0.29686838702545915</c:v>
                </c:pt>
                <c:pt idx="1090" formatCode="0.0%">
                  <c:v>0.29686838702545915</c:v>
                </c:pt>
                <c:pt idx="1091" formatCode="0.0%">
                  <c:v>0.28941713166849381</c:v>
                </c:pt>
                <c:pt idx="1092" formatCode="0.0%">
                  <c:v>0.29686838702545915</c:v>
                </c:pt>
                <c:pt idx="1093" formatCode="0.0%">
                  <c:v>0.29908599079130083</c:v>
                </c:pt>
                <c:pt idx="1094" formatCode="0.0%">
                  <c:v>0.29908599079130083</c:v>
                </c:pt>
                <c:pt idx="1095" formatCode="0.0%">
                  <c:v>0.30103750211219193</c:v>
                </c:pt>
                <c:pt idx="1096" formatCode="0.0%">
                  <c:v>0.30103750211219193</c:v>
                </c:pt>
                <c:pt idx="1097" formatCode="0.0%">
                  <c:v>0.29970687316285138</c:v>
                </c:pt>
                <c:pt idx="1098" formatCode="0.0%">
                  <c:v>0.29411851500742242</c:v>
                </c:pt>
                <c:pt idx="1099" formatCode="0.0%">
                  <c:v>0.29527166563116791</c:v>
                </c:pt>
                <c:pt idx="1100" formatCode="0.0%">
                  <c:v>0.29385233920017695</c:v>
                </c:pt>
                <c:pt idx="1101" formatCode="0.0%">
                  <c:v>0.29385233920017695</c:v>
                </c:pt>
                <c:pt idx="1102" formatCode="0.0%">
                  <c:v>0.29385233920017695</c:v>
                </c:pt>
                <c:pt idx="1103" formatCode="0.0%">
                  <c:v>0.29624742129161402</c:v>
                </c:pt>
                <c:pt idx="1104" formatCode="0.0%">
                  <c:v>0.30219065273593798</c:v>
                </c:pt>
                <c:pt idx="1105" formatCode="0.0%">
                  <c:v>0.30334380335968403</c:v>
                </c:pt>
                <c:pt idx="1106" formatCode="0.0%">
                  <c:v>0.30325510587803367</c:v>
                </c:pt>
                <c:pt idx="1107" formatCode="0.0%">
                  <c:v>0.30857745495080763</c:v>
                </c:pt>
                <c:pt idx="1108" formatCode="0.0%">
                  <c:v>0.30857745495080763</c:v>
                </c:pt>
                <c:pt idx="1109" formatCode="0.0%">
                  <c:v>0.30857745495080763</c:v>
                </c:pt>
                <c:pt idx="1110" formatCode="0.0%">
                  <c:v>0.31052896627169901</c:v>
                </c:pt>
                <c:pt idx="1111" formatCode="0.0%">
                  <c:v>0.31496417380338215</c:v>
                </c:pt>
                <c:pt idx="1112" formatCode="0.0%">
                  <c:v>0.30272292098813325</c:v>
                </c:pt>
                <c:pt idx="1113" formatCode="0.0%">
                  <c:v>0.30955321061125318</c:v>
                </c:pt>
                <c:pt idx="1114" formatCode="0.0%">
                  <c:v>0.31434320806953708</c:v>
                </c:pt>
                <c:pt idx="1115" formatCode="0.0%">
                  <c:v>0.31434320806953708</c:v>
                </c:pt>
                <c:pt idx="1116" formatCode="0.0%">
                  <c:v>0.31434320806953708</c:v>
                </c:pt>
                <c:pt idx="1117" formatCode="0.0%">
                  <c:v>0.32853605556797194</c:v>
                </c:pt>
                <c:pt idx="1118" formatCode="0.0%">
                  <c:v>0.33128592758600889</c:v>
                </c:pt>
                <c:pt idx="1119" formatCode="0.0%">
                  <c:v>0.33882588042462403</c:v>
                </c:pt>
                <c:pt idx="1120" formatCode="0.0%">
                  <c:v>0.34609965745599452</c:v>
                </c:pt>
                <c:pt idx="1121" formatCode="0.0%">
                  <c:v>0.34929301688228181</c:v>
                </c:pt>
                <c:pt idx="1122" formatCode="0.0%">
                  <c:v>0.34929301688228181</c:v>
                </c:pt>
                <c:pt idx="1123" formatCode="0.0%">
                  <c:v>0.34929301688228181</c:v>
                </c:pt>
                <c:pt idx="1124" formatCode="0.0%">
                  <c:v>0.35239776218921376</c:v>
                </c:pt>
                <c:pt idx="1125" formatCode="0.0%">
                  <c:v>0.35443797099175528</c:v>
                </c:pt>
                <c:pt idx="1126" formatCode="0.0%">
                  <c:v>0.33891457790627444</c:v>
                </c:pt>
                <c:pt idx="1127" formatCode="0.0%">
                  <c:v>0.34405944865345306</c:v>
                </c:pt>
                <c:pt idx="1128" formatCode="0.0%">
                  <c:v>0.35319603952406481</c:v>
                </c:pt>
                <c:pt idx="1129" formatCode="0.0%">
                  <c:v>0.35319603952406481</c:v>
                </c:pt>
                <c:pt idx="1130" formatCode="0.0%">
                  <c:v>0.35319603952406481</c:v>
                </c:pt>
                <c:pt idx="1131" formatCode="0.0%">
                  <c:v>0.3595828417389339</c:v>
                </c:pt>
                <c:pt idx="1132" formatCode="0.0%">
                  <c:v>0.36499388829335799</c:v>
                </c:pt>
                <c:pt idx="1133" formatCode="0.0%">
                  <c:v>0.37600763131791382</c:v>
                </c:pt>
                <c:pt idx="1134" formatCode="0.0%">
                  <c:v>0.37227716862633342</c:v>
                </c:pt>
                <c:pt idx="1135" formatCode="0.0%">
                  <c:v>0.37130007916917152</c:v>
                </c:pt>
                <c:pt idx="1136" formatCode="0.0%">
                  <c:v>0.37130007916917152</c:v>
                </c:pt>
                <c:pt idx="1137" formatCode="0.0%">
                  <c:v>0.37130007916917152</c:v>
                </c:pt>
                <c:pt idx="1138" formatCode="0.0%">
                  <c:v>0.3805374550541768</c:v>
                </c:pt>
                <c:pt idx="1139" formatCode="0.0%">
                  <c:v>0.37147772421935599</c:v>
                </c:pt>
                <c:pt idx="1140" formatCode="0.0%">
                  <c:v>0.37609641216185852</c:v>
                </c:pt>
                <c:pt idx="1141" formatCode="0.0%">
                  <c:v>0.38115917104867519</c:v>
                </c:pt>
                <c:pt idx="1142" formatCode="0.0%">
                  <c:v>0.38453434363988637</c:v>
                </c:pt>
                <c:pt idx="1143" formatCode="0.0%">
                  <c:v>0.38453434363988637</c:v>
                </c:pt>
                <c:pt idx="1144" formatCode="0.0%">
                  <c:v>0.38453434363988637</c:v>
                </c:pt>
                <c:pt idx="1145" formatCode="0.0%">
                  <c:v>0.38266911229409628</c:v>
                </c:pt>
                <c:pt idx="1146" formatCode="0.0%">
                  <c:v>0.36970135707980545</c:v>
                </c:pt>
                <c:pt idx="1147" formatCode="0.0%">
                  <c:v>0.36774726152777587</c:v>
                </c:pt>
                <c:pt idx="1148" formatCode="0.0%">
                  <c:v>0.3887977414820199</c:v>
                </c:pt>
                <c:pt idx="1149" formatCode="0.0%">
                  <c:v>0.39759096306041669</c:v>
                </c:pt>
                <c:pt idx="1150" formatCode="0.0%">
                  <c:v>0.39759096306041669</c:v>
                </c:pt>
                <c:pt idx="1151" formatCode="0.0%">
                  <c:v>0.39759096306041669</c:v>
                </c:pt>
                <c:pt idx="1152" formatCode="0.0%">
                  <c:v>0.38995239262707204</c:v>
                </c:pt>
                <c:pt idx="1153" formatCode="0.0%">
                  <c:v>0.38950832168275779</c:v>
                </c:pt>
                <c:pt idx="1154" formatCode="0.0%">
                  <c:v>0.38844245138165062</c:v>
                </c:pt>
                <c:pt idx="1155" formatCode="0.0%">
                  <c:v>0.39590337676481113</c:v>
                </c:pt>
                <c:pt idx="1156" formatCode="0.0%">
                  <c:v>0.40123264490805155</c:v>
                </c:pt>
                <c:pt idx="1157" formatCode="0.0%">
                  <c:v>0.40123264490805155</c:v>
                </c:pt>
                <c:pt idx="1158" formatCode="0.0%">
                  <c:v>0.40123264490805155</c:v>
                </c:pt>
                <c:pt idx="1159" formatCode="0.0%">
                  <c:v>0.40203200595273503</c:v>
                </c:pt>
                <c:pt idx="1160" formatCode="0.0%">
                  <c:v>0.39075183703404975</c:v>
                </c:pt>
                <c:pt idx="1161" formatCode="0.0%">
                  <c:v>0.39767982726665624</c:v>
                </c:pt>
                <c:pt idx="1162" formatCode="0.0%">
                  <c:v>0.40478546254944747</c:v>
                </c:pt>
                <c:pt idx="1163" formatCode="0.0%">
                  <c:v>0.41162458857581441</c:v>
                </c:pt>
                <c:pt idx="1164" formatCode="0.0%">
                  <c:v>0.41162458857581441</c:v>
                </c:pt>
                <c:pt idx="1165" formatCode="0.0%">
                  <c:v>0.41162458857581441</c:v>
                </c:pt>
                <c:pt idx="1166" formatCode="0.0%">
                  <c:v>0.40052206470731394</c:v>
                </c:pt>
                <c:pt idx="1167" formatCode="0.0%">
                  <c:v>0.41402275507215791</c:v>
                </c:pt>
                <c:pt idx="1168" formatCode="0.0%">
                  <c:v>0.41446690937876668</c:v>
                </c:pt>
                <c:pt idx="1169" formatCode="0.0%">
                  <c:v>0.41446690937876668</c:v>
                </c:pt>
                <c:pt idx="1170" formatCode="0.0%">
                  <c:v>0.40922650544176575</c:v>
                </c:pt>
                <c:pt idx="1171" formatCode="0.0%">
                  <c:v>0.40922650544176575</c:v>
                </c:pt>
                <c:pt idx="1172" formatCode="0.0%">
                  <c:v>0.40922650544176575</c:v>
                </c:pt>
                <c:pt idx="1173" formatCode="0.0%">
                  <c:v>0.41659856661868616</c:v>
                </c:pt>
                <c:pt idx="1174" formatCode="0.0%">
                  <c:v>0.41508862537326535</c:v>
                </c:pt>
                <c:pt idx="1175" formatCode="0.0%">
                  <c:v>0.42254955075642525</c:v>
                </c:pt>
                <c:pt idx="1176" formatCode="0.0%">
                  <c:v>0.44333352145424526</c:v>
                </c:pt>
                <c:pt idx="1177" formatCode="0.0%">
                  <c:v>0.44475468185572142</c:v>
                </c:pt>
                <c:pt idx="1178" formatCode="0.0%">
                  <c:v>0.44475468185572142</c:v>
                </c:pt>
                <c:pt idx="1179" formatCode="0.0%">
                  <c:v>0.44475468185572142</c:v>
                </c:pt>
                <c:pt idx="1180" formatCode="0.0%">
                  <c:v>0.43835962677366835</c:v>
                </c:pt>
                <c:pt idx="1181" formatCode="0.0%">
                  <c:v>0.44040250316964291</c:v>
                </c:pt>
                <c:pt idx="1182" formatCode="0.0%">
                  <c:v>0.44075779327001186</c:v>
                </c:pt>
                <c:pt idx="1183" formatCode="0.0%">
                  <c:v>0.44075779327001186</c:v>
                </c:pt>
                <c:pt idx="1184" formatCode="0.0%">
                  <c:v>0.44075779327001186</c:v>
                </c:pt>
                <c:pt idx="1185" formatCode="0.0%">
                  <c:v>0.44075779327001186</c:v>
                </c:pt>
                <c:pt idx="1186" formatCode="0.0%">
                  <c:v>0.44608697805095771</c:v>
                </c:pt>
                <c:pt idx="1187" formatCode="0.0%">
                  <c:v>0.44608697805095771</c:v>
                </c:pt>
                <c:pt idx="1188" formatCode="0.0%">
                  <c:v>0.43844840761761306</c:v>
                </c:pt>
                <c:pt idx="1189" formatCode="0.0%">
                  <c:v>0.43986956801908944</c:v>
                </c:pt>
                <c:pt idx="1190" formatCode="0.0%">
                  <c:v>0.44084657411395684</c:v>
                </c:pt>
                <c:pt idx="1191" formatCode="0.0%">
                  <c:v>0.43080983718426835</c:v>
                </c:pt>
                <c:pt idx="1192" formatCode="0.0%">
                  <c:v>0.43080983718426835</c:v>
                </c:pt>
                <c:pt idx="1193" formatCode="0.0%">
                  <c:v>0.43080983718426835</c:v>
                </c:pt>
                <c:pt idx="1194" formatCode="0.0%">
                  <c:v>0.43418500977547919</c:v>
                </c:pt>
                <c:pt idx="1195" formatCode="0.0%">
                  <c:v>0.42290484085679425</c:v>
                </c:pt>
                <c:pt idx="1196" formatCode="0.0%">
                  <c:v>0.43356329378098107</c:v>
                </c:pt>
                <c:pt idx="1197" formatCode="0.0%">
                  <c:v>0.43409622893153454</c:v>
                </c:pt>
                <c:pt idx="1198" formatCode="0.0%">
                  <c:v>0.43889256192422182</c:v>
                </c:pt>
                <c:pt idx="1199" formatCode="0.0%">
                  <c:v>0.43889256192422182</c:v>
                </c:pt>
                <c:pt idx="1200" formatCode="0.0%">
                  <c:v>0.43889256192422182</c:v>
                </c:pt>
                <c:pt idx="1201" formatCode="0.0%">
                  <c:v>0.43622788617145403</c:v>
                </c:pt>
                <c:pt idx="1202" formatCode="0.0%">
                  <c:v>0.40887121534139653</c:v>
                </c:pt>
                <c:pt idx="1203" formatCode="0.0%">
                  <c:v>0.4096705763860794</c:v>
                </c:pt>
                <c:pt idx="1204" formatCode="0.0%">
                  <c:v>0.40913764123552598</c:v>
                </c:pt>
                <c:pt idx="1205" formatCode="0.0%">
                  <c:v>0.39590337676481113</c:v>
                </c:pt>
                <c:pt idx="1206" formatCode="0.0%">
                  <c:v>0.39590337676481113</c:v>
                </c:pt>
                <c:pt idx="1207" formatCode="0.0%">
                  <c:v>0.39590337676481113</c:v>
                </c:pt>
                <c:pt idx="1208" formatCode="0.0%">
                  <c:v>0.39643631191536455</c:v>
                </c:pt>
                <c:pt idx="1209" formatCode="0.0%">
                  <c:v>0.41109173678755551</c:v>
                </c:pt>
                <c:pt idx="1210" formatCode="0.0%">
                  <c:v>0.41366746497178897</c:v>
                </c:pt>
                <c:pt idx="1211" formatCode="0.0%">
                  <c:v>0.397058027909863</c:v>
                </c:pt>
                <c:pt idx="1212" formatCode="0.0%">
                  <c:v>0.42601358755387619</c:v>
                </c:pt>
                <c:pt idx="1213" formatCode="0.0%">
                  <c:v>0.42601358755387619</c:v>
                </c:pt>
                <c:pt idx="1214" formatCode="0.0%">
                  <c:v>0.42601358755387619</c:v>
                </c:pt>
                <c:pt idx="1215" formatCode="0.0%">
                  <c:v>0.42778995469342646</c:v>
                </c:pt>
                <c:pt idx="1216" formatCode="0.0%">
                  <c:v>0.41411161927839774</c:v>
                </c:pt>
                <c:pt idx="1217" formatCode="0.0%">
                  <c:v>0.40922650544176575</c:v>
                </c:pt>
                <c:pt idx="1218" formatCode="0.0%">
                  <c:v>0.4154439154736343</c:v>
                </c:pt>
                <c:pt idx="1219" formatCode="0.0%">
                  <c:v>0.42823410900003522</c:v>
                </c:pt>
                <c:pt idx="1220" formatCode="0.0%">
                  <c:v>0.42823410900003522</c:v>
                </c:pt>
                <c:pt idx="1221" formatCode="0.0%">
                  <c:v>0.42823410900003522</c:v>
                </c:pt>
                <c:pt idx="1222" formatCode="0.0%">
                  <c:v>0.43702733057843202</c:v>
                </c:pt>
                <c:pt idx="1223" formatCode="0.0%">
                  <c:v>0.44724162919600985</c:v>
                </c:pt>
                <c:pt idx="1224" formatCode="0.0%">
                  <c:v>0.44910686054180021</c:v>
                </c:pt>
                <c:pt idx="1225" formatCode="0.0%">
                  <c:v>0.44910686054180021</c:v>
                </c:pt>
                <c:pt idx="1226" formatCode="0.0%">
                  <c:v>0.44910686054180021</c:v>
                </c:pt>
                <c:pt idx="1227" formatCode="0.0%">
                  <c:v>0.44910686054180021</c:v>
                </c:pt>
                <c:pt idx="1228" formatCode="0.0%">
                  <c:v>0.44910686054180021</c:v>
                </c:pt>
                <c:pt idx="1229" formatCode="0.0%">
                  <c:v>0.46127533807370241</c:v>
                </c:pt>
                <c:pt idx="1230" formatCode="0.0%">
                  <c:v>0.45949888757185731</c:v>
                </c:pt>
                <c:pt idx="1231" formatCode="0.0%">
                  <c:v>0.47175614594770482</c:v>
                </c:pt>
                <c:pt idx="1232" formatCode="0.0%">
                  <c:v>0.47735183998507497</c:v>
                </c:pt>
                <c:pt idx="1233" formatCode="0.0%">
                  <c:v>0.47468716423230717</c:v>
                </c:pt>
                <c:pt idx="1234" formatCode="0.0%">
                  <c:v>0.47468716423230717</c:v>
                </c:pt>
                <c:pt idx="1235" formatCode="0.0%">
                  <c:v>0.47468716423230717</c:v>
                </c:pt>
                <c:pt idx="1236" formatCode="0.0%">
                  <c:v>0.47468716423230717</c:v>
                </c:pt>
                <c:pt idx="1237" formatCode="0.0%">
                  <c:v>0.47788477513562838</c:v>
                </c:pt>
                <c:pt idx="1238" formatCode="0.0%">
                  <c:v>0.47681890483452122</c:v>
                </c:pt>
                <c:pt idx="1239" formatCode="0.0%">
                  <c:v>0.47610832463378328</c:v>
                </c:pt>
                <c:pt idx="1240" formatCode="0.0%">
                  <c:v>0.4704238497524682</c:v>
                </c:pt>
                <c:pt idx="1241" formatCode="0.0%">
                  <c:v>0.4704238497524682</c:v>
                </c:pt>
                <c:pt idx="1242" formatCode="0.0%">
                  <c:v>0.4704238497524682</c:v>
                </c:pt>
                <c:pt idx="1243" formatCode="0.0%">
                  <c:v>0.47442073833817772</c:v>
                </c:pt>
                <c:pt idx="1244" formatCode="0.0%">
                  <c:v>0.47015734049604391</c:v>
                </c:pt>
                <c:pt idx="1245" formatCode="0.0%">
                  <c:v>0.46491693655904298</c:v>
                </c:pt>
                <c:pt idx="1246" formatCode="0.0%">
                  <c:v>0.45488019962935455</c:v>
                </c:pt>
                <c:pt idx="1247" formatCode="0.0%">
                  <c:v>0.45843301727075014</c:v>
                </c:pt>
                <c:pt idx="1248" formatCode="0.0%">
                  <c:v>0.45843301727075014</c:v>
                </c:pt>
                <c:pt idx="1249" formatCode="0.0%">
                  <c:v>0.45843301727075014</c:v>
                </c:pt>
                <c:pt idx="1250" formatCode="0.0%">
                  <c:v>0.46163054481177679</c:v>
                </c:pt>
                <c:pt idx="1251" formatCode="0.0%">
                  <c:v>0.45550199898614779</c:v>
                </c:pt>
                <c:pt idx="1252" formatCode="0.0%">
                  <c:v>0.45550199898614779</c:v>
                </c:pt>
                <c:pt idx="1253" formatCode="0.0%">
                  <c:v>0.47566425368946935</c:v>
                </c:pt>
                <c:pt idx="1254" formatCode="0.0%">
                  <c:v>0.48099343847041526</c:v>
                </c:pt>
                <c:pt idx="1255" formatCode="0.0%">
                  <c:v>0.48099343847041526</c:v>
                </c:pt>
                <c:pt idx="1256" formatCode="0.0%">
                  <c:v>0.48099343847041526</c:v>
                </c:pt>
                <c:pt idx="1257" formatCode="0.0%">
                  <c:v>0.4844574752678662</c:v>
                </c:pt>
                <c:pt idx="1258" formatCode="0.0%">
                  <c:v>0.4841909660114419</c:v>
                </c:pt>
                <c:pt idx="1259" formatCode="0.0%">
                  <c:v>0.49111903960634323</c:v>
                </c:pt>
                <c:pt idx="1260" formatCode="0.0%">
                  <c:v>0.49076374950597423</c:v>
                </c:pt>
                <c:pt idx="1261" formatCode="0.0%">
                  <c:v>0.49804702983895</c:v>
                </c:pt>
                <c:pt idx="1262" formatCode="0.0%">
                  <c:v>0.49804702983895</c:v>
                </c:pt>
                <c:pt idx="1263" formatCode="0.0%">
                  <c:v>0.49804702983895</c:v>
                </c:pt>
                <c:pt idx="1264" formatCode="0.0%">
                  <c:v>0.49680351448765836</c:v>
                </c:pt>
                <c:pt idx="1265" formatCode="0.0%">
                  <c:v>0.5087942636070818</c:v>
                </c:pt>
                <c:pt idx="1266" formatCode="0.0%">
                  <c:v>0.51270237134884611</c:v>
                </c:pt>
                <c:pt idx="1267" formatCode="0.0%">
                  <c:v>0.5169657691909797</c:v>
                </c:pt>
                <c:pt idx="1268" formatCode="0.0%">
                  <c:v>0.51190301030416319</c:v>
                </c:pt>
                <c:pt idx="1269" formatCode="0.0%">
                  <c:v>0.51190301030416319</c:v>
                </c:pt>
                <c:pt idx="1270" formatCode="0.0%">
                  <c:v>0.51190301030416319</c:v>
                </c:pt>
                <c:pt idx="1271" formatCode="0.0%">
                  <c:v>0.51083714000305602</c:v>
                </c:pt>
                <c:pt idx="1272" formatCode="0.0%">
                  <c:v>0.51021542400855768</c:v>
                </c:pt>
                <c:pt idx="1273" formatCode="0.0%">
                  <c:v>0.50977126970194886</c:v>
                </c:pt>
                <c:pt idx="1274" formatCode="0.0%">
                  <c:v>0.51021542400855768</c:v>
                </c:pt>
                <c:pt idx="1275" formatCode="0.0%">
                  <c:v>0.51794277528584731</c:v>
                </c:pt>
                <c:pt idx="1276" formatCode="0.0%">
                  <c:v>0.51794277528584731</c:v>
                </c:pt>
                <c:pt idx="1277" formatCode="0.0%">
                  <c:v>0.50684025141734679</c:v>
                </c:pt>
                <c:pt idx="1278" formatCode="0.0%">
                  <c:v>0.50248798936897343</c:v>
                </c:pt>
                <c:pt idx="1279" formatCode="0.0%">
                  <c:v>0.50239920852502851</c:v>
                </c:pt>
                <c:pt idx="1280" formatCode="0.0%">
                  <c:v>0.50897190865726627</c:v>
                </c:pt>
                <c:pt idx="1281" formatCode="0.0%">
                  <c:v>0.51385702249389797</c:v>
                </c:pt>
                <c:pt idx="1282" formatCode="0.0%">
                  <c:v>0.51252472629866164</c:v>
                </c:pt>
                <c:pt idx="1283" formatCode="0.0%">
                  <c:v>0.51252472629866164</c:v>
                </c:pt>
                <c:pt idx="1284" formatCode="0.0%">
                  <c:v>0.51252472629866164</c:v>
                </c:pt>
                <c:pt idx="1285" formatCode="0.0%">
                  <c:v>0.5159887630961123</c:v>
                </c:pt>
                <c:pt idx="1286" formatCode="0.0%">
                  <c:v>0.52078509608879953</c:v>
                </c:pt>
                <c:pt idx="1287" formatCode="0.0%">
                  <c:v>0.52469312046826955</c:v>
                </c:pt>
                <c:pt idx="1288" formatCode="0.0%">
                  <c:v>0.53117703975656239</c:v>
                </c:pt>
                <c:pt idx="1289" formatCode="0.0%">
                  <c:v>0.53526279254851117</c:v>
                </c:pt>
                <c:pt idx="1290" formatCode="0.0%">
                  <c:v>0.53526279254851117</c:v>
                </c:pt>
                <c:pt idx="1291" formatCode="0.0%">
                  <c:v>0.53526279254851117</c:v>
                </c:pt>
                <c:pt idx="1292" formatCode="0.0%">
                  <c:v>0.53348642540896096</c:v>
                </c:pt>
                <c:pt idx="1293" formatCode="0.0%">
                  <c:v>0.53961497123458968</c:v>
                </c:pt>
                <c:pt idx="1294" formatCode="0.0%">
                  <c:v>0.52060745103861505</c:v>
                </c:pt>
                <c:pt idx="1295" formatCode="0.0%">
                  <c:v>0.52193974723385173</c:v>
                </c:pt>
                <c:pt idx="1296" formatCode="0.0%">
                  <c:v>0.50763961246202971</c:v>
                </c:pt>
                <c:pt idx="1297" formatCode="0.0%">
                  <c:v>0.50763961246202971</c:v>
                </c:pt>
                <c:pt idx="1298" formatCode="0.0%">
                  <c:v>0.50763961246202971</c:v>
                </c:pt>
                <c:pt idx="1299" formatCode="0.0%">
                  <c:v>0.5169657691909797</c:v>
                </c:pt>
                <c:pt idx="1300" formatCode="0.0%">
                  <c:v>0.52105152198292903</c:v>
                </c:pt>
                <c:pt idx="1301" formatCode="0.0%">
                  <c:v>0.50426443987081848</c:v>
                </c:pt>
                <c:pt idx="1302" formatCode="0.0%">
                  <c:v>0.49289540674589349</c:v>
                </c:pt>
                <c:pt idx="1303" formatCode="0.0%">
                  <c:v>0.49724758543197223</c:v>
                </c:pt>
                <c:pt idx="1304" formatCode="0.0%">
                  <c:v>0.49724758543197223</c:v>
                </c:pt>
                <c:pt idx="1305" formatCode="0.0%">
                  <c:v>0.49724758543197223</c:v>
                </c:pt>
                <c:pt idx="1306" formatCode="0.0%">
                  <c:v>0.50595202616642387</c:v>
                </c:pt>
                <c:pt idx="1307" formatCode="0.0%">
                  <c:v>0.50648496131697784</c:v>
                </c:pt>
                <c:pt idx="1308" formatCode="0.0%">
                  <c:v>0.5238937594235864</c:v>
                </c:pt>
                <c:pt idx="1309" formatCode="0.0%">
                  <c:v>0.51403466754408245</c:v>
                </c:pt>
                <c:pt idx="1310" formatCode="0.0%">
                  <c:v>0.45639014087477536</c:v>
                </c:pt>
                <c:pt idx="1311" formatCode="0.0%">
                  <c:v>0.45639014087477536</c:v>
                </c:pt>
                <c:pt idx="1312" formatCode="0.0%">
                  <c:v>0.45639014087477536</c:v>
                </c:pt>
                <c:pt idx="1313" formatCode="0.0%">
                  <c:v>0.40807177093441882</c:v>
                </c:pt>
                <c:pt idx="1314" formatCode="0.0%">
                  <c:v>0.4357838152271401</c:v>
                </c:pt>
                <c:pt idx="1315" formatCode="0.0%">
                  <c:v>0.45070566599346079</c:v>
                </c:pt>
                <c:pt idx="1316" formatCode="0.0%">
                  <c:v>0.44804107360298728</c:v>
                </c:pt>
                <c:pt idx="1317" formatCode="0.0%">
                  <c:v>0.45408083858467163</c:v>
                </c:pt>
                <c:pt idx="1318" formatCode="0.0%">
                  <c:v>0.45408083858467163</c:v>
                </c:pt>
                <c:pt idx="1319" formatCode="0.0%">
                  <c:v>0.45408083858467163</c:v>
                </c:pt>
                <c:pt idx="1320" formatCode="0.0%">
                  <c:v>0.4627852793191235</c:v>
                </c:pt>
                <c:pt idx="1321" formatCode="0.0%">
                  <c:v>0.46802568325612443</c:v>
                </c:pt>
                <c:pt idx="1322" formatCode="0.0%">
                  <c:v>0.46695981295501754</c:v>
                </c:pt>
                <c:pt idx="1323" formatCode="0.0%">
                  <c:v>0.49396127704700066</c:v>
                </c:pt>
                <c:pt idx="1324" formatCode="0.0%">
                  <c:v>0.49946810687813126</c:v>
                </c:pt>
                <c:pt idx="1325" formatCode="0.0%">
                  <c:v>0.49946810687813126</c:v>
                </c:pt>
                <c:pt idx="1326" formatCode="0.0%">
                  <c:v>0.49946810687813126</c:v>
                </c:pt>
                <c:pt idx="1327" formatCode="0.0%">
                  <c:v>0.50373150472026484</c:v>
                </c:pt>
                <c:pt idx="1328" formatCode="0.0%">
                  <c:v>0.50186627337447476</c:v>
                </c:pt>
                <c:pt idx="1329" formatCode="0.0%">
                  <c:v>0.50222156347484403</c:v>
                </c:pt>
                <c:pt idx="1330" formatCode="0.0%">
                  <c:v>0.50746196741184491</c:v>
                </c:pt>
                <c:pt idx="1331" formatCode="0.0%">
                  <c:v>0.50177749253053006</c:v>
                </c:pt>
                <c:pt idx="1332" formatCode="0.0%">
                  <c:v>0.50177749253053006</c:v>
                </c:pt>
                <c:pt idx="1333" formatCode="0.0%">
                  <c:v>0.50177749253053006</c:v>
                </c:pt>
                <c:pt idx="1334" formatCode="0.0%">
                  <c:v>0.50755083161808467</c:v>
                </c:pt>
                <c:pt idx="1335" formatCode="0.0%">
                  <c:v>0.51003777895837321</c:v>
                </c:pt>
                <c:pt idx="1336" formatCode="0.0%">
                  <c:v>0.51163650104773895</c:v>
                </c:pt>
                <c:pt idx="1337" formatCode="0.0%">
                  <c:v>0.52256146322835006</c:v>
                </c:pt>
                <c:pt idx="1338" formatCode="0.0%">
                  <c:v>0.52140681208329798</c:v>
                </c:pt>
                <c:pt idx="1339" formatCode="0.0%">
                  <c:v>0.5262031450759852</c:v>
                </c:pt>
                <c:pt idx="1340" formatCode="0.0%">
                  <c:v>0.5262031450759852</c:v>
                </c:pt>
                <c:pt idx="1341" formatCode="0.0%">
                  <c:v>0.52673599686424377</c:v>
                </c:pt>
                <c:pt idx="1342" formatCode="0.0%">
                  <c:v>0.5083501926627676</c:v>
                </c:pt>
                <c:pt idx="1343" formatCode="0.0%">
                  <c:v>0.49351712274039217</c:v>
                </c:pt>
                <c:pt idx="1344" formatCode="0.0%">
                  <c:v>0.48934258910449813</c:v>
                </c:pt>
                <c:pt idx="1345" formatCode="0.0%">
                  <c:v>0.46909147019493702</c:v>
                </c:pt>
                <c:pt idx="1346" formatCode="0.0%">
                  <c:v>0.46909147019493702</c:v>
                </c:pt>
                <c:pt idx="1347" formatCode="0.0%">
                  <c:v>0.46909147019493702</c:v>
                </c:pt>
                <c:pt idx="1348" formatCode="0.0%">
                  <c:v>0.47806242018581313</c:v>
                </c:pt>
                <c:pt idx="1349" formatCode="0.0%">
                  <c:v>0.48250337971583634</c:v>
                </c:pt>
                <c:pt idx="1350" formatCode="0.0%">
                  <c:v>0.47255550699238769</c:v>
                </c:pt>
                <c:pt idx="1351" formatCode="0.0%">
                  <c:v>0.50559673606605482</c:v>
                </c:pt>
                <c:pt idx="1352" formatCode="0.0%">
                  <c:v>0.5176763493917178</c:v>
                </c:pt>
                <c:pt idx="1353" formatCode="0.0%">
                  <c:v>0.5176763493917178</c:v>
                </c:pt>
                <c:pt idx="1354" formatCode="0.0%">
                  <c:v>0.5176763493917178</c:v>
                </c:pt>
                <c:pt idx="1355" formatCode="0.0%">
                  <c:v>0.51261359050490118</c:v>
                </c:pt>
                <c:pt idx="1356" formatCode="0.0%">
                  <c:v>0.52353846932321746</c:v>
                </c:pt>
                <c:pt idx="1357" formatCode="0.0%">
                  <c:v>0.51510053784518961</c:v>
                </c:pt>
                <c:pt idx="1358" formatCode="0.0%">
                  <c:v>0.53313113530859202</c:v>
                </c:pt>
                <c:pt idx="1359" formatCode="0.0%">
                  <c:v>0.5262031450759852</c:v>
                </c:pt>
                <c:pt idx="1360" formatCode="0.0%">
                  <c:v>0.5262031450759852</c:v>
                </c:pt>
                <c:pt idx="1361" formatCode="0.0%">
                  <c:v>0.5262031450759852</c:v>
                </c:pt>
                <c:pt idx="1362" formatCode="0.0%">
                  <c:v>0.53526279254851117</c:v>
                </c:pt>
                <c:pt idx="1363" formatCode="0.0%">
                  <c:v>0.53703924305035633</c:v>
                </c:pt>
                <c:pt idx="1364" formatCode="0.0%">
                  <c:v>0.53961497123458968</c:v>
                </c:pt>
                <c:pt idx="1365" formatCode="0.0%">
                  <c:v>0.5500958624708866</c:v>
                </c:pt>
                <c:pt idx="1366" formatCode="0.0%">
                  <c:v>0.55551391145807261</c:v>
                </c:pt>
                <c:pt idx="1367" formatCode="0.0%">
                  <c:v>0.55551391145807261</c:v>
                </c:pt>
                <c:pt idx="1368" formatCode="0.0%">
                  <c:v>0.55551391145807261</c:v>
                </c:pt>
                <c:pt idx="1369" formatCode="0.0%">
                  <c:v>0.55302688075548934</c:v>
                </c:pt>
                <c:pt idx="1370" formatCode="0.0%">
                  <c:v>0.54831941196904155</c:v>
                </c:pt>
                <c:pt idx="1371" formatCode="0.0%">
                  <c:v>0.55880021984304362</c:v>
                </c:pt>
                <c:pt idx="1372" formatCode="0.0%">
                  <c:v>0.55391510600641169</c:v>
                </c:pt>
                <c:pt idx="1373" formatCode="0.0%">
                  <c:v>0.56306361768517721</c:v>
                </c:pt>
                <c:pt idx="1374" formatCode="0.0%">
                  <c:v>0.56306361768517721</c:v>
                </c:pt>
                <c:pt idx="1375" formatCode="0.0%">
                  <c:v>0.56306361768517721</c:v>
                </c:pt>
                <c:pt idx="1376" formatCode="0.0%">
                  <c:v>0.56972518202365474</c:v>
                </c:pt>
                <c:pt idx="1377" formatCode="0.0%">
                  <c:v>0.56883695677273238</c:v>
                </c:pt>
                <c:pt idx="1378" formatCode="0.0%">
                  <c:v>0.57407736070973325</c:v>
                </c:pt>
                <c:pt idx="1379" formatCode="0.0%">
                  <c:v>0.58109421514857962</c:v>
                </c:pt>
                <c:pt idx="1380" formatCode="0.0%">
                  <c:v>0.58784456033100185</c:v>
                </c:pt>
                <c:pt idx="1381" formatCode="0.0%">
                  <c:v>0.58784456033100185</c:v>
                </c:pt>
                <c:pt idx="1382" formatCode="0.0%">
                  <c:v>0.58784456033100185</c:v>
                </c:pt>
                <c:pt idx="1383" formatCode="0.0%">
                  <c:v>0.60090117975153223</c:v>
                </c:pt>
                <c:pt idx="1384" formatCode="0.0%">
                  <c:v>0.60161175995227012</c:v>
                </c:pt>
                <c:pt idx="1385" formatCode="0.0%">
                  <c:v>0.60081231554529235</c:v>
                </c:pt>
                <c:pt idx="1386" formatCode="0.0%">
                  <c:v>0.61520131452335425</c:v>
                </c:pt>
                <c:pt idx="1387" formatCode="0.0%">
                  <c:v>0.61298079307719522</c:v>
                </c:pt>
                <c:pt idx="1388" formatCode="0.0%">
                  <c:v>0.61298079307719522</c:v>
                </c:pt>
                <c:pt idx="1389" formatCode="0.0%">
                  <c:v>0.61298079307719522</c:v>
                </c:pt>
                <c:pt idx="1390" formatCode="0.0%">
                  <c:v>0.60925033038561482</c:v>
                </c:pt>
                <c:pt idx="1391" formatCode="0.0%">
                  <c:v>0.60729623483358497</c:v>
                </c:pt>
                <c:pt idx="1392" formatCode="0.0%">
                  <c:v>0.60631922873871757</c:v>
                </c:pt>
                <c:pt idx="1393" formatCode="0.0%">
                  <c:v>0.59592720170866043</c:v>
                </c:pt>
                <c:pt idx="1394" formatCode="0.0%">
                  <c:v>0.60152289574603057</c:v>
                </c:pt>
                <c:pt idx="1395" formatCode="0.0%">
                  <c:v>0.60152289574603057</c:v>
                </c:pt>
                <c:pt idx="1396" formatCode="0.0%">
                  <c:v>0.60152289574603057</c:v>
                </c:pt>
                <c:pt idx="1397" formatCode="0.0%">
                  <c:v>0.6013452506958461</c:v>
                </c:pt>
                <c:pt idx="1398" formatCode="0.0%">
                  <c:v>0.60267754689108244</c:v>
                </c:pt>
                <c:pt idx="1399" formatCode="0.0%">
                  <c:v>0.59361789941855647</c:v>
                </c:pt>
                <c:pt idx="1400" formatCode="0.0%">
                  <c:v>0.56288597263499296</c:v>
                </c:pt>
                <c:pt idx="1401" formatCode="0.0%">
                  <c:v>0.57532087606102489</c:v>
                </c:pt>
                <c:pt idx="1402" formatCode="0.0%">
                  <c:v>0.57532087606102489</c:v>
                </c:pt>
                <c:pt idx="1403" formatCode="0.0%">
                  <c:v>0.57532087606102489</c:v>
                </c:pt>
                <c:pt idx="1404" formatCode="0.0%">
                  <c:v>0.57167919421338953</c:v>
                </c:pt>
                <c:pt idx="1405" formatCode="0.0%">
                  <c:v>0.5741662249159728</c:v>
                </c:pt>
                <c:pt idx="1406" formatCode="0.0%">
                  <c:v>0.61262550297682594</c:v>
                </c:pt>
                <c:pt idx="1407" formatCode="0.0%">
                  <c:v>0.62532683229698738</c:v>
                </c:pt>
                <c:pt idx="1408" formatCode="0.0%">
                  <c:v>0.63038959118380378</c:v>
                </c:pt>
                <c:pt idx="1409" formatCode="0.0%">
                  <c:v>0.63038959118380378</c:v>
                </c:pt>
                <c:pt idx="1410" formatCode="0.0%">
                  <c:v>0.63038959118380378</c:v>
                </c:pt>
                <c:pt idx="1411" formatCode="0.0%">
                  <c:v>0.65135120693180826</c:v>
                </c:pt>
                <c:pt idx="1412" formatCode="0.0%">
                  <c:v>0.64557786784425364</c:v>
                </c:pt>
                <c:pt idx="1413" formatCode="0.0%">
                  <c:v>0.64078161821386115</c:v>
                </c:pt>
                <c:pt idx="1414" formatCode="0.0%">
                  <c:v>0.64504493269370011</c:v>
                </c:pt>
                <c:pt idx="1415" formatCode="0.0%">
                  <c:v>0.62514918724680257</c:v>
                </c:pt>
                <c:pt idx="1416" formatCode="0.0%">
                  <c:v>0.62514918724680257</c:v>
                </c:pt>
                <c:pt idx="1417" formatCode="0.0%">
                  <c:v>0.62514918724680257</c:v>
                </c:pt>
                <c:pt idx="1418" formatCode="0.0%">
                  <c:v>0.62621505754791007</c:v>
                </c:pt>
                <c:pt idx="1419" formatCode="0.0%">
                  <c:v>0.62461625209624916</c:v>
                </c:pt>
                <c:pt idx="1420" formatCode="0.0%">
                  <c:v>0.63127781643472647</c:v>
                </c:pt>
                <c:pt idx="1421" formatCode="0.0%">
                  <c:v>0.63731758141641048</c:v>
                </c:pt>
                <c:pt idx="1422" formatCode="0.0%">
                  <c:v>0.66591776759775945</c:v>
                </c:pt>
                <c:pt idx="1423" formatCode="0.0%">
                  <c:v>0.66591776759775945</c:v>
                </c:pt>
                <c:pt idx="1424" formatCode="0.0%">
                  <c:v>0.66591776759775945</c:v>
                </c:pt>
                <c:pt idx="1425" formatCode="0.0%">
                  <c:v>0.6619208790120501</c:v>
                </c:pt>
                <c:pt idx="1426" formatCode="0.0%">
                  <c:v>0.66005564766626035</c:v>
                </c:pt>
                <c:pt idx="1427" formatCode="0.0%">
                  <c:v>0.65046306504318041</c:v>
                </c:pt>
                <c:pt idx="1428" formatCode="0.0%">
                  <c:v>0.65623632076844018</c:v>
                </c:pt>
                <c:pt idx="1429" formatCode="0.0%">
                  <c:v>0.65774634537615606</c:v>
                </c:pt>
                <c:pt idx="1430" formatCode="0.0%">
                  <c:v>0.65801277127028557</c:v>
                </c:pt>
                <c:pt idx="1431" formatCode="0.0%">
                  <c:v>0.65801277127028557</c:v>
                </c:pt>
                <c:pt idx="1432" formatCode="0.0%">
                  <c:v>0.67524392432670988</c:v>
                </c:pt>
                <c:pt idx="1433" formatCode="0.0%">
                  <c:v>0.67284575783036649</c:v>
                </c:pt>
                <c:pt idx="1434" formatCode="0.0%">
                  <c:v>0.67924089627471407</c:v>
                </c:pt>
                <c:pt idx="1435" formatCode="0.0%">
                  <c:v>0.67773095502929326</c:v>
                </c:pt>
                <c:pt idx="1436" formatCode="0.0%">
                  <c:v>0.67924089627471407</c:v>
                </c:pt>
                <c:pt idx="1437" formatCode="0.0%">
                  <c:v>0.67924089627471407</c:v>
                </c:pt>
                <c:pt idx="1438" formatCode="0.0%">
                  <c:v>0.67924089627471407</c:v>
                </c:pt>
                <c:pt idx="1439" formatCode="0.0%">
                  <c:v>0.67453342748826661</c:v>
                </c:pt>
                <c:pt idx="1440" formatCode="0.0%">
                  <c:v>0.67737566492892398</c:v>
                </c:pt>
                <c:pt idx="1441" formatCode="0.0%">
                  <c:v>0.68021790236958168</c:v>
                </c:pt>
                <c:pt idx="1442" formatCode="0.0%">
                  <c:v>0.68021790236958168</c:v>
                </c:pt>
                <c:pt idx="1443" formatCode="0.0%">
                  <c:v>0.66902651429484139</c:v>
                </c:pt>
                <c:pt idx="1444" formatCode="0.0%">
                  <c:v>0.66902651429484139</c:v>
                </c:pt>
                <c:pt idx="1445" formatCode="0.0%">
                  <c:v>0.66902651429484139</c:v>
                </c:pt>
                <c:pt idx="1446" formatCode="0.0%">
                  <c:v>0.67009238459594855</c:v>
                </c:pt>
                <c:pt idx="1447" formatCode="0.0%">
                  <c:v>0.66085500871094294</c:v>
                </c:pt>
                <c:pt idx="1448" formatCode="0.0%">
                  <c:v>0.66796064399373389</c:v>
                </c:pt>
                <c:pt idx="1449" formatCode="0.0%">
                  <c:v>0.63891638686807117</c:v>
                </c:pt>
                <c:pt idx="1450" formatCode="0.0%">
                  <c:v>0.63705115552228109</c:v>
                </c:pt>
                <c:pt idx="1451" formatCode="0.0%">
                  <c:v>0.63705115552228109</c:v>
                </c:pt>
                <c:pt idx="1452" formatCode="0.0%">
                  <c:v>0.63705115552228109</c:v>
                </c:pt>
                <c:pt idx="1453" formatCode="0.0%">
                  <c:v>0.63962688370651444</c:v>
                </c:pt>
                <c:pt idx="1454" formatCode="0.0%">
                  <c:v>0.63962688370651444</c:v>
                </c:pt>
                <c:pt idx="1455" formatCode="0.0%">
                  <c:v>0.63962688370651444</c:v>
                </c:pt>
                <c:pt idx="1456" formatCode="0.0%">
                  <c:v>0.63962688370651444</c:v>
                </c:pt>
                <c:pt idx="1457" formatCode="0.0%">
                  <c:v>0.64619966720104682</c:v>
                </c:pt>
                <c:pt idx="1458" formatCode="0.0%">
                  <c:v>0.64619966720104682</c:v>
                </c:pt>
                <c:pt idx="1459" formatCode="0.0%">
                  <c:v>0.64619966720104682</c:v>
                </c:pt>
                <c:pt idx="1460" formatCode="0.0%">
                  <c:v>0.63554121427686028</c:v>
                </c:pt>
                <c:pt idx="1461" formatCode="0.0%">
                  <c:v>0.64078161821386115</c:v>
                </c:pt>
                <c:pt idx="1462" formatCode="0.0%">
                  <c:v>0.64078161821386115</c:v>
                </c:pt>
                <c:pt idx="1463" formatCode="0.0%">
                  <c:v>0.65970035756589107</c:v>
                </c:pt>
                <c:pt idx="1464" formatCode="0.0%">
                  <c:v>0.65534817887981267</c:v>
                </c:pt>
                <c:pt idx="1465" formatCode="0.0%">
                  <c:v>0.65534817887981267</c:v>
                </c:pt>
                <c:pt idx="1466" formatCode="0.0%">
                  <c:v>0.65534817887981267</c:v>
                </c:pt>
                <c:pt idx="1467" formatCode="0.0%">
                  <c:v>0.66582898675381474</c:v>
                </c:pt>
                <c:pt idx="1468" formatCode="0.0%">
                  <c:v>0.65463759867907445</c:v>
                </c:pt>
                <c:pt idx="1469" formatCode="0.0%">
                  <c:v>0.65490402457320385</c:v>
                </c:pt>
                <c:pt idx="1470" formatCode="0.0%">
                  <c:v>0.6573910552757869</c:v>
                </c:pt>
                <c:pt idx="1471" formatCode="0.0%">
                  <c:v>0.64291327545378041</c:v>
                </c:pt>
                <c:pt idx="1472" formatCode="0.0%">
                  <c:v>0.64291327545378041</c:v>
                </c:pt>
                <c:pt idx="1473" formatCode="0.0%">
                  <c:v>0.64291327545378041</c:v>
                </c:pt>
                <c:pt idx="1474" formatCode="0.0%">
                  <c:v>0.63776165236072446</c:v>
                </c:pt>
                <c:pt idx="1475" formatCode="0.0%">
                  <c:v>0.63660700121567226</c:v>
                </c:pt>
                <c:pt idx="1476" formatCode="0.0%">
                  <c:v>0.6573910552757869</c:v>
                </c:pt>
                <c:pt idx="1477" formatCode="0.0%">
                  <c:v>0.66618427685418369</c:v>
                </c:pt>
                <c:pt idx="1478" formatCode="0.0%">
                  <c:v>0.67702037482855504</c:v>
                </c:pt>
                <c:pt idx="1479" formatCode="0.0%">
                  <c:v>0.67702037482855504</c:v>
                </c:pt>
                <c:pt idx="1480" formatCode="0.0%">
                  <c:v>0.67702037482855504</c:v>
                </c:pt>
                <c:pt idx="1481" formatCode="0.0%">
                  <c:v>0.66982587533952431</c:v>
                </c:pt>
                <c:pt idx="1482" formatCode="0.0%">
                  <c:v>0.67035881049007795</c:v>
                </c:pt>
                <c:pt idx="1483" formatCode="0.0%">
                  <c:v>0.68297135896629413</c:v>
                </c:pt>
                <c:pt idx="1484" formatCode="0.0%">
                  <c:v>0.68590237725089653</c:v>
                </c:pt>
                <c:pt idx="1485" formatCode="0.0%">
                  <c:v>0.67719801987873951</c:v>
                </c:pt>
                <c:pt idx="1486" formatCode="0.0%">
                  <c:v>0.67719801987873951</c:v>
                </c:pt>
                <c:pt idx="1487" formatCode="0.0%">
                  <c:v>0.67719801987873951</c:v>
                </c:pt>
                <c:pt idx="1488" formatCode="0.0%">
                  <c:v>0.65854570642083898</c:v>
                </c:pt>
                <c:pt idx="1489" formatCode="0.0%">
                  <c:v>0.67781973587323785</c:v>
                </c:pt>
                <c:pt idx="1490" formatCode="0.0%">
                  <c:v>0.68279371391610966</c:v>
                </c:pt>
                <c:pt idx="1491" formatCode="0.0%">
                  <c:v>0.68039554741976616</c:v>
                </c:pt>
                <c:pt idx="1492" formatCode="0.0%">
                  <c:v>0.68350429411684788</c:v>
                </c:pt>
                <c:pt idx="1493" formatCode="0.0%">
                  <c:v>0.68350429411684788</c:v>
                </c:pt>
                <c:pt idx="1494" formatCode="0.0%">
                  <c:v>0.68350429411684788</c:v>
                </c:pt>
                <c:pt idx="1495" formatCode="0.0%">
                  <c:v>0.6790632512245296</c:v>
                </c:pt>
                <c:pt idx="1496" formatCode="0.0%">
                  <c:v>0.67675386557213069</c:v>
                </c:pt>
                <c:pt idx="1497" formatCode="0.0%">
                  <c:v>0.67423849168932126</c:v>
                </c:pt>
                <c:pt idx="1498" formatCode="0.0%">
                  <c:v>0.69818147654797746</c:v>
                </c:pt>
                <c:pt idx="1499" formatCode="0.0%">
                  <c:v>0.69771564804472486</c:v>
                </c:pt>
                <c:pt idx="1500" formatCode="0.0%">
                  <c:v>0.69771564804472486</c:v>
                </c:pt>
                <c:pt idx="1501" formatCode="0.0%">
                  <c:v>0.69771564804472486</c:v>
                </c:pt>
                <c:pt idx="1502" formatCode="0.0%">
                  <c:v>0.71122434118986833</c:v>
                </c:pt>
                <c:pt idx="1503" formatCode="0.0%">
                  <c:v>0.70582088060426995</c:v>
                </c:pt>
                <c:pt idx="1504" formatCode="0.0%">
                  <c:v>0.69268481691681072</c:v>
                </c:pt>
                <c:pt idx="1505" formatCode="0.0%">
                  <c:v>0.69613184780612525</c:v>
                </c:pt>
                <c:pt idx="1506" formatCode="0.0%">
                  <c:v>0.69613184780612525</c:v>
                </c:pt>
                <c:pt idx="1507" formatCode="0.0%">
                  <c:v>0.69613184780612525</c:v>
                </c:pt>
                <c:pt idx="1508" formatCode="0.0%">
                  <c:v>0.69613184780612525</c:v>
                </c:pt>
                <c:pt idx="1509" formatCode="0.0%">
                  <c:v>0.70535505210101745</c:v>
                </c:pt>
                <c:pt idx="1510" formatCode="0.0%">
                  <c:v>0.70703196802289059</c:v>
                </c:pt>
                <c:pt idx="1511" formatCode="0.0%">
                  <c:v>0.70992005472567943</c:v>
                </c:pt>
                <c:pt idx="1512" formatCode="0.0%">
                  <c:v>0.70218753498611308</c:v>
                </c:pt>
                <c:pt idx="1513" formatCode="0.0%">
                  <c:v>0.7059139962875437</c:v>
                </c:pt>
                <c:pt idx="1514" formatCode="0.0%">
                  <c:v>0.7059139962875437</c:v>
                </c:pt>
                <c:pt idx="1515" formatCode="0.0%">
                  <c:v>0.7059139962875437</c:v>
                </c:pt>
                <c:pt idx="1516" formatCode="0.0%">
                  <c:v>0.68327529789307617</c:v>
                </c:pt>
                <c:pt idx="1517" formatCode="0.0%">
                  <c:v>0.67228206199303742</c:v>
                </c:pt>
                <c:pt idx="1518" formatCode="0.0%">
                  <c:v>0.68849244374983276</c:v>
                </c:pt>
                <c:pt idx="1519" formatCode="0.0%">
                  <c:v>0.68662921309911751</c:v>
                </c:pt>
                <c:pt idx="1520" formatCode="0.0%">
                  <c:v>0.67945563754607774</c:v>
                </c:pt>
                <c:pt idx="1521" formatCode="0.0%">
                  <c:v>0.67945563754607774</c:v>
                </c:pt>
                <c:pt idx="1522" formatCode="0.0%">
                  <c:v>0.67945563754607774</c:v>
                </c:pt>
                <c:pt idx="1523" formatCode="0.0%">
                  <c:v>0.67172311780651117</c:v>
                </c:pt>
                <c:pt idx="1524" formatCode="0.0%">
                  <c:v>0.62383714808919877</c:v>
                </c:pt>
                <c:pt idx="1525" formatCode="0.0%">
                  <c:v>0.6078129976989507</c:v>
                </c:pt>
                <c:pt idx="1526" formatCode="0.0%">
                  <c:v>0.60762668297010858</c:v>
                </c:pt>
                <c:pt idx="1527" formatCode="0.0%">
                  <c:v>0.58619915535655676</c:v>
                </c:pt>
                <c:pt idx="1528" formatCode="0.0%">
                  <c:v>0.58619915535655676</c:v>
                </c:pt>
                <c:pt idx="1529" formatCode="0.0%">
                  <c:v>0.58619915535655676</c:v>
                </c:pt>
                <c:pt idx="1530" formatCode="0.0%">
                  <c:v>0.57315629071466556</c:v>
                </c:pt>
                <c:pt idx="1531" formatCode="0.0%">
                  <c:v>0.54716367711415725</c:v>
                </c:pt>
                <c:pt idx="1532" formatCode="0.0%">
                  <c:v>0.54800213507509399</c:v>
                </c:pt>
                <c:pt idx="1533" formatCode="0.0%">
                  <c:v>0.54502093268903162</c:v>
                </c:pt>
                <c:pt idx="1534" formatCode="0.0%">
                  <c:v>0.56430571587745793</c:v>
                </c:pt>
                <c:pt idx="1535" formatCode="0.0%">
                  <c:v>0.56430571587745793</c:v>
                </c:pt>
                <c:pt idx="1536" formatCode="0.0%">
                  <c:v>0.56430571587745793</c:v>
                </c:pt>
                <c:pt idx="1537" formatCode="0.0%">
                  <c:v>0.56924343132209854</c:v>
                </c:pt>
                <c:pt idx="1538" formatCode="0.0%">
                  <c:v>0.56216297145233229</c:v>
                </c:pt>
                <c:pt idx="1539" formatCode="0.0%">
                  <c:v>0.58237941164726326</c:v>
                </c:pt>
                <c:pt idx="1540" formatCode="0.0%">
                  <c:v>0.58899404301377734</c:v>
                </c:pt>
                <c:pt idx="1541" formatCode="0.0%">
                  <c:v>0.57399474867560263</c:v>
                </c:pt>
                <c:pt idx="1542" formatCode="0.0%">
                  <c:v>0.57399474867560263</c:v>
                </c:pt>
                <c:pt idx="1543" formatCode="0.0%">
                  <c:v>0.57399474867560263</c:v>
                </c:pt>
                <c:pt idx="1544" formatCode="0.0%">
                  <c:v>0.60203690765566786</c:v>
                </c:pt>
                <c:pt idx="1545" formatCode="0.0%">
                  <c:v>0.60613608177707734</c:v>
                </c:pt>
                <c:pt idx="1546" formatCode="0.0%">
                  <c:v>0.59905570526960561</c:v>
                </c:pt>
                <c:pt idx="1547" formatCode="0.0%">
                  <c:v>0.59020513043239764</c:v>
                </c:pt>
                <c:pt idx="1548" formatCode="0.0%">
                  <c:v>0.56514417383839433</c:v>
                </c:pt>
                <c:pt idx="1549" formatCode="0.0%">
                  <c:v>0.56514417383839433</c:v>
                </c:pt>
                <c:pt idx="1550" formatCode="0.0%">
                  <c:v>0.56514417383839433</c:v>
                </c:pt>
                <c:pt idx="1551" formatCode="0.0%">
                  <c:v>0.55955439852395383</c:v>
                </c:pt>
                <c:pt idx="1552" formatCode="0.0%">
                  <c:v>0.56806677253122362</c:v>
                </c:pt>
                <c:pt idx="1553" formatCode="0.0%">
                  <c:v>0.56244248522674267</c:v>
                </c:pt>
                <c:pt idx="1554" formatCode="0.0%">
                  <c:v>0.48670067125820621</c:v>
                </c:pt>
                <c:pt idx="1555" formatCode="0.0%">
                  <c:v>0.43089586707248573</c:v>
                </c:pt>
                <c:pt idx="1556" formatCode="0.0%">
                  <c:v>0.43089586707248573</c:v>
                </c:pt>
                <c:pt idx="1557" formatCode="0.0%">
                  <c:v>0.43089586707248573</c:v>
                </c:pt>
                <c:pt idx="1558" formatCode="0.0%">
                  <c:v>0.4024809952724408</c:v>
                </c:pt>
                <c:pt idx="1559" formatCode="0.0%">
                  <c:v>0.44086433028274569</c:v>
                </c:pt>
                <c:pt idx="1560" formatCode="0.0%">
                  <c:v>0.36502931726864118</c:v>
                </c:pt>
                <c:pt idx="1561" formatCode="0.0%">
                  <c:v>0.43303861149761103</c:v>
                </c:pt>
                <c:pt idx="1562" formatCode="0.0%">
                  <c:v>0.41077254256082796</c:v>
                </c:pt>
                <c:pt idx="1563" formatCode="0.0%">
                  <c:v>0.41077254256082796</c:v>
                </c:pt>
                <c:pt idx="1564" formatCode="0.0%">
                  <c:v>0.41077254256082796</c:v>
                </c:pt>
                <c:pt idx="1565" formatCode="0.0%">
                  <c:v>0.45595674030419386</c:v>
                </c:pt>
                <c:pt idx="1566" formatCode="0.0%">
                  <c:v>0.46126708520651905</c:v>
                </c:pt>
                <c:pt idx="1567" formatCode="0.0%">
                  <c:v>0.43956004381855651</c:v>
                </c:pt>
                <c:pt idx="1568" formatCode="0.0%">
                  <c:v>0.43956004381855651</c:v>
                </c:pt>
                <c:pt idx="1569" formatCode="0.0%">
                  <c:v>0.43956004381855651</c:v>
                </c:pt>
                <c:pt idx="1570" formatCode="0.0%">
                  <c:v>0.43956004381855651</c:v>
                </c:pt>
                <c:pt idx="1571" formatCode="0.0%">
                  <c:v>0.43956004381855651</c:v>
                </c:pt>
                <c:pt idx="1572" formatCode="0.0%">
                  <c:v>0.43956004381855651</c:v>
                </c:pt>
                <c:pt idx="1573" formatCode="0.0%">
                  <c:v>0.42036837631340407</c:v>
                </c:pt>
                <c:pt idx="1574" formatCode="0.0%">
                  <c:v>0.47757066600888265</c:v>
                </c:pt>
                <c:pt idx="1575" formatCode="0.0%">
                  <c:v>0.47505529212607284</c:v>
                </c:pt>
                <c:pt idx="1576" formatCode="0.0%">
                  <c:v>0.48399889928425976</c:v>
                </c:pt>
                <c:pt idx="1577" formatCode="0.0%">
                  <c:v>0.48399889928425976</c:v>
                </c:pt>
                <c:pt idx="1578" formatCode="0.0%">
                  <c:v>0.48399889928425976</c:v>
                </c:pt>
                <c:pt idx="1579" formatCode="0.0%">
                  <c:v>0.49191781711496274</c:v>
                </c:pt>
                <c:pt idx="1580" formatCode="0.0%">
                  <c:v>0.49620330596521428</c:v>
                </c:pt>
                <c:pt idx="1581" formatCode="0.0%">
                  <c:v>0.51148211407779909</c:v>
                </c:pt>
                <c:pt idx="1582" formatCode="0.0%">
                  <c:v>0.53505246947877139</c:v>
                </c:pt>
                <c:pt idx="1583" formatCode="0.0%">
                  <c:v>0.53589092743970812</c:v>
                </c:pt>
                <c:pt idx="1584" formatCode="0.0%">
                  <c:v>0.53589092743970812</c:v>
                </c:pt>
                <c:pt idx="1585" formatCode="0.0%">
                  <c:v>0.53589092743970812</c:v>
                </c:pt>
                <c:pt idx="1586" formatCode="0.0%">
                  <c:v>0.54371664622484273</c:v>
                </c:pt>
                <c:pt idx="1587" formatCode="0.0%">
                  <c:v>0.53421401151783499</c:v>
                </c:pt>
                <c:pt idx="1588" formatCode="0.0%">
                  <c:v>0.52890366661551014</c:v>
                </c:pt>
                <c:pt idx="1589" formatCode="0.0%">
                  <c:v>0.54036273101880139</c:v>
                </c:pt>
                <c:pt idx="1590" formatCode="0.0%">
                  <c:v>0.55061070800347234</c:v>
                </c:pt>
                <c:pt idx="1591" formatCode="0.0%">
                  <c:v>0.55061070800347234</c:v>
                </c:pt>
                <c:pt idx="1592" formatCode="0.0%">
                  <c:v>0.55061070800347234</c:v>
                </c:pt>
                <c:pt idx="1593" formatCode="0.0%">
                  <c:v>0.59262738863193387</c:v>
                </c:pt>
                <c:pt idx="1594" formatCode="0.0%">
                  <c:v>0.59532916060588037</c:v>
                </c:pt>
                <c:pt idx="1595" formatCode="0.0%">
                  <c:v>0.59998727891381609</c:v>
                </c:pt>
                <c:pt idx="1596" formatCode="0.0%">
                  <c:v>0.60035999173379506</c:v>
                </c:pt>
                <c:pt idx="1597" formatCode="0.0%">
                  <c:v>0.61517288798083258</c:v>
                </c:pt>
                <c:pt idx="1598" formatCode="0.0%">
                  <c:v>0.61517288798083258</c:v>
                </c:pt>
                <c:pt idx="1599" formatCode="0.0%">
                  <c:v>0.61517288798083258</c:v>
                </c:pt>
                <c:pt idx="1600" formatCode="0.0%">
                  <c:v>0.6078129976989507</c:v>
                </c:pt>
                <c:pt idx="1601" formatCode="0.0%">
                  <c:v>0.61349597205895945</c:v>
                </c:pt>
                <c:pt idx="1602" formatCode="0.0%">
                  <c:v>0.60045310741706859</c:v>
                </c:pt>
                <c:pt idx="1603" formatCode="0.0%">
                  <c:v>0.59300001808961811</c:v>
                </c:pt>
                <c:pt idx="1604" formatCode="0.0%">
                  <c:v>0.57725546483607526</c:v>
                </c:pt>
                <c:pt idx="1605" formatCode="0.0%">
                  <c:v>0.57725546483607526</c:v>
                </c:pt>
                <c:pt idx="1606" formatCode="0.0%">
                  <c:v>0.57725546483607526</c:v>
                </c:pt>
                <c:pt idx="1607" formatCode="0.0%">
                  <c:v>0.58890084396820863</c:v>
                </c:pt>
                <c:pt idx="1608" formatCode="0.0%">
                  <c:v>0.59989416323054234</c:v>
                </c:pt>
                <c:pt idx="1609" formatCode="0.0%">
                  <c:v>0.60129156537800499</c:v>
                </c:pt>
                <c:pt idx="1610" formatCode="0.0%">
                  <c:v>0.60129156537800499</c:v>
                </c:pt>
                <c:pt idx="1611" formatCode="0.0%">
                  <c:v>0.60129156537800499</c:v>
                </c:pt>
                <c:pt idx="1612" formatCode="0.0%">
                  <c:v>0.59952145041056359</c:v>
                </c:pt>
                <c:pt idx="1613" formatCode="0.0%">
                  <c:v>0.59952145041056359</c:v>
                </c:pt>
                <c:pt idx="1614" formatCode="0.0%">
                  <c:v>0.58591964158214638</c:v>
                </c:pt>
                <c:pt idx="1615" formatCode="0.0%">
                  <c:v>0.59858987676635333</c:v>
                </c:pt>
                <c:pt idx="1616" formatCode="0.0%">
                  <c:v>0.60520442477057257</c:v>
                </c:pt>
                <c:pt idx="1617" formatCode="0.0%">
                  <c:v>0.60520442477057257</c:v>
                </c:pt>
                <c:pt idx="1618" formatCode="0.0%">
                  <c:v>0.61973797396778929</c:v>
                </c:pt>
                <c:pt idx="1619" formatCode="0.0%">
                  <c:v>0.61973797396778929</c:v>
                </c:pt>
                <c:pt idx="1620" formatCode="0.0%">
                  <c:v>0.61973797396778929</c:v>
                </c:pt>
                <c:pt idx="1621" formatCode="0.0%">
                  <c:v>0.61973797396778929</c:v>
                </c:pt>
                <c:pt idx="1622" formatCode="0.0%">
                  <c:v>0.61591823025849546</c:v>
                </c:pt>
                <c:pt idx="1623" formatCode="0.0%">
                  <c:v>0.61480025852314868</c:v>
                </c:pt>
                <c:pt idx="1624" formatCode="0.0%">
                  <c:v>0.59700607652775373</c:v>
                </c:pt>
                <c:pt idx="1625" formatCode="0.0%">
                  <c:v>0.58629227103983028</c:v>
                </c:pt>
                <c:pt idx="1626" formatCode="0.0%">
                  <c:v>0.58629227103983028</c:v>
                </c:pt>
                <c:pt idx="1627" formatCode="0.0%">
                  <c:v>0.58629227103983028</c:v>
                </c:pt>
                <c:pt idx="1628" formatCode="0.0%">
                  <c:v>0.5939316750961231</c:v>
                </c:pt>
                <c:pt idx="1629" formatCode="0.0%">
                  <c:v>0.59262738863193387</c:v>
                </c:pt>
                <c:pt idx="1630" formatCode="0.0%">
                  <c:v>0.59411798982496522</c:v>
                </c:pt>
                <c:pt idx="1631" formatCode="0.0%">
                  <c:v>0.58060929667982175</c:v>
                </c:pt>
                <c:pt idx="1632" formatCode="0.0%">
                  <c:v>0.58536069739562036</c:v>
                </c:pt>
                <c:pt idx="1633" formatCode="0.0%">
                  <c:v>0.58536069739562036</c:v>
                </c:pt>
                <c:pt idx="1634" formatCode="0.0%">
                  <c:v>0.58536069739562036</c:v>
                </c:pt>
                <c:pt idx="1635" formatCode="0.0%">
                  <c:v>0.58098200949980028</c:v>
                </c:pt>
                <c:pt idx="1636" formatCode="0.0%">
                  <c:v>0.59607441952124873</c:v>
                </c:pt>
                <c:pt idx="1637" formatCode="0.0%">
                  <c:v>0.60017359364265788</c:v>
                </c:pt>
                <c:pt idx="1638" formatCode="0.0%">
                  <c:v>0.59607441952124873</c:v>
                </c:pt>
                <c:pt idx="1639" formatCode="0.0%">
                  <c:v>0.60753356728683483</c:v>
                </c:pt>
                <c:pt idx="1640" formatCode="0.0%">
                  <c:v>0.60753356728683483</c:v>
                </c:pt>
                <c:pt idx="1641" formatCode="0.0%">
                  <c:v>0.60753356728683483</c:v>
                </c:pt>
                <c:pt idx="1642" formatCode="0.0%">
                  <c:v>0.61088739913058132</c:v>
                </c:pt>
                <c:pt idx="1643" formatCode="0.0%">
                  <c:v>0.60380702262310992</c:v>
                </c:pt>
                <c:pt idx="1644" formatCode="0.0%">
                  <c:v>0.61135322763383382</c:v>
                </c:pt>
                <c:pt idx="1645" formatCode="0.0%">
                  <c:v>0.62402346281804089</c:v>
                </c:pt>
                <c:pt idx="1646" formatCode="0.0%">
                  <c:v>0.61340285637568603</c:v>
                </c:pt>
                <c:pt idx="1647" formatCode="0.0%">
                  <c:v>0.61340285637568603</c:v>
                </c:pt>
                <c:pt idx="1648" formatCode="0.0%">
                  <c:v>0.61340285637568603</c:v>
                </c:pt>
                <c:pt idx="1649" formatCode="0.0%">
                  <c:v>0.61824728941246321</c:v>
                </c:pt>
                <c:pt idx="1650" formatCode="0.0%">
                  <c:v>0.61983108965106282</c:v>
                </c:pt>
                <c:pt idx="1651" formatCode="0.0%">
                  <c:v>0.62243966257944128</c:v>
                </c:pt>
                <c:pt idx="1652" formatCode="0.0%">
                  <c:v>0.63082440891339675</c:v>
                </c:pt>
                <c:pt idx="1653" formatCode="0.0%">
                  <c:v>0.62104226043197852</c:v>
                </c:pt>
                <c:pt idx="1654" formatCode="0.0%">
                  <c:v>0.62104226043197852</c:v>
                </c:pt>
                <c:pt idx="1655" formatCode="0.0%">
                  <c:v>0.62104226043197852</c:v>
                </c:pt>
                <c:pt idx="1656" formatCode="0.0%">
                  <c:v>0.62243966257944128</c:v>
                </c:pt>
                <c:pt idx="1657" formatCode="0.0%">
                  <c:v>0.6330602690217958</c:v>
                </c:pt>
                <c:pt idx="1658" formatCode="0.0%">
                  <c:v>0.62942692340363915</c:v>
                </c:pt>
                <c:pt idx="1659" formatCode="0.0%">
                  <c:v>0.64088598780693073</c:v>
                </c:pt>
                <c:pt idx="1660" formatCode="0.0%">
                  <c:v>0.6393953866138995</c:v>
                </c:pt>
                <c:pt idx="1661" formatCode="0.0%">
                  <c:v>0.6393953866138995</c:v>
                </c:pt>
                <c:pt idx="1662" formatCode="0.0%">
                  <c:v>0.6393953866138995</c:v>
                </c:pt>
                <c:pt idx="1663" formatCode="0.0%">
                  <c:v>0.64219027427111997</c:v>
                </c:pt>
                <c:pt idx="1664" formatCode="0.0%">
                  <c:v>0.6342714398027115</c:v>
                </c:pt>
                <c:pt idx="1665" formatCode="0.0%">
                  <c:v>0.64824587808881262</c:v>
                </c:pt>
                <c:pt idx="1666" formatCode="0.0%">
                  <c:v>0.65541945364185272</c:v>
                </c:pt>
                <c:pt idx="1667" formatCode="0.0%">
                  <c:v>0.65746908238370483</c:v>
                </c:pt>
                <c:pt idx="1668" formatCode="0.0%">
                  <c:v>0.65746908238370483</c:v>
                </c:pt>
                <c:pt idx="1669" formatCode="0.0%">
                  <c:v>0.65746908238370483</c:v>
                </c:pt>
                <c:pt idx="1670" formatCode="0.0%">
                  <c:v>0.66576062967209193</c:v>
                </c:pt>
                <c:pt idx="1671" formatCode="0.0%">
                  <c:v>0.6778718373074778</c:v>
                </c:pt>
                <c:pt idx="1672" formatCode="0.0%">
                  <c:v>0.68206421047445565</c:v>
                </c:pt>
                <c:pt idx="1673" formatCode="0.0%">
                  <c:v>0.67414529264375289</c:v>
                </c:pt>
                <c:pt idx="1674" formatCode="0.0%">
                  <c:v>0.65951871112555693</c:v>
                </c:pt>
                <c:pt idx="1675" formatCode="0.0%">
                  <c:v>0.65951871112555693</c:v>
                </c:pt>
                <c:pt idx="1676" formatCode="0.0%">
                  <c:v>0.65951871112555693</c:v>
                </c:pt>
                <c:pt idx="1677" formatCode="0.0%">
                  <c:v>0.65262456598463248</c:v>
                </c:pt>
                <c:pt idx="1678" formatCode="0.0%">
                  <c:v>0.65271776503020107</c:v>
                </c:pt>
                <c:pt idx="1679" formatCode="0.0%">
                  <c:v>0.64871170659206512</c:v>
                </c:pt>
                <c:pt idx="1680" formatCode="0.0%">
                  <c:v>0.66194096932509294</c:v>
                </c:pt>
                <c:pt idx="1681" formatCode="0.0%">
                  <c:v>0.66231359878277718</c:v>
                </c:pt>
                <c:pt idx="1682" formatCode="0.0%">
                  <c:v>0.66231359878277718</c:v>
                </c:pt>
                <c:pt idx="1683" formatCode="0.0%">
                  <c:v>0.66231359878277718</c:v>
                </c:pt>
                <c:pt idx="1684" formatCode="0.0%">
                  <c:v>0.67088457648327993</c:v>
                </c:pt>
                <c:pt idx="1685" formatCode="0.0%">
                  <c:v>0.67013931756791179</c:v>
                </c:pt>
                <c:pt idx="1686" formatCode="0.0%">
                  <c:v>0.67694026366326765</c:v>
                </c:pt>
                <c:pt idx="1687" formatCode="0.0%">
                  <c:v>0.68439326962842328</c:v>
                </c:pt>
                <c:pt idx="1688" formatCode="0.0%">
                  <c:v>0.678430864856299</c:v>
                </c:pt>
                <c:pt idx="1689" formatCode="0.0%">
                  <c:v>0.678430864856299</c:v>
                </c:pt>
                <c:pt idx="1690" formatCode="0.0%">
                  <c:v>0.678430864856299</c:v>
                </c:pt>
                <c:pt idx="1691" formatCode="0.0%">
                  <c:v>0.68430015394514987</c:v>
                </c:pt>
                <c:pt idx="1692" formatCode="0.0%">
                  <c:v>0.68402064017073938</c:v>
                </c:pt>
                <c:pt idx="1693" formatCode="0.0%">
                  <c:v>0.66622645817534443</c:v>
                </c:pt>
                <c:pt idx="1694" formatCode="0.0%">
                  <c:v>0.67889669335955116</c:v>
                </c:pt>
                <c:pt idx="1695" formatCode="0.0%">
                  <c:v>0.68746767106005424</c:v>
                </c:pt>
                <c:pt idx="1696" formatCode="0.0%">
                  <c:v>0.68746767106005424</c:v>
                </c:pt>
                <c:pt idx="1697" formatCode="0.0%">
                  <c:v>0.68746767106005424</c:v>
                </c:pt>
                <c:pt idx="1698" formatCode="0.0%">
                  <c:v>0.68513861190608627</c:v>
                </c:pt>
                <c:pt idx="1699" formatCode="0.0%">
                  <c:v>0.68262315466098189</c:v>
                </c:pt>
                <c:pt idx="1700" formatCode="0.0%">
                  <c:v>0.69063527153725313</c:v>
                </c:pt>
                <c:pt idx="1701" formatCode="0.0%">
                  <c:v>0.68364801071305525</c:v>
                </c:pt>
                <c:pt idx="1702" formatCode="0.0%">
                  <c:v>0.67144360403210068</c:v>
                </c:pt>
                <c:pt idx="1703" formatCode="0.0%">
                  <c:v>0.67144360403210068</c:v>
                </c:pt>
                <c:pt idx="1704" formatCode="0.0%">
                  <c:v>0.67414529264375289</c:v>
                </c:pt>
                <c:pt idx="1705" formatCode="0.0%">
                  <c:v>0.67414529264375289</c:v>
                </c:pt>
                <c:pt idx="1706" formatCode="0.0%">
                  <c:v>0.65858705411905194</c:v>
                </c:pt>
                <c:pt idx="1707" formatCode="0.0%">
                  <c:v>0.67544957910794179</c:v>
                </c:pt>
                <c:pt idx="1708" formatCode="0.0%">
                  <c:v>0.683741126396329</c:v>
                </c:pt>
                <c:pt idx="1709" formatCode="0.0%">
                  <c:v>0.67852398053957275</c:v>
                </c:pt>
                <c:pt idx="1710" formatCode="0.0%">
                  <c:v>0.67852398053957275</c:v>
                </c:pt>
                <c:pt idx="1711" formatCode="0.0%">
                  <c:v>0.67852398053957275</c:v>
                </c:pt>
                <c:pt idx="1712" formatCode="0.0%">
                  <c:v>0.68728135633121212</c:v>
                </c:pt>
                <c:pt idx="1713" formatCode="0.0%">
                  <c:v>0.68709504160237</c:v>
                </c:pt>
                <c:pt idx="1714" formatCode="0.0%">
                  <c:v>0.69911313355448246</c:v>
                </c:pt>
                <c:pt idx="1715" formatCode="0.0%">
                  <c:v>0.70647302383636457</c:v>
                </c:pt>
                <c:pt idx="1716" formatCode="0.0%">
                  <c:v>0.70833625448707982</c:v>
                </c:pt>
                <c:pt idx="1717" formatCode="0.0%">
                  <c:v>0.70833625448707982</c:v>
                </c:pt>
                <c:pt idx="1718" formatCode="0.0%">
                  <c:v>0.70833625448707982</c:v>
                </c:pt>
                <c:pt idx="1719" formatCode="0.0%">
                  <c:v>0.71085171173218442</c:v>
                </c:pt>
                <c:pt idx="1720" formatCode="0.0%">
                  <c:v>0.69492076038750472</c:v>
                </c:pt>
                <c:pt idx="1721" formatCode="0.0%">
                  <c:v>0.69398910338099939</c:v>
                </c:pt>
                <c:pt idx="1722" formatCode="0.0%">
                  <c:v>0.71215599819637332</c:v>
                </c:pt>
                <c:pt idx="1723" formatCode="0.0%">
                  <c:v>0.71178328537639457</c:v>
                </c:pt>
                <c:pt idx="1724" formatCode="0.0%">
                  <c:v>0.71178328537639457</c:v>
                </c:pt>
                <c:pt idx="1725" formatCode="0.0%">
                  <c:v>0.71178328537639457</c:v>
                </c:pt>
                <c:pt idx="1726" formatCode="0.0%">
                  <c:v>0.71550983004011981</c:v>
                </c:pt>
                <c:pt idx="1727" formatCode="0.0%">
                  <c:v>0.71830471769734006</c:v>
                </c:pt>
                <c:pt idx="1728" formatCode="0.0%">
                  <c:v>0.71774577351081403</c:v>
                </c:pt>
                <c:pt idx="1729" formatCode="0.0%">
                  <c:v>0.71299445615731005</c:v>
                </c:pt>
                <c:pt idx="1730" formatCode="0.0%">
                  <c:v>0.71159697064755245</c:v>
                </c:pt>
                <c:pt idx="1731" formatCode="0.0%">
                  <c:v>0.71159697064755245</c:v>
                </c:pt>
                <c:pt idx="1732" formatCode="0.0%">
                  <c:v>0.71159697064755245</c:v>
                </c:pt>
                <c:pt idx="1733" formatCode="0.0%">
                  <c:v>0.72184494763222318</c:v>
                </c:pt>
                <c:pt idx="1734" formatCode="0.0%">
                  <c:v>0.72463983528944365</c:v>
                </c:pt>
                <c:pt idx="1735" formatCode="0.0%">
                  <c:v>0.72799375049548443</c:v>
                </c:pt>
                <c:pt idx="1736" formatCode="0.0%">
                  <c:v>0.73693744101596648</c:v>
                </c:pt>
                <c:pt idx="1737" formatCode="0.0%">
                  <c:v>0.74914184769692072</c:v>
                </c:pt>
                <c:pt idx="1738" formatCode="0.0%">
                  <c:v>0.74914184769692072</c:v>
                </c:pt>
                <c:pt idx="1739" formatCode="0.0%">
                  <c:v>0.74914184769692072</c:v>
                </c:pt>
                <c:pt idx="1740" formatCode="0.0%">
                  <c:v>0.7521230500829833</c:v>
                </c:pt>
                <c:pt idx="1741" formatCode="0.0%">
                  <c:v>0.75612910852111892</c:v>
                </c:pt>
                <c:pt idx="1742" formatCode="0.0%">
                  <c:v>0.76432745676393721</c:v>
                </c:pt>
                <c:pt idx="1743" formatCode="0.0%">
                  <c:v>0.76758817292441028</c:v>
                </c:pt>
                <c:pt idx="1744" formatCode="0.0%">
                  <c:v>0.76824031615650457</c:v>
                </c:pt>
                <c:pt idx="1745" formatCode="0.0%">
                  <c:v>0.76824031615650457</c:v>
                </c:pt>
                <c:pt idx="1746" formatCode="0.0%">
                  <c:v>0.76824031615650457</c:v>
                </c:pt>
                <c:pt idx="1747" formatCode="0.0%">
                  <c:v>0.74504267357551124</c:v>
                </c:pt>
                <c:pt idx="1748" formatCode="0.0%">
                  <c:v>0.73973232867318639</c:v>
                </c:pt>
                <c:pt idx="1749" formatCode="0.0%">
                  <c:v>0.75761970971414994</c:v>
                </c:pt>
                <c:pt idx="1750" formatCode="0.0%">
                  <c:v>0.75063244888995195</c:v>
                </c:pt>
                <c:pt idx="1751" formatCode="0.0%">
                  <c:v>0.73591258496389289</c:v>
                </c:pt>
                <c:pt idx="1752" formatCode="0.0%">
                  <c:v>0.73591258496389289</c:v>
                </c:pt>
                <c:pt idx="1753" formatCode="0.0%">
                  <c:v>0.73591258496389289</c:v>
                </c:pt>
                <c:pt idx="1754" formatCode="0.0%">
                  <c:v>0.76544542849928465</c:v>
                </c:pt>
                <c:pt idx="1755" formatCode="0.0%">
                  <c:v>0.77075569003931466</c:v>
                </c:pt>
                <c:pt idx="1756" formatCode="0.0%">
                  <c:v>0.76162568478999104</c:v>
                </c:pt>
                <c:pt idx="1757" formatCode="0.0%">
                  <c:v>0.76311628598302206</c:v>
                </c:pt>
                <c:pt idx="1758" formatCode="0.0%">
                  <c:v>0.77709080763141769</c:v>
                </c:pt>
                <c:pt idx="1759" formatCode="0.0%">
                  <c:v>0.77709080763141769</c:v>
                </c:pt>
                <c:pt idx="1760" formatCode="0.0%">
                  <c:v>0.77709080763141769</c:v>
                </c:pt>
                <c:pt idx="1761" formatCode="0.0%">
                  <c:v>0.79059950077656171</c:v>
                </c:pt>
                <c:pt idx="1762" formatCode="0.0%">
                  <c:v>0.79143795873749812</c:v>
                </c:pt>
                <c:pt idx="1763" formatCode="0.0%">
                  <c:v>0.79684141932309671</c:v>
                </c:pt>
                <c:pt idx="1764" formatCode="0.0%">
                  <c:v>0.80317653691520008</c:v>
                </c:pt>
                <c:pt idx="1765" formatCode="0.0%">
                  <c:v>0.80122010721891623</c:v>
                </c:pt>
                <c:pt idx="1766" formatCode="0.0%">
                  <c:v>0.80122010721891623</c:v>
                </c:pt>
                <c:pt idx="1767" formatCode="0.0%">
                  <c:v>0.80122010721891623</c:v>
                </c:pt>
                <c:pt idx="1768" formatCode="0.0%">
                  <c:v>0.80271070841194758</c:v>
                </c:pt>
                <c:pt idx="1769" formatCode="0.0%">
                  <c:v>0.79758676160075936</c:v>
                </c:pt>
                <c:pt idx="1770" formatCode="0.0%">
                  <c:v>0.79656198891098084</c:v>
                </c:pt>
                <c:pt idx="1771" formatCode="0.0%">
                  <c:v>0.77410960524535566</c:v>
                </c:pt>
                <c:pt idx="1772" formatCode="0.0%">
                  <c:v>0.75258887858623524</c:v>
                </c:pt>
                <c:pt idx="1773" formatCode="0.0%">
                  <c:v>0.75258887858623524</c:v>
                </c:pt>
                <c:pt idx="1774" formatCode="0.0%">
                  <c:v>0.75258887858623524</c:v>
                </c:pt>
                <c:pt idx="1775" formatCode="0.0%">
                  <c:v>0.78836355730586749</c:v>
                </c:pt>
                <c:pt idx="1776" formatCode="0.0%">
                  <c:v>0.79134484305422459</c:v>
                </c:pt>
                <c:pt idx="1777" formatCode="0.0%">
                  <c:v>0.80280390745751584</c:v>
                </c:pt>
                <c:pt idx="1778" formatCode="0.0%">
                  <c:v>0.7836122399523634</c:v>
                </c:pt>
                <c:pt idx="1779" formatCode="0.0%">
                  <c:v>0.77755663613467052</c:v>
                </c:pt>
                <c:pt idx="1780" formatCode="0.0%">
                  <c:v>0.77755663613467052</c:v>
                </c:pt>
                <c:pt idx="1781" formatCode="0.0%">
                  <c:v>0.77755663613467052</c:v>
                </c:pt>
                <c:pt idx="1782" formatCode="0.0%">
                  <c:v>0.7744822347030399</c:v>
                </c:pt>
                <c:pt idx="1783" formatCode="0.0%">
                  <c:v>0.73908018544109211</c:v>
                </c:pt>
                <c:pt idx="1784" formatCode="0.0%">
                  <c:v>0.75929662563602307</c:v>
                </c:pt>
                <c:pt idx="1785" formatCode="0.0%">
                  <c:v>0.77904723732770154</c:v>
                </c:pt>
                <c:pt idx="1786" formatCode="0.0%">
                  <c:v>0.73768269993133428</c:v>
                </c:pt>
                <c:pt idx="1787" formatCode="0.0%">
                  <c:v>0.73768269993133428</c:v>
                </c:pt>
                <c:pt idx="1788" formatCode="0.0%">
                  <c:v>0.73768269993133428</c:v>
                </c:pt>
                <c:pt idx="1789" formatCode="0.0%">
                  <c:v>0.76796080238209441</c:v>
                </c:pt>
                <c:pt idx="1790" formatCode="0.0%">
                  <c:v>0.77150103231697753</c:v>
                </c:pt>
                <c:pt idx="1791" formatCode="0.0%">
                  <c:v>0.78985424186119335</c:v>
                </c:pt>
                <c:pt idx="1792" formatCode="0.0%">
                  <c:v>0.790319987002151</c:v>
                </c:pt>
                <c:pt idx="1793" formatCode="0.0%">
                  <c:v>0.79618927609100187</c:v>
                </c:pt>
                <c:pt idx="1794" formatCode="0.0%">
                  <c:v>0.79618927609100187</c:v>
                </c:pt>
                <c:pt idx="1795" formatCode="0.0%">
                  <c:v>0.7948849896268132</c:v>
                </c:pt>
                <c:pt idx="1796" formatCode="0.0%">
                  <c:v>0.78556866964864724</c:v>
                </c:pt>
                <c:pt idx="1797" formatCode="0.0%">
                  <c:v>0.79674830363982296</c:v>
                </c:pt>
                <c:pt idx="1798" formatCode="0.0%">
                  <c:v>0.7846370960044371</c:v>
                </c:pt>
                <c:pt idx="1799" formatCode="0.0%">
                  <c:v>0.78473021168771051</c:v>
                </c:pt>
                <c:pt idx="1800" formatCode="0.0%">
                  <c:v>0.79693461836866508</c:v>
                </c:pt>
                <c:pt idx="1801" formatCode="0.0%">
                  <c:v>0.79693461836866508</c:v>
                </c:pt>
                <c:pt idx="1802" formatCode="0.0%">
                  <c:v>0.79693461836866508</c:v>
                </c:pt>
                <c:pt idx="1803" formatCode="0.0%">
                  <c:v>0.79097213023424562</c:v>
                </c:pt>
                <c:pt idx="1804" formatCode="0.0%">
                  <c:v>0.79106532927981388</c:v>
                </c:pt>
                <c:pt idx="1805" formatCode="0.0%">
                  <c:v>0.78985424186119335</c:v>
                </c:pt>
                <c:pt idx="1806" formatCode="0.0%">
                  <c:v>0.78491652641655263</c:v>
                </c:pt>
                <c:pt idx="1807" formatCode="0.0%">
                  <c:v>0.78323961049467949</c:v>
                </c:pt>
                <c:pt idx="1808" formatCode="0.0%">
                  <c:v>0.78323961049467949</c:v>
                </c:pt>
                <c:pt idx="1809" formatCode="0.0%">
                  <c:v>0.78323961049467949</c:v>
                </c:pt>
                <c:pt idx="1810" formatCode="0.0%">
                  <c:v>0.77289843446444029</c:v>
                </c:pt>
                <c:pt idx="1811" formatCode="0.0%">
                  <c:v>0.76414114203509542</c:v>
                </c:pt>
                <c:pt idx="1812" formatCode="0.0%">
                  <c:v>0.76097354155789643</c:v>
                </c:pt>
                <c:pt idx="1813" formatCode="0.0%">
                  <c:v>0.77848829314117551</c:v>
                </c:pt>
                <c:pt idx="1814" formatCode="0.0%">
                  <c:v>0.78323961049467949</c:v>
                </c:pt>
                <c:pt idx="1815" formatCode="0.0%">
                  <c:v>0.78323961049467949</c:v>
                </c:pt>
                <c:pt idx="1816" formatCode="0.0%">
                  <c:v>0.78323961049467949</c:v>
                </c:pt>
                <c:pt idx="1817" formatCode="0.0%">
                  <c:v>0.78659352570072061</c:v>
                </c:pt>
                <c:pt idx="1818" formatCode="0.0%">
                  <c:v>0.79395341598260272</c:v>
                </c:pt>
                <c:pt idx="1819" formatCode="0.0%">
                  <c:v>0.79395341598260272</c:v>
                </c:pt>
                <c:pt idx="1820" formatCode="0.0%">
                  <c:v>0.79395341598260272</c:v>
                </c:pt>
                <c:pt idx="1821" formatCode="0.0%">
                  <c:v>0.79395341598260272</c:v>
                </c:pt>
                <c:pt idx="1822" formatCode="0.0%">
                  <c:v>0.79395341598260272</c:v>
                </c:pt>
                <c:pt idx="1823" formatCode="0.0%">
                  <c:v>0.79395341598260272</c:v>
                </c:pt>
                <c:pt idx="1824" formatCode="0.0%">
                  <c:v>0.79805259010401219</c:v>
                </c:pt>
                <c:pt idx="1825" formatCode="0.0%">
                  <c:v>0.80466713810823132</c:v>
                </c:pt>
                <c:pt idx="1826" formatCode="0.0%">
                  <c:v>0.79507138771794983</c:v>
                </c:pt>
              </c:numCache>
            </c:numRef>
          </c:val>
          <c:smooth val="0"/>
          <c:extLst>
            <c:ext xmlns:c16="http://schemas.microsoft.com/office/drawing/2014/chart" uri="{C3380CC4-5D6E-409C-BE32-E72D297353CC}">
              <c16:uniqueId val="{00000006-C592-43EE-8D08-8400729D0F8F}"/>
            </c:ext>
          </c:extLst>
        </c:ser>
        <c:ser>
          <c:idx val="7"/>
          <c:order val="6"/>
          <c:tx>
            <c:strRef>
              <c:f>Sheet1!$I$1</c:f>
              <c:strCache>
                <c:ptCount val="1"/>
                <c:pt idx="0">
                  <c:v>Peer #7</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I$2:$I$2069</c:f>
              <c:numCache>
                <c:formatCode>0.00%</c:formatCode>
                <c:ptCount val="2068"/>
                <c:pt idx="0">
                  <c:v>0</c:v>
                </c:pt>
                <c:pt idx="1">
                  <c:v>0</c:v>
                </c:pt>
                <c:pt idx="2">
                  <c:v>0</c:v>
                </c:pt>
                <c:pt idx="3">
                  <c:v>0</c:v>
                </c:pt>
                <c:pt idx="4">
                  <c:v>3.0741960951232274E-3</c:v>
                </c:pt>
                <c:pt idx="5">
                  <c:v>-2.8889476363433177E-3</c:v>
                </c:pt>
                <c:pt idx="6">
                  <c:v>-6.6863332083556771E-4</c:v>
                </c:pt>
                <c:pt idx="7">
                  <c:v>2.1915155928768259E-2</c:v>
                </c:pt>
                <c:pt idx="8">
                  <c:v>3.4539207967928288E-2</c:v>
                </c:pt>
                <c:pt idx="9">
                  <c:v>3.4539207967928288E-2</c:v>
                </c:pt>
                <c:pt idx="10">
                  <c:v>3.4539207967928288E-2</c:v>
                </c:pt>
                <c:pt idx="11">
                  <c:v>3.4031714480721009E-2</c:v>
                </c:pt>
                <c:pt idx="12">
                  <c:v>3.5998264733210446E-2</c:v>
                </c:pt>
                <c:pt idx="13">
                  <c:v>3.3333880626835254E-2</c:v>
                </c:pt>
                <c:pt idx="14">
                  <c:v>3.4729513695777425E-2</c:v>
                </c:pt>
                <c:pt idx="15">
                  <c:v>2.3945129877597397E-2</c:v>
                </c:pt>
                <c:pt idx="16">
                  <c:v>2.3945129877597397E-2</c:v>
                </c:pt>
                <c:pt idx="17">
                  <c:v>2.3945129877597397E-2</c:v>
                </c:pt>
                <c:pt idx="18">
                  <c:v>2.6926701743330738E-2</c:v>
                </c:pt>
                <c:pt idx="19">
                  <c:v>2.9400780121856797E-2</c:v>
                </c:pt>
                <c:pt idx="20">
                  <c:v>3.8726072535925339E-2</c:v>
                </c:pt>
                <c:pt idx="21">
                  <c:v>4.3043767961964789E-2</c:v>
                </c:pt>
                <c:pt idx="22">
                  <c:v>3.4553964109184959E-2</c:v>
                </c:pt>
                <c:pt idx="23">
                  <c:v>3.4553964109184959E-2</c:v>
                </c:pt>
                <c:pt idx="24">
                  <c:v>3.4553964109184959E-2</c:v>
                </c:pt>
                <c:pt idx="25">
                  <c:v>3.8505353916002745E-2</c:v>
                </c:pt>
                <c:pt idx="26">
                  <c:v>3.6367722485892956E-2</c:v>
                </c:pt>
                <c:pt idx="27">
                  <c:v>1.596295806734176E-2</c:v>
                </c:pt>
                <c:pt idx="28">
                  <c:v>1.9072243296485995E-2</c:v>
                </c:pt>
                <c:pt idx="29">
                  <c:v>7.8010453721554995E-3</c:v>
                </c:pt>
                <c:pt idx="30">
                  <c:v>7.8010453721554995E-3</c:v>
                </c:pt>
                <c:pt idx="31">
                  <c:v>3.3958869022828251E-3</c:v>
                </c:pt>
                <c:pt idx="32">
                  <c:v>2.3800963070297314E-2</c:v>
                </c:pt>
                <c:pt idx="33">
                  <c:v>4.7379821967502095E-2</c:v>
                </c:pt>
                <c:pt idx="34">
                  <c:v>4.9323129565570979E-2</c:v>
                </c:pt>
                <c:pt idx="35">
                  <c:v>4.5371739758752909E-2</c:v>
                </c:pt>
                <c:pt idx="36">
                  <c:v>4.815715193449549E-2</c:v>
                </c:pt>
                <c:pt idx="37">
                  <c:v>4.815715193449549E-2</c:v>
                </c:pt>
                <c:pt idx="38">
                  <c:v>4.815715193449549E-2</c:v>
                </c:pt>
                <c:pt idx="39">
                  <c:v>5.308019554034786E-2</c:v>
                </c:pt>
                <c:pt idx="40">
                  <c:v>4.815715193449549E-2</c:v>
                </c:pt>
                <c:pt idx="41">
                  <c:v>5.2561964016075963E-2</c:v>
                </c:pt>
                <c:pt idx="42">
                  <c:v>5.6059931548131346E-2</c:v>
                </c:pt>
                <c:pt idx="43">
                  <c:v>6.0400003657860427E-2</c:v>
                </c:pt>
                <c:pt idx="44">
                  <c:v>6.0400003657860427E-2</c:v>
                </c:pt>
                <c:pt idx="45">
                  <c:v>6.0400003657860427E-2</c:v>
                </c:pt>
                <c:pt idx="46">
                  <c:v>6.9533570152081128E-2</c:v>
                </c:pt>
                <c:pt idx="47">
                  <c:v>7.1152970057919027E-2</c:v>
                </c:pt>
                <c:pt idx="48">
                  <c:v>6.7395904083142E-2</c:v>
                </c:pt>
                <c:pt idx="49">
                  <c:v>6.0464778268540728E-2</c:v>
                </c:pt>
                <c:pt idx="50">
                  <c:v>6.0982975153983432E-2</c:v>
                </c:pt>
                <c:pt idx="51">
                  <c:v>6.0982975153983432E-2</c:v>
                </c:pt>
                <c:pt idx="52">
                  <c:v>6.0982975153983432E-2</c:v>
                </c:pt>
                <c:pt idx="53">
                  <c:v>4.2068096058738715E-2</c:v>
                </c:pt>
                <c:pt idx="54">
                  <c:v>3.1574228101401473E-2</c:v>
                </c:pt>
                <c:pt idx="55">
                  <c:v>3.5525617908219259E-2</c:v>
                </c:pt>
                <c:pt idx="56">
                  <c:v>3.8829261608234023E-2</c:v>
                </c:pt>
                <c:pt idx="57">
                  <c:v>2.7104606770311505E-2</c:v>
                </c:pt>
                <c:pt idx="58">
                  <c:v>2.7104606770311505E-2</c:v>
                </c:pt>
                <c:pt idx="59">
                  <c:v>2.0259731640520043E-2</c:v>
                </c:pt>
                <c:pt idx="60">
                  <c:v>4.1614673783976174E-2</c:v>
                </c:pt>
                <c:pt idx="61">
                  <c:v>4.6084260476237093E-2</c:v>
                </c:pt>
                <c:pt idx="62">
                  <c:v>3.9153134661635391E-2</c:v>
                </c:pt>
                <c:pt idx="63">
                  <c:v>3.0084342778095276E-2</c:v>
                </c:pt>
                <c:pt idx="64">
                  <c:v>3.435964027714377E-2</c:v>
                </c:pt>
                <c:pt idx="65">
                  <c:v>3.435964027714377E-2</c:v>
                </c:pt>
                <c:pt idx="66">
                  <c:v>3.435964027714377E-2</c:v>
                </c:pt>
                <c:pt idx="67">
                  <c:v>4.3881854435446711E-2</c:v>
                </c:pt>
                <c:pt idx="68">
                  <c:v>5.8715794502513179E-2</c:v>
                </c:pt>
                <c:pt idx="69">
                  <c:v>5.8521470670471983E-2</c:v>
                </c:pt>
                <c:pt idx="70">
                  <c:v>6.1954628953018016E-2</c:v>
                </c:pt>
                <c:pt idx="71">
                  <c:v>5.8586245281152569E-2</c:v>
                </c:pt>
                <c:pt idx="72">
                  <c:v>5.8586245281152569E-2</c:v>
                </c:pt>
                <c:pt idx="73">
                  <c:v>5.8586245281152569E-2</c:v>
                </c:pt>
                <c:pt idx="74">
                  <c:v>5.9104442166595134E-2</c:v>
                </c:pt>
                <c:pt idx="75">
                  <c:v>6.8497141742366374E-2</c:v>
                </c:pt>
                <c:pt idx="76">
                  <c:v>5.8845343723873782E-2</c:v>
                </c:pt>
                <c:pt idx="77">
                  <c:v>6.0464778268540728E-2</c:v>
                </c:pt>
                <c:pt idx="78">
                  <c:v>5.6513388461722797E-2</c:v>
                </c:pt>
                <c:pt idx="79">
                  <c:v>5.6513388461722797E-2</c:v>
                </c:pt>
                <c:pt idx="80">
                  <c:v>5.6513388461722797E-2</c:v>
                </c:pt>
                <c:pt idx="81">
                  <c:v>5.8262372227750631E-2</c:v>
                </c:pt>
                <c:pt idx="82">
                  <c:v>6.1825079731657268E-2</c:v>
                </c:pt>
                <c:pt idx="83">
                  <c:v>5.9298800637465232E-2</c:v>
                </c:pt>
                <c:pt idx="84">
                  <c:v>5.2821097097626363E-2</c:v>
                </c:pt>
                <c:pt idx="85">
                  <c:v>7.1606426971510609E-2</c:v>
                </c:pt>
                <c:pt idx="86">
                  <c:v>7.1606426971510609E-2</c:v>
                </c:pt>
                <c:pt idx="87">
                  <c:v>7.1606426971510609E-2</c:v>
                </c:pt>
                <c:pt idx="88">
                  <c:v>8.0480860384180911E-2</c:v>
                </c:pt>
                <c:pt idx="89">
                  <c:v>8.5663037071583681E-2</c:v>
                </c:pt>
                <c:pt idx="90">
                  <c:v>8.3889390459136445E-2</c:v>
                </c:pt>
                <c:pt idx="91">
                  <c:v>8.3889390459136445E-2</c:v>
                </c:pt>
                <c:pt idx="92">
                  <c:v>8.3889390459136445E-2</c:v>
                </c:pt>
                <c:pt idx="93">
                  <c:v>8.3889390459136445E-2</c:v>
                </c:pt>
                <c:pt idx="94">
                  <c:v>8.3889390459136445E-2</c:v>
                </c:pt>
                <c:pt idx="95">
                  <c:v>8.3889390459136445E-2</c:v>
                </c:pt>
                <c:pt idx="96">
                  <c:v>9.9784421782336777E-2</c:v>
                </c:pt>
                <c:pt idx="97">
                  <c:v>9.3501076713368145E-2</c:v>
                </c:pt>
                <c:pt idx="98">
                  <c:v>0.10114475788428237</c:v>
                </c:pt>
                <c:pt idx="99">
                  <c:v>0.10509614769110058</c:v>
                </c:pt>
                <c:pt idx="100">
                  <c:v>0.10509614769110058</c:v>
                </c:pt>
                <c:pt idx="101">
                  <c:v>0.10509614769110058</c:v>
                </c:pt>
                <c:pt idx="102">
                  <c:v>0.10237551012603845</c:v>
                </c:pt>
                <c:pt idx="103">
                  <c:v>0.10444836694546765</c:v>
                </c:pt>
                <c:pt idx="104">
                  <c:v>0.1051609223017806</c:v>
                </c:pt>
                <c:pt idx="105">
                  <c:v>0.10976009285423131</c:v>
                </c:pt>
                <c:pt idx="106">
                  <c:v>0.11461836184940324</c:v>
                </c:pt>
                <c:pt idx="107">
                  <c:v>0.11461836184940324</c:v>
                </c:pt>
                <c:pt idx="108">
                  <c:v>0.11461836184940324</c:v>
                </c:pt>
                <c:pt idx="109">
                  <c:v>0.11241595580861315</c:v>
                </c:pt>
                <c:pt idx="110">
                  <c:v>0.10101520866292163</c:v>
                </c:pt>
                <c:pt idx="111">
                  <c:v>9.913667567553347E-2</c:v>
                </c:pt>
                <c:pt idx="112">
                  <c:v>0.11500704415231454</c:v>
                </c:pt>
                <c:pt idx="113">
                  <c:v>0.11047264821054427</c:v>
                </c:pt>
                <c:pt idx="114">
                  <c:v>0.11047264821054427</c:v>
                </c:pt>
                <c:pt idx="115">
                  <c:v>0.11047264821054427</c:v>
                </c:pt>
                <c:pt idx="116">
                  <c:v>0.12070741772516015</c:v>
                </c:pt>
                <c:pt idx="117">
                  <c:v>0.11604347256202914</c:v>
                </c:pt>
                <c:pt idx="118">
                  <c:v>0.11785723093873741</c:v>
                </c:pt>
                <c:pt idx="119">
                  <c:v>0.11818110399213894</c:v>
                </c:pt>
                <c:pt idx="120">
                  <c:v>0.11729601262737745</c:v>
                </c:pt>
                <c:pt idx="121">
                  <c:v>0.11729601262737745</c:v>
                </c:pt>
                <c:pt idx="122">
                  <c:v>0.11729601262737745</c:v>
                </c:pt>
                <c:pt idx="123">
                  <c:v>0.11623779639407034</c:v>
                </c:pt>
                <c:pt idx="124">
                  <c:v>0.10755768681344108</c:v>
                </c:pt>
                <c:pt idx="125">
                  <c:v>0.11837542782418026</c:v>
                </c:pt>
                <c:pt idx="126">
                  <c:v>0.11066697204258531</c:v>
                </c:pt>
                <c:pt idx="127">
                  <c:v>0.11824587860281938</c:v>
                </c:pt>
                <c:pt idx="128">
                  <c:v>0.11824587860281938</c:v>
                </c:pt>
                <c:pt idx="129">
                  <c:v>0.11824587860281938</c:v>
                </c:pt>
                <c:pt idx="130">
                  <c:v>0.1174037740251454</c:v>
                </c:pt>
                <c:pt idx="131">
                  <c:v>9.4537505123082746E-2</c:v>
                </c:pt>
                <c:pt idx="132">
                  <c:v>9.6156905028920645E-2</c:v>
                </c:pt>
                <c:pt idx="133">
                  <c:v>9.6156905028920645E-2</c:v>
                </c:pt>
                <c:pt idx="134">
                  <c:v>9.6156905028920645E-2</c:v>
                </c:pt>
                <c:pt idx="135">
                  <c:v>9.6156905028920645E-2</c:v>
                </c:pt>
                <c:pt idx="136">
                  <c:v>9.6156905028920645E-2</c:v>
                </c:pt>
                <c:pt idx="137">
                  <c:v>0.10684513145712814</c:v>
                </c:pt>
                <c:pt idx="138">
                  <c:v>0.10295851626099078</c:v>
                </c:pt>
                <c:pt idx="139">
                  <c:v>8.3784504084195105E-2</c:v>
                </c:pt>
                <c:pt idx="140">
                  <c:v>9.699900960659448E-2</c:v>
                </c:pt>
                <c:pt idx="141">
                  <c:v>0.10956576902219027</c:v>
                </c:pt>
                <c:pt idx="142">
                  <c:v>0.10956576902219027</c:v>
                </c:pt>
                <c:pt idx="143">
                  <c:v>0.10956576902219027</c:v>
                </c:pt>
                <c:pt idx="144">
                  <c:v>0.10956576902219027</c:v>
                </c:pt>
                <c:pt idx="145">
                  <c:v>0.11034309898918365</c:v>
                </c:pt>
                <c:pt idx="146">
                  <c:v>0.10639167454353654</c:v>
                </c:pt>
                <c:pt idx="147">
                  <c:v>0.1132580603862867</c:v>
                </c:pt>
                <c:pt idx="148">
                  <c:v>0.1232985060688614</c:v>
                </c:pt>
                <c:pt idx="149">
                  <c:v>0.1232985060688614</c:v>
                </c:pt>
                <c:pt idx="150">
                  <c:v>0.1232985060688614</c:v>
                </c:pt>
                <c:pt idx="151">
                  <c:v>0.11225291083937662</c:v>
                </c:pt>
                <c:pt idx="152">
                  <c:v>0.1164321202261111</c:v>
                </c:pt>
                <c:pt idx="153">
                  <c:v>0.11286937808337555</c:v>
                </c:pt>
                <c:pt idx="154">
                  <c:v>0.11008396590763297</c:v>
                </c:pt>
                <c:pt idx="155">
                  <c:v>0.11578437411930764</c:v>
                </c:pt>
                <c:pt idx="156">
                  <c:v>0.11578437411930764</c:v>
                </c:pt>
                <c:pt idx="157">
                  <c:v>0.11578437411930764</c:v>
                </c:pt>
                <c:pt idx="158">
                  <c:v>0.11552524103775724</c:v>
                </c:pt>
                <c:pt idx="159">
                  <c:v>0.11228640658725225</c:v>
                </c:pt>
                <c:pt idx="160">
                  <c:v>0.1112499781775378</c:v>
                </c:pt>
                <c:pt idx="161">
                  <c:v>0.11720945019310464</c:v>
                </c:pt>
                <c:pt idx="162">
                  <c:v>0.12420538525721554</c:v>
                </c:pt>
                <c:pt idx="163">
                  <c:v>0.12420538525721554</c:v>
                </c:pt>
                <c:pt idx="164">
                  <c:v>0.12420538525721554</c:v>
                </c:pt>
                <c:pt idx="165">
                  <c:v>0.1255656867203318</c:v>
                </c:pt>
                <c:pt idx="166">
                  <c:v>0.13094218723977577</c:v>
                </c:pt>
                <c:pt idx="167">
                  <c:v>0.13405147246891985</c:v>
                </c:pt>
                <c:pt idx="168">
                  <c:v>0.13994620451263587</c:v>
                </c:pt>
                <c:pt idx="169">
                  <c:v>0.1355413577922262</c:v>
                </c:pt>
                <c:pt idx="170">
                  <c:v>0.1355413577922262</c:v>
                </c:pt>
                <c:pt idx="171">
                  <c:v>0.1355413577922262</c:v>
                </c:pt>
                <c:pt idx="172">
                  <c:v>0.13042395571550386</c:v>
                </c:pt>
                <c:pt idx="173">
                  <c:v>0.13780853844369687</c:v>
                </c:pt>
                <c:pt idx="174">
                  <c:v>0.14033485217671809</c:v>
                </c:pt>
                <c:pt idx="175">
                  <c:v>0.14486924811848809</c:v>
                </c:pt>
                <c:pt idx="176">
                  <c:v>0.14486924811848809</c:v>
                </c:pt>
                <c:pt idx="177">
                  <c:v>0.14486924811848809</c:v>
                </c:pt>
                <c:pt idx="178">
                  <c:v>0.14486924811848809</c:v>
                </c:pt>
                <c:pt idx="179">
                  <c:v>0.14895018714666677</c:v>
                </c:pt>
                <c:pt idx="180">
                  <c:v>0.1578894298088464</c:v>
                </c:pt>
                <c:pt idx="181">
                  <c:v>0.15370800353704012</c:v>
                </c:pt>
                <c:pt idx="182">
                  <c:v>0.15678822678845122</c:v>
                </c:pt>
                <c:pt idx="183">
                  <c:v>0.16119307350886075</c:v>
                </c:pt>
                <c:pt idx="184">
                  <c:v>0.16119307350886075</c:v>
                </c:pt>
                <c:pt idx="185">
                  <c:v>0.16119307350886075</c:v>
                </c:pt>
                <c:pt idx="186">
                  <c:v>0.16371935260305265</c:v>
                </c:pt>
                <c:pt idx="187">
                  <c:v>0.16695822169238667</c:v>
                </c:pt>
                <c:pt idx="188">
                  <c:v>0.17524968360893381</c:v>
                </c:pt>
                <c:pt idx="189">
                  <c:v>0.16190559422634479</c:v>
                </c:pt>
                <c:pt idx="190">
                  <c:v>0.16760596779919013</c:v>
                </c:pt>
                <c:pt idx="191">
                  <c:v>0.16760596779919013</c:v>
                </c:pt>
                <c:pt idx="192">
                  <c:v>0.16760596779919013</c:v>
                </c:pt>
                <c:pt idx="193">
                  <c:v>0.17440757903126028</c:v>
                </c:pt>
                <c:pt idx="194">
                  <c:v>0.18205126020217449</c:v>
                </c:pt>
                <c:pt idx="195">
                  <c:v>0.18334678705461058</c:v>
                </c:pt>
                <c:pt idx="196">
                  <c:v>0.1769338927642812</c:v>
                </c:pt>
                <c:pt idx="197">
                  <c:v>0.17926584802643192</c:v>
                </c:pt>
                <c:pt idx="198">
                  <c:v>0.17926584802643192</c:v>
                </c:pt>
                <c:pt idx="199">
                  <c:v>0.17926584802643192</c:v>
                </c:pt>
                <c:pt idx="200">
                  <c:v>0.15601089682145797</c:v>
                </c:pt>
                <c:pt idx="201">
                  <c:v>0.16941972617589826</c:v>
                </c:pt>
                <c:pt idx="202">
                  <c:v>0.17557355666233548</c:v>
                </c:pt>
                <c:pt idx="203">
                  <c:v>0.18095005718177931</c:v>
                </c:pt>
                <c:pt idx="204">
                  <c:v>0.19228602971679037</c:v>
                </c:pt>
                <c:pt idx="205">
                  <c:v>0.19228602971679037</c:v>
                </c:pt>
                <c:pt idx="206">
                  <c:v>0.19228602971679037</c:v>
                </c:pt>
                <c:pt idx="207">
                  <c:v>0.19060182056144284</c:v>
                </c:pt>
                <c:pt idx="208">
                  <c:v>0.18807554146725095</c:v>
                </c:pt>
                <c:pt idx="209">
                  <c:v>0.19086095364299355</c:v>
                </c:pt>
                <c:pt idx="210">
                  <c:v>0.19371114042941628</c:v>
                </c:pt>
                <c:pt idx="211">
                  <c:v>0.19358155656922635</c:v>
                </c:pt>
                <c:pt idx="212">
                  <c:v>0.19309068972005464</c:v>
                </c:pt>
                <c:pt idx="213">
                  <c:v>0.19309068972005464</c:v>
                </c:pt>
                <c:pt idx="214">
                  <c:v>0.19694997487992111</c:v>
                </c:pt>
                <c:pt idx="215">
                  <c:v>0.19720907332264231</c:v>
                </c:pt>
                <c:pt idx="216">
                  <c:v>0.2097110581275578</c:v>
                </c:pt>
                <c:pt idx="217">
                  <c:v>0.21677173316351997</c:v>
                </c:pt>
                <c:pt idx="218">
                  <c:v>0.21897417384313925</c:v>
                </c:pt>
                <c:pt idx="219">
                  <c:v>0.21897417384313925</c:v>
                </c:pt>
                <c:pt idx="220">
                  <c:v>0.21897417384313925</c:v>
                </c:pt>
                <c:pt idx="221">
                  <c:v>0.22311988748199824</c:v>
                </c:pt>
                <c:pt idx="222">
                  <c:v>0.23154089861990612</c:v>
                </c:pt>
                <c:pt idx="223">
                  <c:v>0.23043969559951094</c:v>
                </c:pt>
                <c:pt idx="224">
                  <c:v>0.22661785501405363</c:v>
                </c:pt>
                <c:pt idx="225">
                  <c:v>0.23141134939854524</c:v>
                </c:pt>
                <c:pt idx="226">
                  <c:v>0.23141134939854524</c:v>
                </c:pt>
                <c:pt idx="227">
                  <c:v>0.23141134939854524</c:v>
                </c:pt>
                <c:pt idx="228">
                  <c:v>0.22797819111599921</c:v>
                </c:pt>
                <c:pt idx="229">
                  <c:v>0.23335465699661412</c:v>
                </c:pt>
                <c:pt idx="230">
                  <c:v>0.23646397686458726</c:v>
                </c:pt>
                <c:pt idx="231">
                  <c:v>0.22253691598587522</c:v>
                </c:pt>
                <c:pt idx="232">
                  <c:v>0.23413198696360737</c:v>
                </c:pt>
                <c:pt idx="233">
                  <c:v>0.23413198696360737</c:v>
                </c:pt>
                <c:pt idx="234">
                  <c:v>0.23413198696360737</c:v>
                </c:pt>
                <c:pt idx="235">
                  <c:v>0.23659352608594802</c:v>
                </c:pt>
                <c:pt idx="236">
                  <c:v>0.24099837280635769</c:v>
                </c:pt>
                <c:pt idx="237">
                  <c:v>0.23911983981896909</c:v>
                </c:pt>
                <c:pt idx="238">
                  <c:v>0.23691739913934981</c:v>
                </c:pt>
                <c:pt idx="239">
                  <c:v>0.23704694836071055</c:v>
                </c:pt>
                <c:pt idx="240">
                  <c:v>0.23704694836071055</c:v>
                </c:pt>
                <c:pt idx="241">
                  <c:v>0.23704694836071055</c:v>
                </c:pt>
                <c:pt idx="242">
                  <c:v>0.24216435043743317</c:v>
                </c:pt>
                <c:pt idx="243">
                  <c:v>0.24110305134832344</c:v>
                </c:pt>
                <c:pt idx="244">
                  <c:v>0.23957326209373164</c:v>
                </c:pt>
                <c:pt idx="245">
                  <c:v>0.2472817178753263</c:v>
                </c:pt>
                <c:pt idx="246">
                  <c:v>0.24294168040442643</c:v>
                </c:pt>
                <c:pt idx="247">
                  <c:v>0.24294168040442643</c:v>
                </c:pt>
                <c:pt idx="248">
                  <c:v>0.24294168040442643</c:v>
                </c:pt>
                <c:pt idx="249">
                  <c:v>0.25589708748410417</c:v>
                </c:pt>
                <c:pt idx="250">
                  <c:v>0.24896592703067369</c:v>
                </c:pt>
                <c:pt idx="251">
                  <c:v>0.24676352098988347</c:v>
                </c:pt>
                <c:pt idx="252">
                  <c:v>0.24760562556755716</c:v>
                </c:pt>
                <c:pt idx="253">
                  <c:v>0.24203480121607243</c:v>
                </c:pt>
                <c:pt idx="254">
                  <c:v>0.24203480121607243</c:v>
                </c:pt>
                <c:pt idx="255">
                  <c:v>0.24203480121607243</c:v>
                </c:pt>
                <c:pt idx="256">
                  <c:v>0.24099837280635769</c:v>
                </c:pt>
                <c:pt idx="257">
                  <c:v>0.23588097072963521</c:v>
                </c:pt>
                <c:pt idx="258">
                  <c:v>0.23264213627913022</c:v>
                </c:pt>
                <c:pt idx="259">
                  <c:v>0.23698217375003011</c:v>
                </c:pt>
                <c:pt idx="260">
                  <c:v>0.23205913014417817</c:v>
                </c:pt>
                <c:pt idx="261">
                  <c:v>0.23205913014417817</c:v>
                </c:pt>
                <c:pt idx="262">
                  <c:v>0.23205913014417817</c:v>
                </c:pt>
                <c:pt idx="263">
                  <c:v>0.21003493118095976</c:v>
                </c:pt>
                <c:pt idx="264">
                  <c:v>0.21800252004410495</c:v>
                </c:pt>
                <c:pt idx="265">
                  <c:v>0.21858549154022811</c:v>
                </c:pt>
                <c:pt idx="266">
                  <c:v>0.2312170255665042</c:v>
                </c:pt>
                <c:pt idx="267">
                  <c:v>0.23128180017718464</c:v>
                </c:pt>
                <c:pt idx="268">
                  <c:v>0.23128180017718464</c:v>
                </c:pt>
                <c:pt idx="269">
                  <c:v>0.23128180017718464</c:v>
                </c:pt>
                <c:pt idx="270">
                  <c:v>0.22260169059655552</c:v>
                </c:pt>
                <c:pt idx="271">
                  <c:v>0.19552489880612442</c:v>
                </c:pt>
                <c:pt idx="272">
                  <c:v>0.20452888144015519</c:v>
                </c:pt>
                <c:pt idx="273">
                  <c:v>0.19735729287296408</c:v>
                </c:pt>
                <c:pt idx="274">
                  <c:v>0.1904722713400821</c:v>
                </c:pt>
                <c:pt idx="275">
                  <c:v>0.1904722713400821</c:v>
                </c:pt>
                <c:pt idx="276">
                  <c:v>0.1904722713400821</c:v>
                </c:pt>
                <c:pt idx="277">
                  <c:v>0.18982449059444945</c:v>
                </c:pt>
                <c:pt idx="278">
                  <c:v>0.19021317289736089</c:v>
                </c:pt>
                <c:pt idx="279">
                  <c:v>0.18671520536530523</c:v>
                </c:pt>
                <c:pt idx="280">
                  <c:v>0.21424545406932821</c:v>
                </c:pt>
                <c:pt idx="281">
                  <c:v>0.21126571806154473</c:v>
                </c:pt>
                <c:pt idx="282">
                  <c:v>0.21126571806154473</c:v>
                </c:pt>
                <c:pt idx="283">
                  <c:v>0.21126571806154473</c:v>
                </c:pt>
                <c:pt idx="284">
                  <c:v>0.21120090881203496</c:v>
                </c:pt>
                <c:pt idx="285">
                  <c:v>0.20439933221879442</c:v>
                </c:pt>
                <c:pt idx="286">
                  <c:v>0.20750861744793853</c:v>
                </c:pt>
                <c:pt idx="287">
                  <c:v>0.22590529965774081</c:v>
                </c:pt>
                <c:pt idx="288">
                  <c:v>0.23970281131509225</c:v>
                </c:pt>
                <c:pt idx="289">
                  <c:v>0.23970281131509225</c:v>
                </c:pt>
                <c:pt idx="290">
                  <c:v>0.23970281131509225</c:v>
                </c:pt>
                <c:pt idx="291">
                  <c:v>0.23607529456167625</c:v>
                </c:pt>
                <c:pt idx="292">
                  <c:v>0.2393789382616906</c:v>
                </c:pt>
                <c:pt idx="293">
                  <c:v>0.24741130173551626</c:v>
                </c:pt>
                <c:pt idx="294">
                  <c:v>0.24345987728986912</c:v>
                </c:pt>
                <c:pt idx="295">
                  <c:v>0.25511975751711091</c:v>
                </c:pt>
                <c:pt idx="296">
                  <c:v>0.25511975751711091</c:v>
                </c:pt>
                <c:pt idx="297">
                  <c:v>0.25511975751711091</c:v>
                </c:pt>
                <c:pt idx="298">
                  <c:v>0.25427765293943722</c:v>
                </c:pt>
                <c:pt idx="299">
                  <c:v>0.26114400414335831</c:v>
                </c:pt>
                <c:pt idx="300">
                  <c:v>0.25881204888120762</c:v>
                </c:pt>
                <c:pt idx="301">
                  <c:v>0.26056103264723518</c:v>
                </c:pt>
                <c:pt idx="302">
                  <c:v>0.26373509248705956</c:v>
                </c:pt>
                <c:pt idx="303">
                  <c:v>0.26373509248705956</c:v>
                </c:pt>
                <c:pt idx="304">
                  <c:v>0.27235077384530088</c:v>
                </c:pt>
                <c:pt idx="305">
                  <c:v>0.27332208125604285</c:v>
                </c:pt>
                <c:pt idx="306">
                  <c:v>0.27636662651333582</c:v>
                </c:pt>
                <c:pt idx="307">
                  <c:v>0.26988892297349693</c:v>
                </c:pt>
                <c:pt idx="308">
                  <c:v>0.28096579706578667</c:v>
                </c:pt>
                <c:pt idx="309">
                  <c:v>0.28135444472986848</c:v>
                </c:pt>
                <c:pt idx="310">
                  <c:v>0.28135444472986848</c:v>
                </c:pt>
                <c:pt idx="311">
                  <c:v>0.28135444472986848</c:v>
                </c:pt>
                <c:pt idx="312">
                  <c:v>0.28141921934054892</c:v>
                </c:pt>
                <c:pt idx="313">
                  <c:v>0.27656095034537698</c:v>
                </c:pt>
                <c:pt idx="314">
                  <c:v>0.28018846709879314</c:v>
                </c:pt>
                <c:pt idx="315">
                  <c:v>0.28711959291339439</c:v>
                </c:pt>
                <c:pt idx="316">
                  <c:v>0.29042323661340902</c:v>
                </c:pt>
                <c:pt idx="317">
                  <c:v>0.29042323661340902</c:v>
                </c:pt>
                <c:pt idx="318">
                  <c:v>0.29042323661340902</c:v>
                </c:pt>
                <c:pt idx="319">
                  <c:v>0.3024717645047329</c:v>
                </c:pt>
                <c:pt idx="320">
                  <c:v>0.31030976950768829</c:v>
                </c:pt>
                <c:pt idx="321">
                  <c:v>0.30752435733194544</c:v>
                </c:pt>
                <c:pt idx="322">
                  <c:v>0.3116053309989536</c:v>
                </c:pt>
                <c:pt idx="323">
                  <c:v>0.31439074317469562</c:v>
                </c:pt>
                <c:pt idx="324">
                  <c:v>0.31439074317469562</c:v>
                </c:pt>
                <c:pt idx="325">
                  <c:v>0.31439074317469562</c:v>
                </c:pt>
                <c:pt idx="326">
                  <c:v>0.31393728626110429</c:v>
                </c:pt>
                <c:pt idx="327">
                  <c:v>0.30143533609501788</c:v>
                </c:pt>
                <c:pt idx="328">
                  <c:v>0.29288477573574967</c:v>
                </c:pt>
                <c:pt idx="329">
                  <c:v>0.30350819291444736</c:v>
                </c:pt>
                <c:pt idx="330">
                  <c:v>0.27474719196866887</c:v>
                </c:pt>
                <c:pt idx="331">
                  <c:v>0.27474719196866887</c:v>
                </c:pt>
                <c:pt idx="332">
                  <c:v>0.27474719196866887</c:v>
                </c:pt>
                <c:pt idx="333">
                  <c:v>0.28135444472986848</c:v>
                </c:pt>
                <c:pt idx="334">
                  <c:v>0.26294390698837006</c:v>
                </c:pt>
                <c:pt idx="335">
                  <c:v>0.27034234524825934</c:v>
                </c:pt>
                <c:pt idx="336">
                  <c:v>0.26885249456378202</c:v>
                </c:pt>
                <c:pt idx="337">
                  <c:v>0.26580794930648904</c:v>
                </c:pt>
                <c:pt idx="338">
                  <c:v>0.26580794930648904</c:v>
                </c:pt>
                <c:pt idx="339">
                  <c:v>0.26580794930648904</c:v>
                </c:pt>
                <c:pt idx="340">
                  <c:v>0.2693059168385446</c:v>
                </c:pt>
                <c:pt idx="341">
                  <c:v>0.30447984671348194</c:v>
                </c:pt>
                <c:pt idx="342">
                  <c:v>0.30182398375910025</c:v>
                </c:pt>
                <c:pt idx="343">
                  <c:v>0.30208311684065081</c:v>
                </c:pt>
                <c:pt idx="344">
                  <c:v>0.30402642443871941</c:v>
                </c:pt>
                <c:pt idx="345">
                  <c:v>0.30402642443871941</c:v>
                </c:pt>
                <c:pt idx="346">
                  <c:v>0.30402642443871941</c:v>
                </c:pt>
                <c:pt idx="347">
                  <c:v>0.30318431986104571</c:v>
                </c:pt>
                <c:pt idx="348">
                  <c:v>0.29197789654739553</c:v>
                </c:pt>
                <c:pt idx="349">
                  <c:v>0.28634229758523022</c:v>
                </c:pt>
                <c:pt idx="350">
                  <c:v>0.30758913194262616</c:v>
                </c:pt>
                <c:pt idx="351">
                  <c:v>0.28608316450367965</c:v>
                </c:pt>
                <c:pt idx="352">
                  <c:v>0.28608316450367965</c:v>
                </c:pt>
                <c:pt idx="353">
                  <c:v>0.28608316450367965</c:v>
                </c:pt>
                <c:pt idx="354">
                  <c:v>0.26788084076474772</c:v>
                </c:pt>
                <c:pt idx="355">
                  <c:v>0.28135444472986848</c:v>
                </c:pt>
                <c:pt idx="356">
                  <c:v>0.28945158281437444</c:v>
                </c:pt>
                <c:pt idx="357">
                  <c:v>0.30707093505718319</c:v>
                </c:pt>
                <c:pt idx="358">
                  <c:v>0.30707093505718319</c:v>
                </c:pt>
                <c:pt idx="359">
                  <c:v>0.30707093505718319</c:v>
                </c:pt>
                <c:pt idx="360">
                  <c:v>0.30707093505718319</c:v>
                </c:pt>
                <c:pt idx="361">
                  <c:v>0.30959724879020428</c:v>
                </c:pt>
                <c:pt idx="362">
                  <c:v>0.32345953505823644</c:v>
                </c:pt>
                <c:pt idx="363">
                  <c:v>0.31724092996111863</c:v>
                </c:pt>
                <c:pt idx="364">
                  <c:v>0.32112754515725611</c:v>
                </c:pt>
                <c:pt idx="365">
                  <c:v>0.31681566905452885</c:v>
                </c:pt>
                <c:pt idx="366">
                  <c:v>0.31681566905452885</c:v>
                </c:pt>
                <c:pt idx="367">
                  <c:v>0.31681566905452885</c:v>
                </c:pt>
                <c:pt idx="368">
                  <c:v>0.31808303453879233</c:v>
                </c:pt>
                <c:pt idx="369">
                  <c:v>0.32475506191067238</c:v>
                </c:pt>
                <c:pt idx="370">
                  <c:v>0.3125769847979879</c:v>
                </c:pt>
                <c:pt idx="371">
                  <c:v>0.28932203359301384</c:v>
                </c:pt>
                <c:pt idx="372">
                  <c:v>0.28731395138426452</c:v>
                </c:pt>
                <c:pt idx="373">
                  <c:v>0.28731395138426452</c:v>
                </c:pt>
                <c:pt idx="374">
                  <c:v>0.28731395138426452</c:v>
                </c:pt>
                <c:pt idx="375">
                  <c:v>0.26703873618707408</c:v>
                </c:pt>
                <c:pt idx="376">
                  <c:v>0.27409941122303622</c:v>
                </c:pt>
                <c:pt idx="377">
                  <c:v>0.29165398885516453</c:v>
                </c:pt>
                <c:pt idx="378">
                  <c:v>0.29009936356000737</c:v>
                </c:pt>
                <c:pt idx="379">
                  <c:v>0.27299820820264104</c:v>
                </c:pt>
                <c:pt idx="380">
                  <c:v>0.27299820820264104</c:v>
                </c:pt>
                <c:pt idx="381">
                  <c:v>0.27299820820264104</c:v>
                </c:pt>
                <c:pt idx="382">
                  <c:v>0.27377553816963457</c:v>
                </c:pt>
                <c:pt idx="383">
                  <c:v>0.25926547115596987</c:v>
                </c:pt>
                <c:pt idx="384">
                  <c:v>0.26904681839582323</c:v>
                </c:pt>
                <c:pt idx="385">
                  <c:v>0.2684638122608709</c:v>
                </c:pt>
                <c:pt idx="386">
                  <c:v>0.2375383694311502</c:v>
                </c:pt>
                <c:pt idx="387">
                  <c:v>0.2375383694311502</c:v>
                </c:pt>
                <c:pt idx="388">
                  <c:v>0.2375383694311502</c:v>
                </c:pt>
                <c:pt idx="389">
                  <c:v>0.20966866020056726</c:v>
                </c:pt>
                <c:pt idx="390">
                  <c:v>0.2063039828834306</c:v>
                </c:pt>
                <c:pt idx="391">
                  <c:v>0.22852482648024888</c:v>
                </c:pt>
                <c:pt idx="392">
                  <c:v>0.23083804213578035</c:v>
                </c:pt>
                <c:pt idx="393">
                  <c:v>0.20041583221727025</c:v>
                </c:pt>
                <c:pt idx="394">
                  <c:v>0.20041583221727025</c:v>
                </c:pt>
                <c:pt idx="395">
                  <c:v>0.20041583221727025</c:v>
                </c:pt>
                <c:pt idx="396">
                  <c:v>0.23992307963023479</c:v>
                </c:pt>
                <c:pt idx="397">
                  <c:v>0.23896933410591786</c:v>
                </c:pt>
                <c:pt idx="398">
                  <c:v>0.25453093205884625</c:v>
                </c:pt>
                <c:pt idx="399">
                  <c:v>0.24815205309883126</c:v>
                </c:pt>
                <c:pt idx="400">
                  <c:v>0.21885141383230988</c:v>
                </c:pt>
                <c:pt idx="401">
                  <c:v>0.21885141383230988</c:v>
                </c:pt>
                <c:pt idx="402">
                  <c:v>0.21885141383230988</c:v>
                </c:pt>
                <c:pt idx="403">
                  <c:v>0.22144499617171662</c:v>
                </c:pt>
                <c:pt idx="404">
                  <c:v>0.21485585951820993</c:v>
                </c:pt>
                <c:pt idx="405">
                  <c:v>0.23945999312211413</c:v>
                </c:pt>
                <c:pt idx="406">
                  <c:v>0.23076793314539684</c:v>
                </c:pt>
                <c:pt idx="407">
                  <c:v>0.22032346015855736</c:v>
                </c:pt>
                <c:pt idx="408">
                  <c:v>0.22032346015855736</c:v>
                </c:pt>
                <c:pt idx="409">
                  <c:v>0.22032346015855736</c:v>
                </c:pt>
                <c:pt idx="410">
                  <c:v>0.1956492175642697</c:v>
                </c:pt>
                <c:pt idx="411">
                  <c:v>0.2077760292096778</c:v>
                </c:pt>
                <c:pt idx="412">
                  <c:v>0.19578940090620706</c:v>
                </c:pt>
                <c:pt idx="413">
                  <c:v>0.19207424791481159</c:v>
                </c:pt>
                <c:pt idx="414">
                  <c:v>0.19011150793353893</c:v>
                </c:pt>
                <c:pt idx="415">
                  <c:v>0.19011150793353893</c:v>
                </c:pt>
                <c:pt idx="416">
                  <c:v>0.19011150793353893</c:v>
                </c:pt>
                <c:pt idx="417">
                  <c:v>0.16852157597251291</c:v>
                </c:pt>
                <c:pt idx="418">
                  <c:v>0.17504060363563625</c:v>
                </c:pt>
                <c:pt idx="419">
                  <c:v>0.17279749697048799</c:v>
                </c:pt>
                <c:pt idx="420">
                  <c:v>0.13228128973939704</c:v>
                </c:pt>
                <c:pt idx="421">
                  <c:v>0.16740000532052421</c:v>
                </c:pt>
                <c:pt idx="422">
                  <c:v>0.16740000532052421</c:v>
                </c:pt>
                <c:pt idx="423">
                  <c:v>0.16740000532052421</c:v>
                </c:pt>
                <c:pt idx="424">
                  <c:v>0.17843610951079739</c:v>
                </c:pt>
                <c:pt idx="425">
                  <c:v>0.17924645028205716</c:v>
                </c:pt>
                <c:pt idx="426">
                  <c:v>0.17595188195530384</c:v>
                </c:pt>
                <c:pt idx="427">
                  <c:v>0.18758803458451553</c:v>
                </c:pt>
                <c:pt idx="428" formatCode="0.0%">
                  <c:v>0.17188621865082027</c:v>
                </c:pt>
                <c:pt idx="429" formatCode="0.0%">
                  <c:v>0.17188621865082027</c:v>
                </c:pt>
                <c:pt idx="430" formatCode="0.0%">
                  <c:v>0.17188621865082027</c:v>
                </c:pt>
                <c:pt idx="431" formatCode="0.0%">
                  <c:v>0.15835746966954814</c:v>
                </c:pt>
                <c:pt idx="432" formatCode="0.0%">
                  <c:v>0.13894050074445771</c:v>
                </c:pt>
                <c:pt idx="433" formatCode="0.0%">
                  <c:v>0.14952519171206433</c:v>
                </c:pt>
                <c:pt idx="434" formatCode="0.0%">
                  <c:v>0.15064676236405306</c:v>
                </c:pt>
                <c:pt idx="435" formatCode="0.0%">
                  <c:v>0.15961922366347467</c:v>
                </c:pt>
                <c:pt idx="436" formatCode="0.0%">
                  <c:v>0.15961922366347467</c:v>
                </c:pt>
                <c:pt idx="437" formatCode="0.0%">
                  <c:v>0.15961922366347467</c:v>
                </c:pt>
                <c:pt idx="438" formatCode="0.0%">
                  <c:v>0.16501671531343859</c:v>
                </c:pt>
                <c:pt idx="439" formatCode="0.0%">
                  <c:v>0.15450209869738615</c:v>
                </c:pt>
                <c:pt idx="440" formatCode="0.0%">
                  <c:v>0.19165366325016975</c:v>
                </c:pt>
                <c:pt idx="441" formatCode="0.0%">
                  <c:v>0.18891986292999619</c:v>
                </c:pt>
                <c:pt idx="442" formatCode="0.0%">
                  <c:v>0.20987895253288841</c:v>
                </c:pt>
                <c:pt idx="443" formatCode="0.0%">
                  <c:v>0.20987895253288841</c:v>
                </c:pt>
                <c:pt idx="444" formatCode="0.0%">
                  <c:v>0.20987895253288841</c:v>
                </c:pt>
                <c:pt idx="445" formatCode="0.0%">
                  <c:v>0.21436516586318446</c:v>
                </c:pt>
                <c:pt idx="446" formatCode="0.0%">
                  <c:v>0.22417879649189018</c:v>
                </c:pt>
                <c:pt idx="447" formatCode="0.0%">
                  <c:v>0.21618772250251964</c:v>
                </c:pt>
                <c:pt idx="448" formatCode="0.0%">
                  <c:v>0.20469175321524546</c:v>
                </c:pt>
                <c:pt idx="449" formatCode="0.0%">
                  <c:v>0.21205198484648208</c:v>
                </c:pt>
                <c:pt idx="450" formatCode="0.0%">
                  <c:v>0.21205198484648208</c:v>
                </c:pt>
                <c:pt idx="451" formatCode="0.0%">
                  <c:v>0.21205198484648208</c:v>
                </c:pt>
                <c:pt idx="452" formatCode="0.0%">
                  <c:v>0.21934207284850629</c:v>
                </c:pt>
                <c:pt idx="453" formatCode="0.0%">
                  <c:v>0.23062774980345949</c:v>
                </c:pt>
                <c:pt idx="454" formatCode="0.0%">
                  <c:v>0.2270527801540014</c:v>
                </c:pt>
                <c:pt idx="455" formatCode="0.0%">
                  <c:v>0.21554721591102763</c:v>
                </c:pt>
                <c:pt idx="456" formatCode="0.0%">
                  <c:v>0.22698270580244739</c:v>
                </c:pt>
                <c:pt idx="457" formatCode="0.0%">
                  <c:v>0.22698270580244739</c:v>
                </c:pt>
                <c:pt idx="458" formatCode="0.0%">
                  <c:v>0.22698270580244739</c:v>
                </c:pt>
                <c:pt idx="459" formatCode="0.0%">
                  <c:v>0.23812816477663376</c:v>
                </c:pt>
                <c:pt idx="460" formatCode="0.0%">
                  <c:v>0.2391095174478555</c:v>
                </c:pt>
                <c:pt idx="461" formatCode="0.0%">
                  <c:v>0.21422498252124683</c:v>
                </c:pt>
                <c:pt idx="462" formatCode="0.0%">
                  <c:v>0.21843082916766776</c:v>
                </c:pt>
                <c:pt idx="463" formatCode="0.0%">
                  <c:v>0.22768365715096478</c:v>
                </c:pt>
                <c:pt idx="464" formatCode="0.0%">
                  <c:v>0.22768365715096478</c:v>
                </c:pt>
                <c:pt idx="465" formatCode="0.0%">
                  <c:v>0.22768365715096478</c:v>
                </c:pt>
                <c:pt idx="466" formatCode="0.0%">
                  <c:v>0.21787006116108812</c:v>
                </c:pt>
                <c:pt idx="467" formatCode="0.0%">
                  <c:v>0.2140847991793092</c:v>
                </c:pt>
                <c:pt idx="468" formatCode="0.0%">
                  <c:v>0.20581332386723417</c:v>
                </c:pt>
                <c:pt idx="469" formatCode="0.0%">
                  <c:v>0.20581332386723417</c:v>
                </c:pt>
                <c:pt idx="470" formatCode="0.0%">
                  <c:v>0.20581332386723417</c:v>
                </c:pt>
                <c:pt idx="471" formatCode="0.0%">
                  <c:v>0.20581332386723417</c:v>
                </c:pt>
                <c:pt idx="472" formatCode="0.0%">
                  <c:v>0.20581332386723417</c:v>
                </c:pt>
                <c:pt idx="473" formatCode="0.0%">
                  <c:v>0.20581332386723417</c:v>
                </c:pt>
                <c:pt idx="474" formatCode="0.0%">
                  <c:v>0.20518244687027093</c:v>
                </c:pt>
                <c:pt idx="475" formatCode="0.0%">
                  <c:v>0.22088422816513684</c:v>
                </c:pt>
                <c:pt idx="476" formatCode="0.0%">
                  <c:v>0.22831453414792777</c:v>
                </c:pt>
                <c:pt idx="477" formatCode="0.0%">
                  <c:v>0.19487812258653947</c:v>
                </c:pt>
                <c:pt idx="478" formatCode="0.0%">
                  <c:v>0.19487812258653947</c:v>
                </c:pt>
                <c:pt idx="479" formatCode="0.0%">
                  <c:v>0.19487812258653947</c:v>
                </c:pt>
                <c:pt idx="480" formatCode="0.0%">
                  <c:v>0.17693323462652558</c:v>
                </c:pt>
                <c:pt idx="481" formatCode="0.0%">
                  <c:v>0.17896604895935256</c:v>
                </c:pt>
                <c:pt idx="482" formatCode="0.0%">
                  <c:v>0.18422335726737885</c:v>
                </c:pt>
                <c:pt idx="483" formatCode="0.0%">
                  <c:v>0.19137326192746529</c:v>
                </c:pt>
                <c:pt idx="484" formatCode="0.0%">
                  <c:v>0.20609369055110932</c:v>
                </c:pt>
                <c:pt idx="485" formatCode="0.0%">
                  <c:v>0.17862974056625361</c:v>
                </c:pt>
                <c:pt idx="486" formatCode="0.0%">
                  <c:v>0.17862974056625361</c:v>
                </c:pt>
                <c:pt idx="487" formatCode="0.0%">
                  <c:v>0.17083475698921519</c:v>
                </c:pt>
                <c:pt idx="488" formatCode="0.0%">
                  <c:v>0.17153574297656177</c:v>
                </c:pt>
                <c:pt idx="489" formatCode="0.0%">
                  <c:v>0.16964311198567231</c:v>
                </c:pt>
                <c:pt idx="490" formatCode="0.0%">
                  <c:v>0.17833517196238957</c:v>
                </c:pt>
                <c:pt idx="491" formatCode="0.0%">
                  <c:v>0.13368322707526076</c:v>
                </c:pt>
                <c:pt idx="492" formatCode="0.0%">
                  <c:v>0.13368322707526076</c:v>
                </c:pt>
                <c:pt idx="493" formatCode="0.0%">
                  <c:v>0.13368322707526076</c:v>
                </c:pt>
                <c:pt idx="494" formatCode="0.0%">
                  <c:v>0.12814551744453026</c:v>
                </c:pt>
                <c:pt idx="495" formatCode="0.0%">
                  <c:v>0.12835580977685113</c:v>
                </c:pt>
                <c:pt idx="496" formatCode="0.0%">
                  <c:v>0.12723427376369173</c:v>
                </c:pt>
                <c:pt idx="497" formatCode="0.0%">
                  <c:v>0.12092550379406021</c:v>
                </c:pt>
                <c:pt idx="498" formatCode="0.0%">
                  <c:v>0.12092550379406021</c:v>
                </c:pt>
                <c:pt idx="499" formatCode="0.0%">
                  <c:v>0.12092550379406021</c:v>
                </c:pt>
                <c:pt idx="500" formatCode="0.0%">
                  <c:v>0.12092550379406021</c:v>
                </c:pt>
                <c:pt idx="501" formatCode="0.0%">
                  <c:v>0.14496886939138492</c:v>
                </c:pt>
                <c:pt idx="502" formatCode="0.0%">
                  <c:v>0.15464231667815298</c:v>
                </c:pt>
                <c:pt idx="503" formatCode="0.0%">
                  <c:v>0.14524927071408911</c:v>
                </c:pt>
                <c:pt idx="504" formatCode="0.0%">
                  <c:v>0.11440647613093688</c:v>
                </c:pt>
                <c:pt idx="505" formatCode="0.0%">
                  <c:v>0.13550574907576673</c:v>
                </c:pt>
                <c:pt idx="506" formatCode="0.0%">
                  <c:v>0.13550574907576673</c:v>
                </c:pt>
                <c:pt idx="507" formatCode="0.0%">
                  <c:v>0.13550574907576673</c:v>
                </c:pt>
                <c:pt idx="508" formatCode="0.0%">
                  <c:v>0.12940727143845648</c:v>
                </c:pt>
                <c:pt idx="509" formatCode="0.0%">
                  <c:v>0.1207853204521227</c:v>
                </c:pt>
                <c:pt idx="510" formatCode="0.0%">
                  <c:v>0.12478087476622264</c:v>
                </c:pt>
                <c:pt idx="511" formatCode="0.0%">
                  <c:v>0.12478087476622264</c:v>
                </c:pt>
                <c:pt idx="512" formatCode="0.0%">
                  <c:v>0.12478087476622264</c:v>
                </c:pt>
                <c:pt idx="513" formatCode="0.0%">
                  <c:v>0.12478087476622264</c:v>
                </c:pt>
                <c:pt idx="514" formatCode="0.0%">
                  <c:v>0.12478087476622264</c:v>
                </c:pt>
                <c:pt idx="515" formatCode="0.0%">
                  <c:v>0.17251709564778367</c:v>
                </c:pt>
                <c:pt idx="516" formatCode="0.0%">
                  <c:v>0.16525620817880962</c:v>
                </c:pt>
                <c:pt idx="517" formatCode="0.0%">
                  <c:v>0.16796077332710396</c:v>
                </c:pt>
                <c:pt idx="518" formatCode="0.0%">
                  <c:v>0.1575163003402642</c:v>
                </c:pt>
                <c:pt idx="519" formatCode="0.0%">
                  <c:v>0.16025010066043777</c:v>
                </c:pt>
                <c:pt idx="520" formatCode="0.0%">
                  <c:v>0.16025010066043777</c:v>
                </c:pt>
                <c:pt idx="521" formatCode="0.0%">
                  <c:v>0.16025010066043777</c:v>
                </c:pt>
                <c:pt idx="522" formatCode="0.0%">
                  <c:v>0.16025010066043777</c:v>
                </c:pt>
                <c:pt idx="523" formatCode="0.0%">
                  <c:v>0.16123145333165964</c:v>
                </c:pt>
                <c:pt idx="524" formatCode="0.0%">
                  <c:v>0.16859165032406692</c:v>
                </c:pt>
                <c:pt idx="525" formatCode="0.0%">
                  <c:v>0.1636147433387454</c:v>
                </c:pt>
                <c:pt idx="526" formatCode="0.0%">
                  <c:v>0.13312242442985167</c:v>
                </c:pt>
                <c:pt idx="527" formatCode="0.0%">
                  <c:v>0.13312242442985167</c:v>
                </c:pt>
                <c:pt idx="528" formatCode="0.0%">
                  <c:v>0.13312242442985167</c:v>
                </c:pt>
                <c:pt idx="529" formatCode="0.0%">
                  <c:v>0.10739675481278808</c:v>
                </c:pt>
                <c:pt idx="530" formatCode="0.0%">
                  <c:v>0.10052721683657723</c:v>
                </c:pt>
                <c:pt idx="531" formatCode="0.0%">
                  <c:v>0.10627518416079966</c:v>
                </c:pt>
                <c:pt idx="532" formatCode="0.0%">
                  <c:v>7.3329466254436967E-2</c:v>
                </c:pt>
                <c:pt idx="533" formatCode="0.0%">
                  <c:v>7.8446556581696289E-2</c:v>
                </c:pt>
                <c:pt idx="534" formatCode="0.0%">
                  <c:v>7.8446556581696289E-2</c:v>
                </c:pt>
                <c:pt idx="535" formatCode="0.0%">
                  <c:v>7.8446556581696289E-2</c:v>
                </c:pt>
                <c:pt idx="536" formatCode="0.0%">
                  <c:v>7.6764217923127806E-2</c:v>
                </c:pt>
                <c:pt idx="537" formatCode="0.0%">
                  <c:v>8.65778485518338E-2</c:v>
                </c:pt>
                <c:pt idx="538" formatCode="0.0%">
                  <c:v>8.3002878902375843E-2</c:v>
                </c:pt>
                <c:pt idx="539" formatCode="0.0%">
                  <c:v>9.4568922541204331E-2</c:v>
                </c:pt>
                <c:pt idx="540" formatCode="0.0%">
                  <c:v>0.1155981211344799</c:v>
                </c:pt>
                <c:pt idx="541" formatCode="0.0%">
                  <c:v>0.1155981211344799</c:v>
                </c:pt>
                <c:pt idx="542" formatCode="0.0%">
                  <c:v>0.1155981211344799</c:v>
                </c:pt>
                <c:pt idx="543" formatCode="0.0%">
                  <c:v>0.1214863064394693</c:v>
                </c:pt>
                <c:pt idx="544" formatCode="0.0%">
                  <c:v>0.13326264241061864</c:v>
                </c:pt>
                <c:pt idx="545" formatCode="0.0%">
                  <c:v>0.10992022816181163</c:v>
                </c:pt>
                <c:pt idx="546" formatCode="0.0%">
                  <c:v>0.10512971271663489</c:v>
                </c:pt>
                <c:pt idx="547" formatCode="0.0%">
                  <c:v>0.11307461314662731</c:v>
                </c:pt>
                <c:pt idx="548" formatCode="0.0%">
                  <c:v>0.11307461314662731</c:v>
                </c:pt>
                <c:pt idx="549" formatCode="0.0%">
                  <c:v>0.11307461314662731</c:v>
                </c:pt>
                <c:pt idx="550" formatCode="0.0%">
                  <c:v>0.1109016154718627</c:v>
                </c:pt>
                <c:pt idx="551" formatCode="0.0%">
                  <c:v>0.10627518416079966</c:v>
                </c:pt>
                <c:pt idx="552" formatCode="0.0%">
                  <c:v>0.13767874675053135</c:v>
                </c:pt>
                <c:pt idx="553" formatCode="0.0%">
                  <c:v>0.15387122170042303</c:v>
                </c:pt>
                <c:pt idx="554" formatCode="0.0%">
                  <c:v>0.15527319367511608</c:v>
                </c:pt>
                <c:pt idx="555" formatCode="0.0%">
                  <c:v>0.15527319367511608</c:v>
                </c:pt>
                <c:pt idx="556" formatCode="0.0%">
                  <c:v>0.15527319367511608</c:v>
                </c:pt>
                <c:pt idx="557" formatCode="0.0%">
                  <c:v>0.15800695935646061</c:v>
                </c:pt>
                <c:pt idx="558" formatCode="0.0%">
                  <c:v>0.16116134434127602</c:v>
                </c:pt>
                <c:pt idx="559" formatCode="0.0%">
                  <c:v>0.13774885574091486</c:v>
                </c:pt>
                <c:pt idx="560" formatCode="0.0%">
                  <c:v>0.12912690475458105</c:v>
                </c:pt>
                <c:pt idx="561" formatCode="0.0%">
                  <c:v>0.14812325437620033</c:v>
                </c:pt>
                <c:pt idx="562" formatCode="0.0%">
                  <c:v>0.14812325437620033</c:v>
                </c:pt>
                <c:pt idx="563" formatCode="0.0%">
                  <c:v>0.14812325437620033</c:v>
                </c:pt>
                <c:pt idx="564" formatCode="0.0%">
                  <c:v>0.15674520536253425</c:v>
                </c:pt>
                <c:pt idx="565" formatCode="0.0%">
                  <c:v>0.15113745601907852</c:v>
                </c:pt>
                <c:pt idx="566" formatCode="0.0%">
                  <c:v>0.16354466898719111</c:v>
                </c:pt>
                <c:pt idx="567" formatCode="0.0%">
                  <c:v>0.18106897228256316</c:v>
                </c:pt>
                <c:pt idx="568" formatCode="0.0%">
                  <c:v>0.18786840126839066</c:v>
                </c:pt>
                <c:pt idx="569" formatCode="0.0%">
                  <c:v>0.18786840126839066</c:v>
                </c:pt>
                <c:pt idx="570" formatCode="0.0%">
                  <c:v>0.18786840126839066</c:v>
                </c:pt>
                <c:pt idx="571" formatCode="0.0%">
                  <c:v>0.1833120789477114</c:v>
                </c:pt>
                <c:pt idx="572" formatCode="0.0%">
                  <c:v>0.18716744991987341</c:v>
                </c:pt>
                <c:pt idx="573" formatCode="0.0%">
                  <c:v>0.19810261656173878</c:v>
                </c:pt>
                <c:pt idx="574" formatCode="0.0%">
                  <c:v>0.21212205919803637</c:v>
                </c:pt>
                <c:pt idx="575" formatCode="0.0%">
                  <c:v>0.23819823912818777</c:v>
                </c:pt>
                <c:pt idx="576" formatCode="0.0%">
                  <c:v>0.23819823912818777</c:v>
                </c:pt>
                <c:pt idx="577" formatCode="0.0%">
                  <c:v>0.23815646470012325</c:v>
                </c:pt>
                <c:pt idx="578" formatCode="0.0%">
                  <c:v>0.2309081511261637</c:v>
                </c:pt>
                <c:pt idx="579" formatCode="0.0%">
                  <c:v>0.22228616550100086</c:v>
                </c:pt>
                <c:pt idx="580" formatCode="0.0%">
                  <c:v>0.23252038079434884</c:v>
                </c:pt>
                <c:pt idx="581" formatCode="0.0%">
                  <c:v>0.24121244077106582</c:v>
                </c:pt>
                <c:pt idx="582" formatCode="0.0%">
                  <c:v>0.23553454779839769</c:v>
                </c:pt>
                <c:pt idx="583" formatCode="0.0%">
                  <c:v>0.23553454779839769</c:v>
                </c:pt>
                <c:pt idx="584" formatCode="0.0%">
                  <c:v>0.23553454779839769</c:v>
                </c:pt>
                <c:pt idx="585" formatCode="0.0%">
                  <c:v>0.24660993242102974</c:v>
                </c:pt>
                <c:pt idx="586" formatCode="0.0%">
                  <c:v>0.22719299813476851</c:v>
                </c:pt>
                <c:pt idx="587" formatCode="0.0%">
                  <c:v>0.23826834811857125</c:v>
                </c:pt>
                <c:pt idx="588" formatCode="0.0%">
                  <c:v>0.24660993242102974</c:v>
                </c:pt>
                <c:pt idx="589" formatCode="0.0%">
                  <c:v>0.25228779075486885</c:v>
                </c:pt>
                <c:pt idx="590" formatCode="0.0%">
                  <c:v>0.25228779075486885</c:v>
                </c:pt>
                <c:pt idx="591" formatCode="0.0%">
                  <c:v>0.25228779075486885</c:v>
                </c:pt>
                <c:pt idx="592" formatCode="0.0%">
                  <c:v>0.27135424936687147</c:v>
                </c:pt>
                <c:pt idx="593" formatCode="0.0%">
                  <c:v>0.26974201969868661</c:v>
                </c:pt>
                <c:pt idx="594" formatCode="0.0%">
                  <c:v>0.2648352217037484</c:v>
                </c:pt>
                <c:pt idx="595" formatCode="0.0%">
                  <c:v>0.26308277405479658</c:v>
                </c:pt>
                <c:pt idx="596" formatCode="0.0%">
                  <c:v>0.26266218939015445</c:v>
                </c:pt>
                <c:pt idx="597" formatCode="0.0%">
                  <c:v>0.26266218939015445</c:v>
                </c:pt>
                <c:pt idx="598" formatCode="0.0%">
                  <c:v>0.26266218939015445</c:v>
                </c:pt>
                <c:pt idx="599" formatCode="0.0%">
                  <c:v>0.25109614575132611</c:v>
                </c:pt>
                <c:pt idx="600" formatCode="0.0%">
                  <c:v>0.23770758011199164</c:v>
                </c:pt>
                <c:pt idx="601" formatCode="0.0%">
                  <c:v>0.24310507176195542</c:v>
                </c:pt>
                <c:pt idx="602" formatCode="0.0%">
                  <c:v>0.25137654707403029</c:v>
                </c:pt>
                <c:pt idx="603" formatCode="0.0%">
                  <c:v>0.24555847075942452</c:v>
                </c:pt>
                <c:pt idx="604" formatCode="0.0%">
                  <c:v>0.24555847075942452</c:v>
                </c:pt>
                <c:pt idx="605" formatCode="0.0%">
                  <c:v>0.24555847075942452</c:v>
                </c:pt>
                <c:pt idx="606" formatCode="0.0%">
                  <c:v>0.2091779665455418</c:v>
                </c:pt>
                <c:pt idx="607" formatCode="0.0%">
                  <c:v>0.21107059753643115</c:v>
                </c:pt>
                <c:pt idx="608" formatCode="0.0%">
                  <c:v>0.18954554410257302</c:v>
                </c:pt>
                <c:pt idx="609" formatCode="0.0%">
                  <c:v>0.18709734092949007</c:v>
                </c:pt>
                <c:pt idx="610" formatCode="0.0%">
                  <c:v>0.19656046124510795</c:v>
                </c:pt>
                <c:pt idx="611" formatCode="0.0%">
                  <c:v>0.19656046124510795</c:v>
                </c:pt>
                <c:pt idx="612" formatCode="0.0%">
                  <c:v>0.19656046124510795</c:v>
                </c:pt>
                <c:pt idx="613" formatCode="0.0%">
                  <c:v>0.19137326192746529</c:v>
                </c:pt>
                <c:pt idx="614" formatCode="0.0%">
                  <c:v>0.19635016891278709</c:v>
                </c:pt>
                <c:pt idx="615" formatCode="0.0%">
                  <c:v>0.19137326192746529</c:v>
                </c:pt>
                <c:pt idx="616" formatCode="0.0%">
                  <c:v>0.20209817087583873</c:v>
                </c:pt>
                <c:pt idx="617" formatCode="0.0%">
                  <c:v>0.220673935832816</c:v>
                </c:pt>
                <c:pt idx="618" formatCode="0.0%">
                  <c:v>0.220673935832816</c:v>
                </c:pt>
                <c:pt idx="619" formatCode="0.0%">
                  <c:v>0.220673935832816</c:v>
                </c:pt>
                <c:pt idx="620" formatCode="0.0%">
                  <c:v>0.23027727412920071</c:v>
                </c:pt>
                <c:pt idx="621" formatCode="0.0%">
                  <c:v>0.21268286184344531</c:v>
                </c:pt>
                <c:pt idx="622" formatCode="0.0%">
                  <c:v>0.20069619890114551</c:v>
                </c:pt>
                <c:pt idx="623" formatCode="0.0%">
                  <c:v>0.19957466288798614</c:v>
                </c:pt>
                <c:pt idx="624" formatCode="0.0%">
                  <c:v>0.16796077332710396</c:v>
                </c:pt>
                <c:pt idx="625" formatCode="0.0%">
                  <c:v>0.16796077332710396</c:v>
                </c:pt>
                <c:pt idx="626" formatCode="0.0%">
                  <c:v>0.16796077332710396</c:v>
                </c:pt>
                <c:pt idx="627" formatCode="0.0%">
                  <c:v>0.1642456203357085</c:v>
                </c:pt>
                <c:pt idx="628" formatCode="0.0%">
                  <c:v>0.15779666702413933</c:v>
                </c:pt>
                <c:pt idx="629" formatCode="0.0%">
                  <c:v>0.16901223498870904</c:v>
                </c:pt>
                <c:pt idx="630" formatCode="0.0%">
                  <c:v>0.14398751672016302</c:v>
                </c:pt>
                <c:pt idx="631" formatCode="0.0%">
                  <c:v>0.13312242442985167</c:v>
                </c:pt>
                <c:pt idx="632" formatCode="0.0%">
                  <c:v>0.13312242442985167</c:v>
                </c:pt>
                <c:pt idx="633" formatCode="0.0%">
                  <c:v>0.13312242442985167</c:v>
                </c:pt>
                <c:pt idx="634" formatCode="0.0%">
                  <c:v>0.14048265606108856</c:v>
                </c:pt>
                <c:pt idx="635" formatCode="0.0%">
                  <c:v>0.13964148673180432</c:v>
                </c:pt>
                <c:pt idx="636" formatCode="0.0%">
                  <c:v>0.13263176541365554</c:v>
                </c:pt>
                <c:pt idx="637" formatCode="0.0%">
                  <c:v>0.11195307713346779</c:v>
                </c:pt>
                <c:pt idx="638" formatCode="0.0%">
                  <c:v>0.1046617421335911</c:v>
                </c:pt>
                <c:pt idx="639" formatCode="0.0%">
                  <c:v>0.1046617421335911</c:v>
                </c:pt>
                <c:pt idx="640" formatCode="0.0%">
                  <c:v>0.1046617421335911</c:v>
                </c:pt>
                <c:pt idx="641" formatCode="0.0%">
                  <c:v>0.11756086111575285</c:v>
                </c:pt>
                <c:pt idx="642" formatCode="0.0%">
                  <c:v>0.14868402238278036</c:v>
                </c:pt>
                <c:pt idx="643" formatCode="0.0%">
                  <c:v>0.15310016136152213</c:v>
                </c:pt>
                <c:pt idx="644" formatCode="0.0%">
                  <c:v>0.16074075967663418</c:v>
                </c:pt>
                <c:pt idx="645" formatCode="0.0%">
                  <c:v>0.13788903908285263</c:v>
                </c:pt>
                <c:pt idx="646" formatCode="0.0%">
                  <c:v>0.13788903908285263</c:v>
                </c:pt>
                <c:pt idx="647" formatCode="0.0%">
                  <c:v>0.13788903908285263</c:v>
                </c:pt>
                <c:pt idx="648" formatCode="0.0%">
                  <c:v>0.13115971908740803</c:v>
                </c:pt>
                <c:pt idx="649" formatCode="0.0%">
                  <c:v>0.11048103080722058</c:v>
                </c:pt>
                <c:pt idx="650" formatCode="0.0%">
                  <c:v>0.11622899813144301</c:v>
                </c:pt>
                <c:pt idx="651" formatCode="0.0%">
                  <c:v>8.9802307888203786E-2</c:v>
                </c:pt>
                <c:pt idx="652" formatCode="0.0%">
                  <c:v>0.12849602775761809</c:v>
                </c:pt>
                <c:pt idx="653" formatCode="0.0%">
                  <c:v>0.12849602775761809</c:v>
                </c:pt>
                <c:pt idx="654" formatCode="0.0%">
                  <c:v>0.12849602775761809</c:v>
                </c:pt>
                <c:pt idx="655" formatCode="0.0%">
                  <c:v>0.13431410407222402</c:v>
                </c:pt>
                <c:pt idx="656" formatCode="0.0%">
                  <c:v>0.14637084136607798</c:v>
                </c:pt>
                <c:pt idx="657" formatCode="0.0%">
                  <c:v>0.13221118074901342</c:v>
                </c:pt>
                <c:pt idx="658" formatCode="0.0%">
                  <c:v>0.13214107175863007</c:v>
                </c:pt>
                <c:pt idx="659" formatCode="0.0%">
                  <c:v>0.12730438275407521</c:v>
                </c:pt>
                <c:pt idx="660" formatCode="0.0%">
                  <c:v>0.12730438275407521</c:v>
                </c:pt>
                <c:pt idx="661" formatCode="0.0%">
                  <c:v>0.12730438275407521</c:v>
                </c:pt>
                <c:pt idx="662" formatCode="0.0%">
                  <c:v>0.13978167007374195</c:v>
                </c:pt>
                <c:pt idx="663" formatCode="0.0%">
                  <c:v>0.14581003872066886</c:v>
                </c:pt>
                <c:pt idx="664" formatCode="0.0%">
                  <c:v>0.14966540969283129</c:v>
                </c:pt>
                <c:pt idx="665" formatCode="0.0%">
                  <c:v>0.1424453614035322</c:v>
                </c:pt>
                <c:pt idx="666" formatCode="0.0%">
                  <c:v>0.14952519171206433</c:v>
                </c:pt>
                <c:pt idx="667" formatCode="0.0%">
                  <c:v>0.14952519171206433</c:v>
                </c:pt>
                <c:pt idx="668" formatCode="0.0%">
                  <c:v>0.14952519171206433</c:v>
                </c:pt>
                <c:pt idx="669" formatCode="0.0%">
                  <c:v>0.16471172042197296</c:v>
                </c:pt>
                <c:pt idx="670" formatCode="0.0%">
                  <c:v>0.16803088231748745</c:v>
                </c:pt>
                <c:pt idx="671" formatCode="0.0%">
                  <c:v>0.1666990193331776</c:v>
                </c:pt>
                <c:pt idx="672" formatCode="0.0%">
                  <c:v>0.15310016136152213</c:v>
                </c:pt>
                <c:pt idx="673" formatCode="0.0%">
                  <c:v>0.15555356035899123</c:v>
                </c:pt>
                <c:pt idx="674" formatCode="0.0%">
                  <c:v>0.15555356035899123</c:v>
                </c:pt>
                <c:pt idx="675" formatCode="0.0%">
                  <c:v>0.15555356035899123</c:v>
                </c:pt>
                <c:pt idx="676" formatCode="0.0%">
                  <c:v>0.15288986902920129</c:v>
                </c:pt>
                <c:pt idx="677" formatCode="0.0%">
                  <c:v>0.1688019426563882</c:v>
                </c:pt>
                <c:pt idx="678" formatCode="0.0%">
                  <c:v>0.16347455999680777</c:v>
                </c:pt>
                <c:pt idx="679" formatCode="0.0%">
                  <c:v>0.19508841491886073</c:v>
                </c:pt>
                <c:pt idx="680" formatCode="0.0%">
                  <c:v>0.20279912222435598</c:v>
                </c:pt>
                <c:pt idx="681" formatCode="0.0%">
                  <c:v>0.20279912222435598</c:v>
                </c:pt>
                <c:pt idx="682" formatCode="0.0%">
                  <c:v>0.20279912222435598</c:v>
                </c:pt>
                <c:pt idx="683" formatCode="0.0%">
                  <c:v>0.20560303153491305</c:v>
                </c:pt>
                <c:pt idx="684" formatCode="0.0%">
                  <c:v>0.21036964618791387</c:v>
                </c:pt>
                <c:pt idx="685" formatCode="0.0%">
                  <c:v>0.1977521408874803</c:v>
                </c:pt>
                <c:pt idx="686" formatCode="0.0%">
                  <c:v>0.18534489328053808</c:v>
                </c:pt>
                <c:pt idx="687" formatCode="0.0%">
                  <c:v>0.20216824522739302</c:v>
                </c:pt>
                <c:pt idx="688" formatCode="0.0%">
                  <c:v>0.20216824522739302</c:v>
                </c:pt>
                <c:pt idx="689" formatCode="0.0%">
                  <c:v>0.20216824522739302</c:v>
                </c:pt>
                <c:pt idx="690" formatCode="0.0%">
                  <c:v>0.20959855121018392</c:v>
                </c:pt>
                <c:pt idx="691" formatCode="0.0%">
                  <c:v>0.21226227717880319</c:v>
                </c:pt>
                <c:pt idx="692" formatCode="0.0%">
                  <c:v>0.21548673651517319</c:v>
                </c:pt>
                <c:pt idx="693" formatCode="0.0%">
                  <c:v>0.21885141383230988</c:v>
                </c:pt>
                <c:pt idx="694" formatCode="0.0%">
                  <c:v>0.2179401355126423</c:v>
                </c:pt>
                <c:pt idx="695" formatCode="0.0%">
                  <c:v>0.2179401355126423</c:v>
                </c:pt>
                <c:pt idx="696" formatCode="0.0%">
                  <c:v>0.2179401355126423</c:v>
                </c:pt>
                <c:pt idx="697" formatCode="0.0%">
                  <c:v>0.20931818452630865</c:v>
                </c:pt>
                <c:pt idx="698" formatCode="0.0%">
                  <c:v>0.20300941455667726</c:v>
                </c:pt>
                <c:pt idx="699" formatCode="0.0%">
                  <c:v>0.23447349118109259</c:v>
                </c:pt>
                <c:pt idx="700" formatCode="0.0%">
                  <c:v>0.22810424181560676</c:v>
                </c:pt>
                <c:pt idx="701" formatCode="0.0%">
                  <c:v>0.22649201214742193</c:v>
                </c:pt>
                <c:pt idx="702" formatCode="0.0%">
                  <c:v>0.22649201214742193</c:v>
                </c:pt>
                <c:pt idx="703" formatCode="0.0%">
                  <c:v>0.22649201214742193</c:v>
                </c:pt>
                <c:pt idx="704" formatCode="0.0%">
                  <c:v>0.21001913587482604</c:v>
                </c:pt>
                <c:pt idx="705" formatCode="0.0%">
                  <c:v>0.20027561423650339</c:v>
                </c:pt>
                <c:pt idx="706" formatCode="0.0%">
                  <c:v>0.19473793924460212</c:v>
                </c:pt>
                <c:pt idx="707" formatCode="0.0%">
                  <c:v>0.19950455389760266</c:v>
                </c:pt>
                <c:pt idx="708" formatCode="0.0%">
                  <c:v>0.20230846320815971</c:v>
                </c:pt>
                <c:pt idx="709" formatCode="0.0%">
                  <c:v>0.20230846320815971</c:v>
                </c:pt>
                <c:pt idx="710" formatCode="0.0%">
                  <c:v>0.20230846320815971</c:v>
                </c:pt>
                <c:pt idx="711" formatCode="0.0%">
                  <c:v>0.19817272555212212</c:v>
                </c:pt>
                <c:pt idx="712" formatCode="0.0%">
                  <c:v>0.23167921146506459</c:v>
                </c:pt>
                <c:pt idx="713" formatCode="0.0%">
                  <c:v>0.21513626084091442</c:v>
                </c:pt>
                <c:pt idx="714" formatCode="0.0%">
                  <c:v>0.17020391463108139</c:v>
                </c:pt>
                <c:pt idx="715" formatCode="0.0%">
                  <c:v>0.16242309833520238</c:v>
                </c:pt>
                <c:pt idx="716" formatCode="0.0%">
                  <c:v>0.16242309833520238</c:v>
                </c:pt>
                <c:pt idx="717" formatCode="0.0%">
                  <c:v>0.16242309833520238</c:v>
                </c:pt>
                <c:pt idx="718" formatCode="0.0%">
                  <c:v>0.15590407067207906</c:v>
                </c:pt>
                <c:pt idx="719" formatCode="0.0%">
                  <c:v>0.14910460704742248</c:v>
                </c:pt>
                <c:pt idx="720" formatCode="0.0%">
                  <c:v>0.15744619134988055</c:v>
                </c:pt>
                <c:pt idx="721" formatCode="0.0%">
                  <c:v>0.15141782270295395</c:v>
                </c:pt>
                <c:pt idx="722" formatCode="0.0%">
                  <c:v>0.14861394803122607</c:v>
                </c:pt>
                <c:pt idx="723" formatCode="0.0%">
                  <c:v>0.14861394803122607</c:v>
                </c:pt>
                <c:pt idx="724" formatCode="0.0%">
                  <c:v>0.14861394803122607</c:v>
                </c:pt>
                <c:pt idx="725" formatCode="0.0%">
                  <c:v>0.14861394803122607</c:v>
                </c:pt>
                <c:pt idx="726" formatCode="0.0%">
                  <c:v>0.15141782270295395</c:v>
                </c:pt>
                <c:pt idx="727" formatCode="0.0%">
                  <c:v>0.15513297569434911</c:v>
                </c:pt>
                <c:pt idx="728" formatCode="0.0%">
                  <c:v>0.15863783635342357</c:v>
                </c:pt>
                <c:pt idx="729" formatCode="0.0%">
                  <c:v>0.14952519171206433</c:v>
                </c:pt>
                <c:pt idx="730" formatCode="0.0%">
                  <c:v>0.15068881390275138</c:v>
                </c:pt>
                <c:pt idx="731" formatCode="0.0%">
                  <c:v>0.15068881390275138</c:v>
                </c:pt>
                <c:pt idx="732" formatCode="0.0%">
                  <c:v>0.15068881390275138</c:v>
                </c:pt>
                <c:pt idx="733" formatCode="0.0%">
                  <c:v>0.16992351330837679</c:v>
                </c:pt>
                <c:pt idx="734" formatCode="0.0%">
                  <c:v>0.17447983562905647</c:v>
                </c:pt>
                <c:pt idx="735" formatCode="0.0%">
                  <c:v>0.16971322097605593</c:v>
                </c:pt>
                <c:pt idx="736" formatCode="0.0%">
                  <c:v>0.16852157597251291</c:v>
                </c:pt>
                <c:pt idx="737" formatCode="0.0%">
                  <c:v>0.16852157597251291</c:v>
                </c:pt>
                <c:pt idx="738" formatCode="0.0%">
                  <c:v>0.16852157597251291</c:v>
                </c:pt>
                <c:pt idx="739" formatCode="0.0%">
                  <c:v>0.18001751062095805</c:v>
                </c:pt>
                <c:pt idx="740" formatCode="0.0%">
                  <c:v>0.17966703494669928</c:v>
                </c:pt>
                <c:pt idx="741" formatCode="0.0%">
                  <c:v>0.19228454024713287</c:v>
                </c:pt>
                <c:pt idx="742" formatCode="0.0%">
                  <c:v>0.19613987658046583</c:v>
                </c:pt>
                <c:pt idx="743" formatCode="0.0%">
                  <c:v>0.20027561423650339</c:v>
                </c:pt>
                <c:pt idx="744" formatCode="0.0%">
                  <c:v>0.20027561423650339</c:v>
                </c:pt>
                <c:pt idx="745" formatCode="0.0%">
                  <c:v>0.20027561423650339</c:v>
                </c:pt>
                <c:pt idx="746" formatCode="0.0%">
                  <c:v>0.20525252122182522</c:v>
                </c:pt>
                <c:pt idx="747" formatCode="0.0%">
                  <c:v>0.20342999922131938</c:v>
                </c:pt>
                <c:pt idx="748" formatCode="0.0%">
                  <c:v>0.21008924486520938</c:v>
                </c:pt>
                <c:pt idx="749" formatCode="0.0%">
                  <c:v>0.18639635494214346</c:v>
                </c:pt>
                <c:pt idx="750" formatCode="0.0%">
                  <c:v>0.18653657292291043</c:v>
                </c:pt>
                <c:pt idx="751" formatCode="0.0%">
                  <c:v>0.18653657292291043</c:v>
                </c:pt>
                <c:pt idx="752" formatCode="0.0%">
                  <c:v>0.18653657292291043</c:v>
                </c:pt>
                <c:pt idx="753" formatCode="0.0%">
                  <c:v>0.20251875554048085</c:v>
                </c:pt>
                <c:pt idx="754" formatCode="0.0%">
                  <c:v>0.20132707589810878</c:v>
                </c:pt>
                <c:pt idx="755" formatCode="0.0%">
                  <c:v>0.18366258926079909</c:v>
                </c:pt>
                <c:pt idx="756" formatCode="0.0%">
                  <c:v>0.1946678302542186</c:v>
                </c:pt>
                <c:pt idx="757" formatCode="0.0%">
                  <c:v>0.20153736823042975</c:v>
                </c:pt>
                <c:pt idx="758" formatCode="0.0%">
                  <c:v>0.20153736823042975</c:v>
                </c:pt>
                <c:pt idx="759" formatCode="0.0%">
                  <c:v>0.20153736823042975</c:v>
                </c:pt>
                <c:pt idx="760" formatCode="0.0%">
                  <c:v>0.20258882989203514</c:v>
                </c:pt>
                <c:pt idx="761" formatCode="0.0%">
                  <c:v>0.21156620990520891</c:v>
                </c:pt>
                <c:pt idx="762" formatCode="0.0%">
                  <c:v>0.21219216818841985</c:v>
                </c:pt>
                <c:pt idx="763" formatCode="0.0%">
                  <c:v>0.22999687280649625</c:v>
                </c:pt>
                <c:pt idx="764" formatCode="0.0%">
                  <c:v>0.23160910247468108</c:v>
                </c:pt>
                <c:pt idx="765" formatCode="0.0%">
                  <c:v>0.23160910247468108</c:v>
                </c:pt>
                <c:pt idx="766" formatCode="0.0%">
                  <c:v>0.23160910247468108</c:v>
                </c:pt>
                <c:pt idx="767" formatCode="0.0%">
                  <c:v>0.22971647148379176</c:v>
                </c:pt>
                <c:pt idx="768" formatCode="0.0%">
                  <c:v>0.23125862680042247</c:v>
                </c:pt>
                <c:pt idx="769" formatCode="0.0%">
                  <c:v>0.24236251917951976</c:v>
                </c:pt>
                <c:pt idx="770" formatCode="0.0%">
                  <c:v>0.23974704510003292</c:v>
                </c:pt>
                <c:pt idx="771" formatCode="0.0%">
                  <c:v>0.22494795169518284</c:v>
                </c:pt>
                <c:pt idx="772" formatCode="0.0%">
                  <c:v>0.22494795169518284</c:v>
                </c:pt>
                <c:pt idx="773" formatCode="0.0%">
                  <c:v>0.22494795169518284</c:v>
                </c:pt>
                <c:pt idx="774" formatCode="0.0%">
                  <c:v>0.23974704510003292</c:v>
                </c:pt>
                <c:pt idx="775" formatCode="0.0%">
                  <c:v>0.24233328400764065</c:v>
                </c:pt>
                <c:pt idx="776" formatCode="0.0%">
                  <c:v>0.23601135128289741</c:v>
                </c:pt>
                <c:pt idx="777" formatCode="0.0%">
                  <c:v>0.23134172535177128</c:v>
                </c:pt>
                <c:pt idx="778" formatCode="0.0%">
                  <c:v>0.22846812271678174</c:v>
                </c:pt>
                <c:pt idx="779" formatCode="0.0%">
                  <c:v>0.22846812271678174</c:v>
                </c:pt>
                <c:pt idx="780" formatCode="0.0%">
                  <c:v>0.22846812271678174</c:v>
                </c:pt>
                <c:pt idx="781" formatCode="0.0%">
                  <c:v>0.23026411137408928</c:v>
                </c:pt>
                <c:pt idx="782" formatCode="0.0%">
                  <c:v>0.22070937135512905</c:v>
                </c:pt>
                <c:pt idx="783" formatCode="0.0%">
                  <c:v>0.20993333549479629</c:v>
                </c:pt>
                <c:pt idx="784" formatCode="0.0%">
                  <c:v>0.22336745119458243</c:v>
                </c:pt>
                <c:pt idx="785" formatCode="0.0%">
                  <c:v>0.20583843701843363</c:v>
                </c:pt>
                <c:pt idx="786" formatCode="0.0%">
                  <c:v>0.20583843701843363</c:v>
                </c:pt>
                <c:pt idx="787" formatCode="0.0%">
                  <c:v>0.20583843701843363</c:v>
                </c:pt>
                <c:pt idx="788" formatCode="0.0%">
                  <c:v>0.21826681431121259</c:v>
                </c:pt>
                <c:pt idx="789" formatCode="0.0%">
                  <c:v>0.20789788861094707</c:v>
                </c:pt>
                <c:pt idx="790" formatCode="0.0%">
                  <c:v>0.20705973285980675</c:v>
                </c:pt>
                <c:pt idx="791" formatCode="0.0%">
                  <c:v>0.20418613022481708</c:v>
                </c:pt>
                <c:pt idx="792" formatCode="0.0%">
                  <c:v>0.22142778067358407</c:v>
                </c:pt>
                <c:pt idx="793" formatCode="0.0%">
                  <c:v>0.22142778067358407</c:v>
                </c:pt>
                <c:pt idx="794" formatCode="0.0%">
                  <c:v>0.22142778067358407</c:v>
                </c:pt>
                <c:pt idx="795" formatCode="0.0%">
                  <c:v>0.23069515696516205</c:v>
                </c:pt>
                <c:pt idx="796" formatCode="0.0%">
                  <c:v>0.22588188380917387</c:v>
                </c:pt>
                <c:pt idx="797" formatCode="0.0%">
                  <c:v>0.21898522362966716</c:v>
                </c:pt>
                <c:pt idx="798" formatCode="0.0%">
                  <c:v>0.22595372474101921</c:v>
                </c:pt>
                <c:pt idx="799" formatCode="0.0%">
                  <c:v>0.18730364979644848</c:v>
                </c:pt>
                <c:pt idx="800" formatCode="0.0%">
                  <c:v>0.18730364979644848</c:v>
                </c:pt>
                <c:pt idx="801" formatCode="0.0%">
                  <c:v>0.18730364979644848</c:v>
                </c:pt>
                <c:pt idx="802" formatCode="0.0%">
                  <c:v>0.16891254443815412</c:v>
                </c:pt>
                <c:pt idx="803" formatCode="0.0%">
                  <c:v>0.18292142223153321</c:v>
                </c:pt>
                <c:pt idx="804" formatCode="0.0%">
                  <c:v>0.16869702164261752</c:v>
                </c:pt>
                <c:pt idx="805" formatCode="0.0%">
                  <c:v>0.16955911282476335</c:v>
                </c:pt>
                <c:pt idx="806" formatCode="0.0%">
                  <c:v>0.17236087452790755</c:v>
                </c:pt>
                <c:pt idx="807" formatCode="0.0%">
                  <c:v>0.17236087452790755</c:v>
                </c:pt>
                <c:pt idx="808" formatCode="0.0%">
                  <c:v>0.17236087452790755</c:v>
                </c:pt>
                <c:pt idx="809" formatCode="0.0%">
                  <c:v>0.17796443257302499</c:v>
                </c:pt>
                <c:pt idx="810" formatCode="0.0%">
                  <c:v>0.18407084250223149</c:v>
                </c:pt>
                <c:pt idx="811" formatCode="0.0%">
                  <c:v>0.19455951463518262</c:v>
                </c:pt>
                <c:pt idx="812" formatCode="0.0%">
                  <c:v>0.18715996793275735</c:v>
                </c:pt>
                <c:pt idx="813" formatCode="0.0%">
                  <c:v>0.17494714807434433</c:v>
                </c:pt>
                <c:pt idx="814" formatCode="0.0%">
                  <c:v>0.17494714807434433</c:v>
                </c:pt>
                <c:pt idx="815" formatCode="0.0%">
                  <c:v>0.17494714807434433</c:v>
                </c:pt>
                <c:pt idx="816" formatCode="0.0%">
                  <c:v>0.19384110531672774</c:v>
                </c:pt>
                <c:pt idx="817" formatCode="0.0%">
                  <c:v>0.18471741088884072</c:v>
                </c:pt>
                <c:pt idx="818" formatCode="0.0%">
                  <c:v>0.19592449234024656</c:v>
                </c:pt>
                <c:pt idx="819" formatCode="0.0%">
                  <c:v>0.20504818676813358</c:v>
                </c:pt>
                <c:pt idx="820" formatCode="0.0%">
                  <c:v>0.21796801977018121</c:v>
                </c:pt>
                <c:pt idx="821" formatCode="0.0%">
                  <c:v>0.21796801977018121</c:v>
                </c:pt>
                <c:pt idx="822" formatCode="0.0%">
                  <c:v>0.21796801977018121</c:v>
                </c:pt>
                <c:pt idx="823" formatCode="0.0%">
                  <c:v>0.21453112049407722</c:v>
                </c:pt>
                <c:pt idx="824" formatCode="0.0%">
                  <c:v>0.21560869983293002</c:v>
                </c:pt>
                <c:pt idx="825" formatCode="0.0%">
                  <c:v>0.19901361777077242</c:v>
                </c:pt>
                <c:pt idx="826" formatCode="0.0%">
                  <c:v>0.19901361777077242</c:v>
                </c:pt>
                <c:pt idx="827" formatCode="0.0%">
                  <c:v>0.19901361777077242</c:v>
                </c:pt>
                <c:pt idx="828" formatCode="0.0%">
                  <c:v>0.19901361777077242</c:v>
                </c:pt>
                <c:pt idx="829" formatCode="0.0%">
                  <c:v>0.19901361777077242</c:v>
                </c:pt>
                <c:pt idx="830" formatCode="0.0%">
                  <c:v>0.19901361777077242</c:v>
                </c:pt>
                <c:pt idx="831" formatCode="0.0%">
                  <c:v>0.20612580074581557</c:v>
                </c:pt>
                <c:pt idx="832" formatCode="0.0%">
                  <c:v>0.2104362220177147</c:v>
                </c:pt>
                <c:pt idx="833" formatCode="0.0%">
                  <c:v>0.19987570895291795</c:v>
                </c:pt>
                <c:pt idx="834" formatCode="0.0%">
                  <c:v>0.21848233710674905</c:v>
                </c:pt>
                <c:pt idx="835" formatCode="0.0%">
                  <c:v>0.21848233710674905</c:v>
                </c:pt>
                <c:pt idx="836" formatCode="0.0%">
                  <c:v>0.21848233710674905</c:v>
                </c:pt>
                <c:pt idx="837" formatCode="0.0%">
                  <c:v>0.22013464390036547</c:v>
                </c:pt>
                <c:pt idx="838" formatCode="0.0%">
                  <c:v>0.22379849678565519</c:v>
                </c:pt>
                <c:pt idx="839" formatCode="0.0%">
                  <c:v>0.21352534744824056</c:v>
                </c:pt>
                <c:pt idx="840" formatCode="0.0%">
                  <c:v>0.20727525565534322</c:v>
                </c:pt>
                <c:pt idx="841" formatCode="0.0%">
                  <c:v>0.21445927956223174</c:v>
                </c:pt>
                <c:pt idx="842" formatCode="0.0%">
                  <c:v>0.21445927956223174</c:v>
                </c:pt>
                <c:pt idx="843" formatCode="0.0%">
                  <c:v>0.21445927956223174</c:v>
                </c:pt>
                <c:pt idx="844" formatCode="0.0%">
                  <c:v>0.21568054076477566</c:v>
                </c:pt>
                <c:pt idx="845" formatCode="0.0%">
                  <c:v>0.21144199506355107</c:v>
                </c:pt>
                <c:pt idx="846" formatCode="0.0%">
                  <c:v>0.20023491361214554</c:v>
                </c:pt>
                <c:pt idx="847" formatCode="0.0%">
                  <c:v>0.20820915313050506</c:v>
                </c:pt>
                <c:pt idx="848" formatCode="0.0%">
                  <c:v>0.21639895008323023</c:v>
                </c:pt>
                <c:pt idx="849" formatCode="0.0%">
                  <c:v>0.21639895008323023</c:v>
                </c:pt>
                <c:pt idx="850" formatCode="0.0%">
                  <c:v>0.22235430007811743</c:v>
                </c:pt>
                <c:pt idx="851" formatCode="0.0%">
                  <c:v>0.22235430007811743</c:v>
                </c:pt>
                <c:pt idx="852" formatCode="0.0%">
                  <c:v>0.2281807589893998</c:v>
                </c:pt>
                <c:pt idx="853" formatCode="0.0%">
                  <c:v>0.21568054076477566</c:v>
                </c:pt>
                <c:pt idx="854" formatCode="0.0%">
                  <c:v>0.20440165302035368</c:v>
                </c:pt>
                <c:pt idx="855" formatCode="0.0%">
                  <c:v>0.20440165302035368</c:v>
                </c:pt>
                <c:pt idx="856" formatCode="0.0%">
                  <c:v>0.20440165302035368</c:v>
                </c:pt>
                <c:pt idx="857" formatCode="0.0%">
                  <c:v>0.20440165302035368</c:v>
                </c:pt>
                <c:pt idx="858" formatCode="0.0%">
                  <c:v>0.22185882626465683</c:v>
                </c:pt>
                <c:pt idx="859" formatCode="0.0%">
                  <c:v>0.22078121228697456</c:v>
                </c:pt>
                <c:pt idx="860" formatCode="0.0%">
                  <c:v>0.22315192839904596</c:v>
                </c:pt>
                <c:pt idx="861" formatCode="0.0%">
                  <c:v>0.21898522362966716</c:v>
                </c:pt>
                <c:pt idx="862" formatCode="0.0%">
                  <c:v>0.22983306578301638</c:v>
                </c:pt>
                <c:pt idx="863" formatCode="0.0%">
                  <c:v>0.22983306578301638</c:v>
                </c:pt>
                <c:pt idx="864" formatCode="0.0%">
                  <c:v>0.22983306578301638</c:v>
                </c:pt>
                <c:pt idx="865" formatCode="0.0%">
                  <c:v>0.23184461187468955</c:v>
                </c:pt>
                <c:pt idx="866" formatCode="0.0%">
                  <c:v>0.23019227044224366</c:v>
                </c:pt>
                <c:pt idx="867" formatCode="0.0%">
                  <c:v>0.23170093001099873</c:v>
                </c:pt>
                <c:pt idx="868" formatCode="0.0%">
                  <c:v>0.23170093001099873</c:v>
                </c:pt>
                <c:pt idx="869" formatCode="0.0%">
                  <c:v>0.23170093001099873</c:v>
                </c:pt>
                <c:pt idx="870" formatCode="0.0%">
                  <c:v>0.23170093001099873</c:v>
                </c:pt>
                <c:pt idx="871" formatCode="0.0%">
                  <c:v>0.23170093001099873</c:v>
                </c:pt>
                <c:pt idx="872" formatCode="0.0%">
                  <c:v>0.25526451318450838</c:v>
                </c:pt>
                <c:pt idx="873" formatCode="0.0%">
                  <c:v>0.25088228561959314</c:v>
                </c:pt>
                <c:pt idx="874" formatCode="0.0%">
                  <c:v>0.22710314501171752</c:v>
                </c:pt>
                <c:pt idx="875" formatCode="0.0%">
                  <c:v>0.2398188860318784</c:v>
                </c:pt>
                <c:pt idx="876" formatCode="0.0%">
                  <c:v>0.24800864834577424</c:v>
                </c:pt>
                <c:pt idx="877" formatCode="0.0%">
                  <c:v>0.24800864834577424</c:v>
                </c:pt>
                <c:pt idx="878" formatCode="0.0%">
                  <c:v>0.24800864834577424</c:v>
                </c:pt>
                <c:pt idx="879" formatCode="0.0%">
                  <c:v>0.24800864834577424</c:v>
                </c:pt>
                <c:pt idx="880" formatCode="0.0%">
                  <c:v>0.25023571723298388</c:v>
                </c:pt>
                <c:pt idx="881" formatCode="0.0%">
                  <c:v>0.24205575770776291</c:v>
                </c:pt>
                <c:pt idx="882" formatCode="0.0%">
                  <c:v>0.24046545441848763</c:v>
                </c:pt>
                <c:pt idx="883" formatCode="0.0%">
                  <c:v>0.25971861632009818</c:v>
                </c:pt>
                <c:pt idx="884" formatCode="0.0%">
                  <c:v>0.25971861632009818</c:v>
                </c:pt>
                <c:pt idx="885" formatCode="0.0%">
                  <c:v>0.25971861632009818</c:v>
                </c:pt>
                <c:pt idx="886" formatCode="0.0%">
                  <c:v>0.25971861632009818</c:v>
                </c:pt>
                <c:pt idx="887" formatCode="0.0%">
                  <c:v>0.2740866641338755</c:v>
                </c:pt>
                <c:pt idx="888" formatCode="0.0%">
                  <c:v>0.27229067547656799</c:v>
                </c:pt>
                <c:pt idx="889" formatCode="0.0%">
                  <c:v>0.26122727588885325</c:v>
                </c:pt>
                <c:pt idx="890" formatCode="0.0%">
                  <c:v>0.26884234538681456</c:v>
                </c:pt>
                <c:pt idx="891" formatCode="0.0%">
                  <c:v>0.26884234538681456</c:v>
                </c:pt>
                <c:pt idx="892" formatCode="0.0%">
                  <c:v>0.26884234538681456</c:v>
                </c:pt>
                <c:pt idx="893" formatCode="0.0%">
                  <c:v>0.26769289047728706</c:v>
                </c:pt>
                <c:pt idx="894" formatCode="0.0%">
                  <c:v>0.27624189208923977</c:v>
                </c:pt>
                <c:pt idx="895" formatCode="0.0%">
                  <c:v>0.27092569777150399</c:v>
                </c:pt>
                <c:pt idx="896" formatCode="0.0%">
                  <c:v>0.26453192411491555</c:v>
                </c:pt>
                <c:pt idx="897" formatCode="0.0%">
                  <c:v>0.27128490243073133</c:v>
                </c:pt>
                <c:pt idx="898" formatCode="0.0%">
                  <c:v>0.27128490243073133</c:v>
                </c:pt>
                <c:pt idx="899" formatCode="0.0%">
                  <c:v>0.27128490243073133</c:v>
                </c:pt>
                <c:pt idx="900" formatCode="0.0%">
                  <c:v>0.26187384427546251</c:v>
                </c:pt>
                <c:pt idx="901" formatCode="0.0%">
                  <c:v>0.25497718409595577</c:v>
                </c:pt>
                <c:pt idx="902" formatCode="0.0%">
                  <c:v>0.24973283071006563</c:v>
                </c:pt>
                <c:pt idx="903" formatCode="0.0%">
                  <c:v>0.24283617053055878</c:v>
                </c:pt>
                <c:pt idx="904" formatCode="0.0%">
                  <c:v>0.24398562544008626</c:v>
                </c:pt>
                <c:pt idx="905" formatCode="0.0%">
                  <c:v>0.24398562544008626</c:v>
                </c:pt>
                <c:pt idx="906" formatCode="0.0%">
                  <c:v>0.24398562544008626</c:v>
                </c:pt>
                <c:pt idx="907" formatCode="0.0%">
                  <c:v>0.24369826171270462</c:v>
                </c:pt>
                <c:pt idx="908" formatCode="0.0%">
                  <c:v>0.23565214662367026</c:v>
                </c:pt>
                <c:pt idx="909" formatCode="0.0%">
                  <c:v>0.24621265968846687</c:v>
                </c:pt>
                <c:pt idx="910" formatCode="0.0%">
                  <c:v>0.25569555877558114</c:v>
                </c:pt>
                <c:pt idx="911" formatCode="0.0%">
                  <c:v>0.26913736429545865</c:v>
                </c:pt>
                <c:pt idx="912" formatCode="0.0%">
                  <c:v>0.26913736429545865</c:v>
                </c:pt>
                <c:pt idx="913" formatCode="0.0%">
                  <c:v>0.26913736429545865</c:v>
                </c:pt>
                <c:pt idx="914" formatCode="0.0%">
                  <c:v>0.26927339097788744</c:v>
                </c:pt>
                <c:pt idx="915" formatCode="0.0%">
                  <c:v>0.26999176565751298</c:v>
                </c:pt>
                <c:pt idx="916" formatCode="0.0%">
                  <c:v>0.26517849250152481</c:v>
                </c:pt>
                <c:pt idx="917" formatCode="0.0%">
                  <c:v>0.24836785300500167</c:v>
                </c:pt>
                <c:pt idx="918" formatCode="0.0%">
                  <c:v>0.24887073952791994</c:v>
                </c:pt>
                <c:pt idx="919" formatCode="0.0%">
                  <c:v>0.24887073952791994</c:v>
                </c:pt>
                <c:pt idx="920" formatCode="0.0%">
                  <c:v>0.24887073952791994</c:v>
                </c:pt>
                <c:pt idx="921" formatCode="0.0%">
                  <c:v>0.24585345502923958</c:v>
                </c:pt>
                <c:pt idx="922" formatCode="0.0%">
                  <c:v>0.24937362605083835</c:v>
                </c:pt>
                <c:pt idx="923" formatCode="0.0%">
                  <c:v>0.25591108157111764</c:v>
                </c:pt>
                <c:pt idx="924" formatCode="0.0%">
                  <c:v>0.25792262766279078</c:v>
                </c:pt>
                <c:pt idx="925" formatCode="0.0%">
                  <c:v>0.26173016241177166</c:v>
                </c:pt>
                <c:pt idx="926" formatCode="0.0%">
                  <c:v>0.26173016241177166</c:v>
                </c:pt>
                <c:pt idx="927" formatCode="0.0%">
                  <c:v>0.26173016241177166</c:v>
                </c:pt>
                <c:pt idx="928" formatCode="0.0%">
                  <c:v>0.25785078673094547</c:v>
                </c:pt>
                <c:pt idx="929" formatCode="0.0%">
                  <c:v>0.2633824692053881</c:v>
                </c:pt>
                <c:pt idx="930" formatCode="0.0%">
                  <c:v>0.27250619827210443</c:v>
                </c:pt>
                <c:pt idx="931" formatCode="0.0%">
                  <c:v>0.26683079929514153</c:v>
                </c:pt>
                <c:pt idx="932" formatCode="0.0%">
                  <c:v>0.27351193667911189</c:v>
                </c:pt>
                <c:pt idx="933" formatCode="0.0%">
                  <c:v>0.27351193667911189</c:v>
                </c:pt>
                <c:pt idx="934" formatCode="0.0%">
                  <c:v>0.27351193667911189</c:v>
                </c:pt>
                <c:pt idx="935" formatCode="0.0%">
                  <c:v>0.27631373302108514</c:v>
                </c:pt>
                <c:pt idx="936" formatCode="0.0%">
                  <c:v>0.28895759847057095</c:v>
                </c:pt>
                <c:pt idx="937" formatCode="0.0%">
                  <c:v>0.27904365379238399</c:v>
                </c:pt>
                <c:pt idx="938" formatCode="0.0%">
                  <c:v>0.29721923635514175</c:v>
                </c:pt>
                <c:pt idx="939" formatCode="0.0%">
                  <c:v>0.28780814356104345</c:v>
                </c:pt>
                <c:pt idx="940" formatCode="0.0%">
                  <c:v>0.28780814356104345</c:v>
                </c:pt>
                <c:pt idx="941" formatCode="0.0%">
                  <c:v>0.28780814356104345</c:v>
                </c:pt>
                <c:pt idx="942" formatCode="0.0%">
                  <c:v>0.28767388345890621</c:v>
                </c:pt>
                <c:pt idx="943" formatCode="0.0%">
                  <c:v>0.2870179279495727</c:v>
                </c:pt>
                <c:pt idx="944" formatCode="0.0%">
                  <c:v>0.27868444913315654</c:v>
                </c:pt>
                <c:pt idx="945" formatCode="0.0%">
                  <c:v>0.26252037802324241</c:v>
                </c:pt>
                <c:pt idx="946" formatCode="0.0%">
                  <c:v>0.25605476343480843</c:v>
                </c:pt>
                <c:pt idx="947" formatCode="0.0%">
                  <c:v>0.25605476343480843</c:v>
                </c:pt>
                <c:pt idx="948" formatCode="0.0%">
                  <c:v>0.25605476343480843</c:v>
                </c:pt>
                <c:pt idx="949" formatCode="0.0%">
                  <c:v>0.25943125259271654</c:v>
                </c:pt>
                <c:pt idx="950" formatCode="0.0%">
                  <c:v>0.26180200334361703</c:v>
                </c:pt>
                <c:pt idx="951" formatCode="0.0%">
                  <c:v>0.26187384427546251</c:v>
                </c:pt>
                <c:pt idx="952" formatCode="0.0%">
                  <c:v>0.26639975370406871</c:v>
                </c:pt>
                <c:pt idx="953" formatCode="0.0%">
                  <c:v>0.25346852452720087</c:v>
                </c:pt>
                <c:pt idx="954" formatCode="0.0%">
                  <c:v>0.25346852452720087</c:v>
                </c:pt>
                <c:pt idx="955" formatCode="0.0%">
                  <c:v>0.25346852452720087</c:v>
                </c:pt>
                <c:pt idx="956" formatCode="0.0%">
                  <c:v>0.25950309352456186</c:v>
                </c:pt>
                <c:pt idx="957" formatCode="0.0%">
                  <c:v>0.24944546698268383</c:v>
                </c:pt>
                <c:pt idx="958" formatCode="0.0%">
                  <c:v>0.24937362605083835</c:v>
                </c:pt>
                <c:pt idx="959" formatCode="0.0%">
                  <c:v>0.24240512493948616</c:v>
                </c:pt>
                <c:pt idx="960" formatCode="0.0%">
                  <c:v>0.22889916830785453</c:v>
                </c:pt>
                <c:pt idx="961" formatCode="0.0%">
                  <c:v>0.22889916830785453</c:v>
                </c:pt>
                <c:pt idx="962" formatCode="0.0%">
                  <c:v>0.22889916830785453</c:v>
                </c:pt>
                <c:pt idx="963" formatCode="0.0%">
                  <c:v>0.23220381653391683</c:v>
                </c:pt>
                <c:pt idx="964" formatCode="0.0%">
                  <c:v>0.24175855655287676</c:v>
                </c:pt>
                <c:pt idx="965" formatCode="0.0%">
                  <c:v>0.2518880240266006</c:v>
                </c:pt>
                <c:pt idx="966" formatCode="0.0%">
                  <c:v>0.26158648054808054</c:v>
                </c:pt>
                <c:pt idx="967" formatCode="0.0%">
                  <c:v>0.25116964934697505</c:v>
                </c:pt>
                <c:pt idx="968" formatCode="0.0%">
                  <c:v>0.25116964934697505</c:v>
                </c:pt>
                <c:pt idx="969" formatCode="0.0%">
                  <c:v>0.25116964934697505</c:v>
                </c:pt>
                <c:pt idx="970" formatCode="0.0%">
                  <c:v>0.26532217436521593</c:v>
                </c:pt>
                <c:pt idx="971" formatCode="0.0%">
                  <c:v>0.26805209513651435</c:v>
                </c:pt>
                <c:pt idx="972" formatCode="0.0%">
                  <c:v>0.26941703820274926</c:v>
                </c:pt>
                <c:pt idx="973" formatCode="0.0%">
                  <c:v>0.26402488093248849</c:v>
                </c:pt>
                <c:pt idx="974" formatCode="0.0%">
                  <c:v>0.27164410708995873</c:v>
                </c:pt>
                <c:pt idx="975" formatCode="0.0%">
                  <c:v>0.27164410708995873</c:v>
                </c:pt>
                <c:pt idx="976" formatCode="0.0%">
                  <c:v>0.27164410708995873</c:v>
                </c:pt>
                <c:pt idx="977" formatCode="0.0%">
                  <c:v>0.27645741488477599</c:v>
                </c:pt>
                <c:pt idx="978" formatCode="0.0%">
                  <c:v>0.27193147081734054</c:v>
                </c:pt>
                <c:pt idx="979" formatCode="0.0%">
                  <c:v>0.27300905015619348</c:v>
                </c:pt>
                <c:pt idx="980" formatCode="0.0%">
                  <c:v>0.26517849250152481</c:v>
                </c:pt>
                <c:pt idx="981" formatCode="0.0%">
                  <c:v>0.26395719666015194</c:v>
                </c:pt>
                <c:pt idx="982" formatCode="0.0%">
                  <c:v>0.26395719666015194</c:v>
                </c:pt>
                <c:pt idx="983" formatCode="0.0%">
                  <c:v>0.26395719666015194</c:v>
                </c:pt>
                <c:pt idx="984" formatCode="0.0%">
                  <c:v>0.26546585622890673</c:v>
                </c:pt>
                <c:pt idx="985" formatCode="0.0%">
                  <c:v>0.26762104954544158</c:v>
                </c:pt>
                <c:pt idx="986" formatCode="0.0%">
                  <c:v>0.26101175309331692</c:v>
                </c:pt>
                <c:pt idx="987" formatCode="0.0%">
                  <c:v>0.27164410708995873</c:v>
                </c:pt>
                <c:pt idx="988" formatCode="0.0%">
                  <c:v>0.27595452836185785</c:v>
                </c:pt>
                <c:pt idx="989" formatCode="0.0%">
                  <c:v>0.27595452836185785</c:v>
                </c:pt>
                <c:pt idx="990" formatCode="0.0%">
                  <c:v>0.27595452836185785</c:v>
                </c:pt>
                <c:pt idx="991" formatCode="0.0%">
                  <c:v>0.26503481063783396</c:v>
                </c:pt>
                <c:pt idx="992" formatCode="0.0%">
                  <c:v>0.25864100234241633</c:v>
                </c:pt>
                <c:pt idx="993" formatCode="0.0%">
                  <c:v>0.26582502624930471</c:v>
                </c:pt>
                <c:pt idx="994" formatCode="0.0%">
                  <c:v>0.24858337580053827</c:v>
                </c:pt>
                <c:pt idx="995" formatCode="0.0%">
                  <c:v>0.24046545441848763</c:v>
                </c:pt>
                <c:pt idx="996" formatCode="0.0%">
                  <c:v>0.24046545441848763</c:v>
                </c:pt>
                <c:pt idx="997" formatCode="0.0%">
                  <c:v>0.24046545441848763</c:v>
                </c:pt>
                <c:pt idx="998" formatCode="0.0%">
                  <c:v>0.24362642078085897</c:v>
                </c:pt>
                <c:pt idx="999" formatCode="0.0%">
                  <c:v>0.2365142378058161</c:v>
                </c:pt>
                <c:pt idx="1000" formatCode="0.0%">
                  <c:v>0.24226144307579503</c:v>
                </c:pt>
                <c:pt idx="1001" formatCode="0.0%">
                  <c:v>0.24348273891716815</c:v>
                </c:pt>
                <c:pt idx="1002" formatCode="0.0%">
                  <c:v>0.25296563800428262</c:v>
                </c:pt>
                <c:pt idx="1003" formatCode="0.0%">
                  <c:v>0.24138757469170755</c:v>
                </c:pt>
                <c:pt idx="1004" formatCode="0.0%">
                  <c:v>0.24138757469170755</c:v>
                </c:pt>
                <c:pt idx="1005" formatCode="0.0%">
                  <c:v>0.24398562544008626</c:v>
                </c:pt>
                <c:pt idx="1006" formatCode="0.0%">
                  <c:v>0.23974704510003292</c:v>
                </c:pt>
                <c:pt idx="1007" formatCode="0.0%">
                  <c:v>0.23256302119314426</c:v>
                </c:pt>
                <c:pt idx="1008" formatCode="0.0%">
                  <c:v>0.24032177255479653</c:v>
                </c:pt>
                <c:pt idx="1009" formatCode="0.0%">
                  <c:v>0.23759181714466876</c:v>
                </c:pt>
                <c:pt idx="1010" formatCode="0.0%">
                  <c:v>0.23759181714466876</c:v>
                </c:pt>
                <c:pt idx="1011" formatCode="0.0%">
                  <c:v>0.23759181714466876</c:v>
                </c:pt>
                <c:pt idx="1012" formatCode="0.0%">
                  <c:v>0.24427295452863901</c:v>
                </c:pt>
                <c:pt idx="1013" formatCode="0.0%">
                  <c:v>0.25856919604940004</c:v>
                </c:pt>
                <c:pt idx="1014" formatCode="0.0%">
                  <c:v>0.26173016241177166</c:v>
                </c:pt>
                <c:pt idx="1015" formatCode="0.0%">
                  <c:v>0.26711816302252345</c:v>
                </c:pt>
                <c:pt idx="1016" formatCode="0.0%">
                  <c:v>0.26711816302252345</c:v>
                </c:pt>
                <c:pt idx="1017" formatCode="0.0%">
                  <c:v>0.26711816302252345</c:v>
                </c:pt>
                <c:pt idx="1018" formatCode="0.0%">
                  <c:v>0.26711816302252345</c:v>
                </c:pt>
                <c:pt idx="1019" formatCode="0.0%">
                  <c:v>0.26058070750224416</c:v>
                </c:pt>
                <c:pt idx="1020" formatCode="0.0%">
                  <c:v>0.25670133182141769</c:v>
                </c:pt>
                <c:pt idx="1021" formatCode="0.0%">
                  <c:v>0.2501638763011384</c:v>
                </c:pt>
                <c:pt idx="1022" formatCode="0.0%">
                  <c:v>0.23953152230449645</c:v>
                </c:pt>
                <c:pt idx="1023" formatCode="0.0%">
                  <c:v>0.22351113305827325</c:v>
                </c:pt>
                <c:pt idx="1024" formatCode="0.0%">
                  <c:v>0.22351113305827325</c:v>
                </c:pt>
                <c:pt idx="1025" formatCode="0.0%">
                  <c:v>0.22351113305827325</c:v>
                </c:pt>
                <c:pt idx="1026" formatCode="0.0%">
                  <c:v>0.21151383599539655</c:v>
                </c:pt>
                <c:pt idx="1027" formatCode="0.0%">
                  <c:v>0.21690183660614865</c:v>
                </c:pt>
                <c:pt idx="1028" formatCode="0.0%">
                  <c:v>0.20583843701843363</c:v>
                </c:pt>
                <c:pt idx="1029" formatCode="0.0%">
                  <c:v>0.21194484694764015</c:v>
                </c:pt>
                <c:pt idx="1030" formatCode="0.0%">
                  <c:v>0.20080964106690943</c:v>
                </c:pt>
                <c:pt idx="1031" formatCode="0.0%">
                  <c:v>0.20080964106690943</c:v>
                </c:pt>
                <c:pt idx="1032" formatCode="0.0%">
                  <c:v>0.20080964106690943</c:v>
                </c:pt>
                <c:pt idx="1033" formatCode="0.0%">
                  <c:v>0.19506240115810086</c:v>
                </c:pt>
                <c:pt idx="1034" formatCode="0.0%">
                  <c:v>0.21097437086880005</c:v>
                </c:pt>
                <c:pt idx="1035" formatCode="0.0%">
                  <c:v>0.22056568949143823</c:v>
                </c:pt>
                <c:pt idx="1036" formatCode="0.0%">
                  <c:v>0.23522110103259736</c:v>
                </c:pt>
                <c:pt idx="1037" formatCode="0.0%">
                  <c:v>0.24233328400764065</c:v>
                </c:pt>
                <c:pt idx="1038" formatCode="0.0%">
                  <c:v>0.24233328400764065</c:v>
                </c:pt>
                <c:pt idx="1039" formatCode="0.0%">
                  <c:v>0.24233328400764065</c:v>
                </c:pt>
                <c:pt idx="1040" formatCode="0.0%">
                  <c:v>0.23845390832681418</c:v>
                </c:pt>
                <c:pt idx="1041" formatCode="0.0%">
                  <c:v>0.24434479546048452</c:v>
                </c:pt>
                <c:pt idx="1042" formatCode="0.0%">
                  <c:v>0.25052308096036585</c:v>
                </c:pt>
                <c:pt idx="1043" formatCode="0.0%">
                  <c:v>0.25217538775398224</c:v>
                </c:pt>
                <c:pt idx="1044" formatCode="0.0%">
                  <c:v>0.25030755816482925</c:v>
                </c:pt>
                <c:pt idx="1045" formatCode="0.0%">
                  <c:v>0.25030755816482925</c:v>
                </c:pt>
                <c:pt idx="1046" formatCode="0.0%">
                  <c:v>0.25030755816482925</c:v>
                </c:pt>
                <c:pt idx="1047" formatCode="0.0%">
                  <c:v>0.25677317275326317</c:v>
                </c:pt>
                <c:pt idx="1048" formatCode="0.0%">
                  <c:v>0.26891418631865988</c:v>
                </c:pt>
                <c:pt idx="1049" formatCode="0.0%">
                  <c:v>0.27703210770071052</c:v>
                </c:pt>
                <c:pt idx="1050" formatCode="0.0%">
                  <c:v>0.27825340354208367</c:v>
                </c:pt>
                <c:pt idx="1051" formatCode="0.0%">
                  <c:v>0.27767867608731978</c:v>
                </c:pt>
                <c:pt idx="1052" formatCode="0.0%">
                  <c:v>0.27767867608731978</c:v>
                </c:pt>
                <c:pt idx="1053" formatCode="0.0%">
                  <c:v>0.27767867608731978</c:v>
                </c:pt>
                <c:pt idx="1054" formatCode="0.0%">
                  <c:v>0.27480507345233024</c:v>
                </c:pt>
                <c:pt idx="1055" formatCode="0.0%">
                  <c:v>0.27810972167839254</c:v>
                </c:pt>
                <c:pt idx="1056" formatCode="0.0%">
                  <c:v>0.29384274719723408</c:v>
                </c:pt>
                <c:pt idx="1057" formatCode="0.0%">
                  <c:v>0.29290881508324274</c:v>
                </c:pt>
                <c:pt idx="1058" formatCode="0.0%">
                  <c:v>0.28888575753872542</c:v>
                </c:pt>
                <c:pt idx="1059" formatCode="0.0%">
                  <c:v>0.28888575753872542</c:v>
                </c:pt>
                <c:pt idx="1060" formatCode="0.0%">
                  <c:v>0.28888575753872542</c:v>
                </c:pt>
                <c:pt idx="1061" formatCode="0.0%">
                  <c:v>0.28723345074510886</c:v>
                </c:pt>
                <c:pt idx="1062" formatCode="0.0%">
                  <c:v>0.27667290304148323</c:v>
                </c:pt>
                <c:pt idx="1063" formatCode="0.0%">
                  <c:v>0.28780814356104345</c:v>
                </c:pt>
                <c:pt idx="1064" formatCode="0.0%">
                  <c:v>0.2951720815470088</c:v>
                </c:pt>
                <c:pt idx="1065" formatCode="0.0%">
                  <c:v>0.30224803230666597</c:v>
                </c:pt>
                <c:pt idx="1066" formatCode="0.0%">
                  <c:v>0.30224803230666597</c:v>
                </c:pt>
                <c:pt idx="1067" formatCode="0.0%">
                  <c:v>0.30224803230666597</c:v>
                </c:pt>
                <c:pt idx="1068" formatCode="0.0%">
                  <c:v>0.30548083960088318</c:v>
                </c:pt>
                <c:pt idx="1069" formatCode="0.0%">
                  <c:v>0.30461878305756668</c:v>
                </c:pt>
                <c:pt idx="1070" formatCode="0.0%">
                  <c:v>0.31625687546121611</c:v>
                </c:pt>
                <c:pt idx="1071" formatCode="0.0%">
                  <c:v>0.31201832975999194</c:v>
                </c:pt>
                <c:pt idx="1072" formatCode="0.0%">
                  <c:v>0.314820091463136</c:v>
                </c:pt>
                <c:pt idx="1073" formatCode="0.0%">
                  <c:v>0.314820091463136</c:v>
                </c:pt>
                <c:pt idx="1074" formatCode="0.0%">
                  <c:v>0.314820091463136</c:v>
                </c:pt>
                <c:pt idx="1075" formatCode="0.0%">
                  <c:v>0.32602717291454153</c:v>
                </c:pt>
                <c:pt idx="1076" formatCode="0.0%">
                  <c:v>0.32459035427763239</c:v>
                </c:pt>
                <c:pt idx="1077" formatCode="0.0%">
                  <c:v>0.329331821140604</c:v>
                </c:pt>
                <c:pt idx="1078" formatCode="0.0%">
                  <c:v>0.32696110502853287</c:v>
                </c:pt>
                <c:pt idx="1079" formatCode="0.0%">
                  <c:v>0.32846972995845847</c:v>
                </c:pt>
                <c:pt idx="1080" formatCode="0.0%">
                  <c:v>0.32846972995845847</c:v>
                </c:pt>
                <c:pt idx="1081" formatCode="0.0%">
                  <c:v>0.32846972995845847</c:v>
                </c:pt>
                <c:pt idx="1082" formatCode="0.0%">
                  <c:v>0.32832604809476751</c:v>
                </c:pt>
                <c:pt idx="1083" formatCode="0.0%">
                  <c:v>0.32983470766352241</c:v>
                </c:pt>
                <c:pt idx="1084" formatCode="0.0%">
                  <c:v>0.33098412793422083</c:v>
                </c:pt>
                <c:pt idx="1085" formatCode="0.0%">
                  <c:v>0.32566796825531441</c:v>
                </c:pt>
                <c:pt idx="1086" formatCode="0.0%">
                  <c:v>0.329331821140604</c:v>
                </c:pt>
                <c:pt idx="1087" formatCode="0.0%">
                  <c:v>0.329331821140604</c:v>
                </c:pt>
                <c:pt idx="1088" formatCode="0.0%">
                  <c:v>0.329331821140604</c:v>
                </c:pt>
                <c:pt idx="1089" formatCode="0.0%">
                  <c:v>0.329331821140604</c:v>
                </c:pt>
                <c:pt idx="1090" formatCode="0.0%">
                  <c:v>0.329331821140604</c:v>
                </c:pt>
                <c:pt idx="1091" formatCode="0.0%">
                  <c:v>0.32868525275399463</c:v>
                </c:pt>
                <c:pt idx="1092" formatCode="0.0%">
                  <c:v>0.33313935588958488</c:v>
                </c:pt>
                <c:pt idx="1093" formatCode="0.0%">
                  <c:v>0.33601295852457441</c:v>
                </c:pt>
                <c:pt idx="1094" formatCode="0.0%">
                  <c:v>0.33601295852457441</c:v>
                </c:pt>
                <c:pt idx="1095" formatCode="0.0%">
                  <c:v>0.33512235958596365</c:v>
                </c:pt>
                <c:pt idx="1096" formatCode="0.0%">
                  <c:v>0.33512235958596365</c:v>
                </c:pt>
                <c:pt idx="1097" formatCode="0.0%">
                  <c:v>0.33392960613988493</c:v>
                </c:pt>
                <c:pt idx="1098" formatCode="0.0%">
                  <c:v>0.32581165011900509</c:v>
                </c:pt>
                <c:pt idx="1099" formatCode="0.0%">
                  <c:v>0.32178859257448805</c:v>
                </c:pt>
                <c:pt idx="1100" formatCode="0.0%">
                  <c:v>0.3159695463726635</c:v>
                </c:pt>
                <c:pt idx="1101" formatCode="0.0%">
                  <c:v>0.3159695463726635</c:v>
                </c:pt>
                <c:pt idx="1102" formatCode="0.0%">
                  <c:v>0.3159695463726635</c:v>
                </c:pt>
                <c:pt idx="1103" formatCode="0.0%">
                  <c:v>0.320998342324188</c:v>
                </c:pt>
                <c:pt idx="1104" formatCode="0.0%">
                  <c:v>0.32437483148209567</c:v>
                </c:pt>
                <c:pt idx="1105" formatCode="0.0%">
                  <c:v>0.3275357978444674</c:v>
                </c:pt>
                <c:pt idx="1106" formatCode="0.0%">
                  <c:v>0.32674558223299643</c:v>
                </c:pt>
                <c:pt idx="1107" formatCode="0.0%">
                  <c:v>0.33177437818452093</c:v>
                </c:pt>
                <c:pt idx="1108" formatCode="0.0%">
                  <c:v>0.33177437818452093</c:v>
                </c:pt>
                <c:pt idx="1109" formatCode="0.0%">
                  <c:v>0.33177437818452093</c:v>
                </c:pt>
                <c:pt idx="1110" formatCode="0.0%">
                  <c:v>0.33206174191190285</c:v>
                </c:pt>
                <c:pt idx="1111" formatCode="0.0%">
                  <c:v>0.33292383309404838</c:v>
                </c:pt>
                <c:pt idx="1112" formatCode="0.0%">
                  <c:v>0.32358458123179562</c:v>
                </c:pt>
                <c:pt idx="1113" formatCode="0.0%">
                  <c:v>0.33105596886606603</c:v>
                </c:pt>
                <c:pt idx="1114" formatCode="0.0%">
                  <c:v>0.3385273565003365</c:v>
                </c:pt>
                <c:pt idx="1115" formatCode="0.0%">
                  <c:v>0.3385273565003365</c:v>
                </c:pt>
                <c:pt idx="1116" formatCode="0.0%">
                  <c:v>0.3385273565003365</c:v>
                </c:pt>
                <c:pt idx="1117" formatCode="0.0%">
                  <c:v>0.35289540431411381</c:v>
                </c:pt>
                <c:pt idx="1118" formatCode="0.0%">
                  <c:v>0.35584084788094883</c:v>
                </c:pt>
                <c:pt idx="1119" formatCode="0.0%">
                  <c:v>0.35993574635731163</c:v>
                </c:pt>
                <c:pt idx="1120" formatCode="0.0%">
                  <c:v>0.36216281524452115</c:v>
                </c:pt>
                <c:pt idx="1121" formatCode="0.0%">
                  <c:v>0.36640139558457463</c:v>
                </c:pt>
                <c:pt idx="1122" formatCode="0.0%">
                  <c:v>0.36640139558457463</c:v>
                </c:pt>
                <c:pt idx="1123" formatCode="0.0%">
                  <c:v>0.36640139558457463</c:v>
                </c:pt>
                <c:pt idx="1124" formatCode="0.0%">
                  <c:v>0.37523772628508001</c:v>
                </c:pt>
                <c:pt idx="1125" formatCode="0.0%">
                  <c:v>0.37847053357929694</c:v>
                </c:pt>
                <c:pt idx="1126" formatCode="0.0%">
                  <c:v>0.38187189341659944</c:v>
                </c:pt>
                <c:pt idx="1127" formatCode="0.0%">
                  <c:v>0.36720775289047169</c:v>
                </c:pt>
                <c:pt idx="1128" formatCode="0.0%">
                  <c:v>0.3708858076957503</c:v>
                </c:pt>
                <c:pt idx="1129" formatCode="0.0%">
                  <c:v>0.3708858076957503</c:v>
                </c:pt>
                <c:pt idx="1130" formatCode="0.0%">
                  <c:v>0.3708858076957503</c:v>
                </c:pt>
                <c:pt idx="1131" formatCode="0.0%">
                  <c:v>0.38420038479582641</c:v>
                </c:pt>
                <c:pt idx="1132" formatCode="0.0%">
                  <c:v>0.38008096202836128</c:v>
                </c:pt>
                <c:pt idx="1133" formatCode="0.0%">
                  <c:v>0.38758421738553323</c:v>
                </c:pt>
                <c:pt idx="1134" formatCode="0.0%">
                  <c:v>0.3908944771019327</c:v>
                </c:pt>
                <c:pt idx="1135" formatCode="0.0%">
                  <c:v>0.39508743810387614</c:v>
                </c:pt>
                <c:pt idx="1136" formatCode="0.0%">
                  <c:v>0.39508743810387614</c:v>
                </c:pt>
                <c:pt idx="1137" formatCode="0.0%">
                  <c:v>0.39508743810387614</c:v>
                </c:pt>
                <c:pt idx="1138" formatCode="0.0%">
                  <c:v>0.39744138902259496</c:v>
                </c:pt>
                <c:pt idx="1139" formatCode="0.0%">
                  <c:v>0.38250848582038743</c:v>
                </c:pt>
                <c:pt idx="1140" formatCode="0.0%">
                  <c:v>0.39118869931750422</c:v>
                </c:pt>
                <c:pt idx="1141" formatCode="0.0%">
                  <c:v>0.3979563298580891</c:v>
                </c:pt>
                <c:pt idx="1142" formatCode="0.0%">
                  <c:v>0.4002367425423296</c:v>
                </c:pt>
                <c:pt idx="1143" formatCode="0.0%">
                  <c:v>0.4002367425423296</c:v>
                </c:pt>
                <c:pt idx="1144" formatCode="0.0%">
                  <c:v>0.4002367425423296</c:v>
                </c:pt>
                <c:pt idx="1145" formatCode="0.0%">
                  <c:v>0.4011930167011809</c:v>
                </c:pt>
                <c:pt idx="1146" formatCode="0.0%">
                  <c:v>0.39354265023622303</c:v>
                </c:pt>
                <c:pt idx="1147" formatCode="0.0%">
                  <c:v>0.3868485925689461</c:v>
                </c:pt>
                <c:pt idx="1148" formatCode="0.0%">
                  <c:v>0.4108295389959784</c:v>
                </c:pt>
                <c:pt idx="1149" formatCode="0.0%">
                  <c:v>0.41612595454221746</c:v>
                </c:pt>
                <c:pt idx="1150" formatCode="0.0%">
                  <c:v>0.41612595454221746</c:v>
                </c:pt>
                <c:pt idx="1151" formatCode="0.0%">
                  <c:v>0.41612595454221746</c:v>
                </c:pt>
                <c:pt idx="1152" formatCode="0.0%">
                  <c:v>0.41060885501488487</c:v>
                </c:pt>
                <c:pt idx="1153" formatCode="0.0%">
                  <c:v>0.40751927927957893</c:v>
                </c:pt>
                <c:pt idx="1154" formatCode="0.0%">
                  <c:v>0.40104590559339498</c:v>
                </c:pt>
                <c:pt idx="1155" formatCode="0.0%">
                  <c:v>0.40698781572253695</c:v>
                </c:pt>
                <c:pt idx="1156" formatCode="0.0%">
                  <c:v>0.41024105992600596</c:v>
                </c:pt>
                <c:pt idx="1157" formatCode="0.0%">
                  <c:v>0.41024105992600596</c:v>
                </c:pt>
                <c:pt idx="1158" formatCode="0.0%">
                  <c:v>0.41024105992600596</c:v>
                </c:pt>
                <c:pt idx="1159" formatCode="0.0%">
                  <c:v>0.41737648555546969</c:v>
                </c:pt>
                <c:pt idx="1160" formatCode="0.0%">
                  <c:v>0.41244786509810949</c:v>
                </c:pt>
                <c:pt idx="1161" formatCode="0.0%">
                  <c:v>0.41141801806595085</c:v>
                </c:pt>
                <c:pt idx="1162" formatCode="0.0%">
                  <c:v>0.42473259516602668</c:v>
                </c:pt>
                <c:pt idx="1163" formatCode="0.0%">
                  <c:v>0.43311855180874287</c:v>
                </c:pt>
                <c:pt idx="1164" formatCode="0.0%">
                  <c:v>0.43311855180874287</c:v>
                </c:pt>
                <c:pt idx="1165" formatCode="0.0%">
                  <c:v>0.43311855180874287</c:v>
                </c:pt>
                <c:pt idx="1166" formatCode="0.0%">
                  <c:v>0.4130363788069113</c:v>
                </c:pt>
                <c:pt idx="1167" formatCode="0.0%">
                  <c:v>0.43076460089002383</c:v>
                </c:pt>
                <c:pt idx="1168" formatCode="0.0%">
                  <c:v>0.43069106265554552</c:v>
                </c:pt>
                <c:pt idx="1169" formatCode="0.0%">
                  <c:v>0.42745434117362435</c:v>
                </c:pt>
                <c:pt idx="1170" formatCode="0.0%">
                  <c:v>0.42458548405824104</c:v>
                </c:pt>
                <c:pt idx="1171" formatCode="0.0%">
                  <c:v>0.42458548405824104</c:v>
                </c:pt>
                <c:pt idx="1172" formatCode="0.0%">
                  <c:v>0.42458548405824104</c:v>
                </c:pt>
                <c:pt idx="1173" formatCode="0.0%">
                  <c:v>0.42693943497695985</c:v>
                </c:pt>
                <c:pt idx="1174" formatCode="0.0%">
                  <c:v>0.42561533109039973</c:v>
                </c:pt>
                <c:pt idx="1175" formatCode="0.0%">
                  <c:v>0.43113243061773232</c:v>
                </c:pt>
                <c:pt idx="1176" formatCode="0.0%">
                  <c:v>0.44540328187665978</c:v>
                </c:pt>
                <c:pt idx="1177" formatCode="0.0%">
                  <c:v>0.4450354867877806</c:v>
                </c:pt>
                <c:pt idx="1178" formatCode="0.0%">
                  <c:v>0.4450354867877806</c:v>
                </c:pt>
                <c:pt idx="1179" formatCode="0.0%">
                  <c:v>0.4450354867877806</c:v>
                </c:pt>
                <c:pt idx="1180" formatCode="0.0%">
                  <c:v>0.43481048542301098</c:v>
                </c:pt>
                <c:pt idx="1181" formatCode="0.0%">
                  <c:v>0.43657595727175702</c:v>
                </c:pt>
                <c:pt idx="1182" formatCode="0.0%">
                  <c:v>0.43495759653079658</c:v>
                </c:pt>
                <c:pt idx="1183" formatCode="0.0%">
                  <c:v>0.43495759653079658</c:v>
                </c:pt>
                <c:pt idx="1184" formatCode="0.0%">
                  <c:v>0.43495759653079658</c:v>
                </c:pt>
                <c:pt idx="1185" formatCode="0.0%">
                  <c:v>0.43495759653079658</c:v>
                </c:pt>
                <c:pt idx="1186" formatCode="0.0%">
                  <c:v>0.44276089342685282</c:v>
                </c:pt>
                <c:pt idx="1187" formatCode="0.0%">
                  <c:v>0.44276089342685282</c:v>
                </c:pt>
                <c:pt idx="1188" formatCode="0.0%">
                  <c:v>0.42774859802802523</c:v>
                </c:pt>
                <c:pt idx="1189" formatCode="0.0%">
                  <c:v>0.42826353886351937</c:v>
                </c:pt>
                <c:pt idx="1190" formatCode="0.0%">
                  <c:v>0.43061748978223846</c:v>
                </c:pt>
                <c:pt idx="1191" formatCode="0.0%">
                  <c:v>0.42318780729837358</c:v>
                </c:pt>
                <c:pt idx="1192" formatCode="0.0%">
                  <c:v>0.42318780729837358</c:v>
                </c:pt>
                <c:pt idx="1193" formatCode="0.0%">
                  <c:v>0.42318780729837358</c:v>
                </c:pt>
                <c:pt idx="1194" formatCode="0.0%">
                  <c:v>0.43047037867445254</c:v>
                </c:pt>
                <c:pt idx="1195" formatCode="0.0%">
                  <c:v>0.43127954172551825</c:v>
                </c:pt>
                <c:pt idx="1196" formatCode="0.0%">
                  <c:v>0.42745434117362435</c:v>
                </c:pt>
                <c:pt idx="1197" formatCode="0.0%">
                  <c:v>0.42693943497695985</c:v>
                </c:pt>
                <c:pt idx="1198" formatCode="0.0%">
                  <c:v>0.42701300785026719</c:v>
                </c:pt>
                <c:pt idx="1199" formatCode="0.0%">
                  <c:v>0.42701300785026719</c:v>
                </c:pt>
                <c:pt idx="1200" formatCode="0.0%">
                  <c:v>0.42701300785026719</c:v>
                </c:pt>
                <c:pt idx="1201" formatCode="0.0%">
                  <c:v>0.43355991977092939</c:v>
                </c:pt>
                <c:pt idx="1202" formatCode="0.0%">
                  <c:v>0.40641585937411262</c:v>
                </c:pt>
                <c:pt idx="1203" formatCode="0.0%">
                  <c:v>0.41038817103379188</c:v>
                </c:pt>
                <c:pt idx="1204" formatCode="0.0%">
                  <c:v>0.40347342938542113</c:v>
                </c:pt>
                <c:pt idx="1205" formatCode="0.0%">
                  <c:v>0.39854480892806149</c:v>
                </c:pt>
                <c:pt idx="1206" formatCode="0.0%">
                  <c:v>0.39854480892806149</c:v>
                </c:pt>
                <c:pt idx="1207" formatCode="0.0%">
                  <c:v>0.39854480892806149</c:v>
                </c:pt>
                <c:pt idx="1208" formatCode="0.0%">
                  <c:v>0.40207575262555395</c:v>
                </c:pt>
                <c:pt idx="1209" formatCode="0.0%">
                  <c:v>0.41678797184666821</c:v>
                </c:pt>
                <c:pt idx="1210" formatCode="0.0%">
                  <c:v>0.42877844506018448</c:v>
                </c:pt>
                <c:pt idx="1211" formatCode="0.0%">
                  <c:v>0.40656297048189827</c:v>
                </c:pt>
                <c:pt idx="1212" formatCode="0.0%">
                  <c:v>0.44157811596359553</c:v>
                </c:pt>
                <c:pt idx="1213" formatCode="0.0%">
                  <c:v>0.44157811596359553</c:v>
                </c:pt>
                <c:pt idx="1214" formatCode="0.0%">
                  <c:v>0.44157811596359553</c:v>
                </c:pt>
                <c:pt idx="1215" formatCode="0.0%">
                  <c:v>0.44562396585775305</c:v>
                </c:pt>
                <c:pt idx="1216" formatCode="0.0%">
                  <c:v>0.43219175529357529</c:v>
                </c:pt>
                <c:pt idx="1217" formatCode="0.0%">
                  <c:v>0.43219175529357529</c:v>
                </c:pt>
                <c:pt idx="1218" formatCode="0.0%">
                  <c:v>0.43032323292783758</c:v>
                </c:pt>
                <c:pt idx="1219" formatCode="0.0%">
                  <c:v>0.43561964847407664</c:v>
                </c:pt>
                <c:pt idx="1220" formatCode="0.0%">
                  <c:v>0.43561964847407664</c:v>
                </c:pt>
                <c:pt idx="1221" formatCode="0.0%">
                  <c:v>0.43561964847407664</c:v>
                </c:pt>
                <c:pt idx="1222" formatCode="0.0%">
                  <c:v>0.44422628909788586</c:v>
                </c:pt>
                <c:pt idx="1223" formatCode="0.0%">
                  <c:v>0.4568052760202036</c:v>
                </c:pt>
                <c:pt idx="1224" formatCode="0.0%">
                  <c:v>0.46497054868182658</c:v>
                </c:pt>
                <c:pt idx="1225" formatCode="0.0%">
                  <c:v>0.46497054868182658</c:v>
                </c:pt>
                <c:pt idx="1226" formatCode="0.0%">
                  <c:v>0.46497054868182658</c:v>
                </c:pt>
                <c:pt idx="1227" formatCode="0.0%">
                  <c:v>0.46497054868182658</c:v>
                </c:pt>
                <c:pt idx="1228" formatCode="0.0%">
                  <c:v>0.46497054868182658</c:v>
                </c:pt>
                <c:pt idx="1229" formatCode="0.0%">
                  <c:v>0.48336085734704798</c:v>
                </c:pt>
                <c:pt idx="1230" formatCode="0.0%">
                  <c:v>0.47997702475734144</c:v>
                </c:pt>
                <c:pt idx="1231" formatCode="0.0%">
                  <c:v>0.48953997417883133</c:v>
                </c:pt>
                <c:pt idx="1232" formatCode="0.0%">
                  <c:v>0.4918203868630715</c:v>
                </c:pt>
                <c:pt idx="1233" formatCode="0.0%">
                  <c:v>0.48946640130552366</c:v>
                </c:pt>
                <c:pt idx="1234" formatCode="0.0%">
                  <c:v>0.48946640130552366</c:v>
                </c:pt>
                <c:pt idx="1235" formatCode="0.0%">
                  <c:v>0.48946640130552366</c:v>
                </c:pt>
                <c:pt idx="1236" formatCode="0.0%">
                  <c:v>0.48946640130552366</c:v>
                </c:pt>
                <c:pt idx="1237" formatCode="0.0%">
                  <c:v>0.49042271010320432</c:v>
                </c:pt>
                <c:pt idx="1238" formatCode="0.0%">
                  <c:v>0.4988822396192279</c:v>
                </c:pt>
                <c:pt idx="1239" formatCode="0.0%">
                  <c:v>0.49814664944146986</c:v>
                </c:pt>
                <c:pt idx="1240" formatCode="0.0%">
                  <c:v>0.48645039844352511</c:v>
                </c:pt>
                <c:pt idx="1241" formatCode="0.0%">
                  <c:v>0.48645039844352511</c:v>
                </c:pt>
                <c:pt idx="1242" formatCode="0.0%">
                  <c:v>0.48645039844352511</c:v>
                </c:pt>
                <c:pt idx="1243" formatCode="0.0%">
                  <c:v>0.49020202612211106</c:v>
                </c:pt>
                <c:pt idx="1244" formatCode="0.0%">
                  <c:v>0.48137470151720863</c:v>
                </c:pt>
                <c:pt idx="1245" formatCode="0.0%">
                  <c:v>0.46077755304105383</c:v>
                </c:pt>
                <c:pt idx="1246" formatCode="0.0%">
                  <c:v>0.45584896722252294</c:v>
                </c:pt>
                <c:pt idx="1247" formatCode="0.0%">
                  <c:v>0.4610201634010565</c:v>
                </c:pt>
                <c:pt idx="1248" formatCode="0.0%">
                  <c:v>0.4610201634010565</c:v>
                </c:pt>
                <c:pt idx="1249" formatCode="0.0%">
                  <c:v>0.4610201634010565</c:v>
                </c:pt>
                <c:pt idx="1250" formatCode="0.0%">
                  <c:v>0.46828080839822606</c:v>
                </c:pt>
                <c:pt idx="1251" formatCode="0.0%">
                  <c:v>0.45842360212233502</c:v>
                </c:pt>
                <c:pt idx="1252" formatCode="0.0%">
                  <c:v>0.45842360212233502</c:v>
                </c:pt>
                <c:pt idx="1253" formatCode="0.0%">
                  <c:v>0.48255165965715319</c:v>
                </c:pt>
                <c:pt idx="1254" formatCode="0.0%">
                  <c:v>0.4871124503868049</c:v>
                </c:pt>
                <c:pt idx="1255" formatCode="0.0%">
                  <c:v>0.4871124503868049</c:v>
                </c:pt>
                <c:pt idx="1256" formatCode="0.0%">
                  <c:v>0.4871124503868049</c:v>
                </c:pt>
                <c:pt idx="1257" formatCode="0.0%">
                  <c:v>0.48424355863259222</c:v>
                </c:pt>
                <c:pt idx="1258" formatCode="0.0%">
                  <c:v>0.48034481984622035</c:v>
                </c:pt>
                <c:pt idx="1259" formatCode="0.0%">
                  <c:v>0.49799950369485485</c:v>
                </c:pt>
                <c:pt idx="1260" formatCode="0.0%">
                  <c:v>0.48659754419014006</c:v>
                </c:pt>
                <c:pt idx="1261" formatCode="0.0%">
                  <c:v>0.48358154132814152</c:v>
                </c:pt>
                <c:pt idx="1262" formatCode="0.0%">
                  <c:v>0.48358154132814152</c:v>
                </c:pt>
                <c:pt idx="1263" formatCode="0.0%">
                  <c:v>0.48358154132814152</c:v>
                </c:pt>
                <c:pt idx="1264" formatCode="0.0%">
                  <c:v>0.48159538549830161</c:v>
                </c:pt>
                <c:pt idx="1265" formatCode="0.0%">
                  <c:v>0.49034913722989698</c:v>
                </c:pt>
                <c:pt idx="1266" formatCode="0.0%">
                  <c:v>0.49123187315427003</c:v>
                </c:pt>
                <c:pt idx="1267" formatCode="0.0%">
                  <c:v>0.49461570574397712</c:v>
                </c:pt>
                <c:pt idx="1268" formatCode="0.0%">
                  <c:v>0.49660186157381647</c:v>
                </c:pt>
                <c:pt idx="1269" formatCode="0.0%">
                  <c:v>0.49660186157381647</c:v>
                </c:pt>
                <c:pt idx="1270" formatCode="0.0%">
                  <c:v>0.49660186157381647</c:v>
                </c:pt>
                <c:pt idx="1271" formatCode="0.0%">
                  <c:v>0.50182470424674819</c:v>
                </c:pt>
                <c:pt idx="1272" formatCode="0.0%">
                  <c:v>0.50153044739234731</c:v>
                </c:pt>
                <c:pt idx="1273" formatCode="0.0%">
                  <c:v>0.49998565952469448</c:v>
                </c:pt>
                <c:pt idx="1274" formatCode="0.0%">
                  <c:v>0.49638117759272349</c:v>
                </c:pt>
                <c:pt idx="1275" formatCode="0.0%">
                  <c:v>0.49807307656816219</c:v>
                </c:pt>
                <c:pt idx="1276" formatCode="0.0%">
                  <c:v>0.49807307656816219</c:v>
                </c:pt>
                <c:pt idx="1277" formatCode="0.0%">
                  <c:v>0.49078461659111239</c:v>
                </c:pt>
                <c:pt idx="1278" formatCode="0.0%">
                  <c:v>0.49020202612211106</c:v>
                </c:pt>
                <c:pt idx="1279" formatCode="0.0%">
                  <c:v>0.47997702475734144</c:v>
                </c:pt>
                <c:pt idx="1280" formatCode="0.0%">
                  <c:v>0.48681822817123332</c:v>
                </c:pt>
                <c:pt idx="1281" formatCode="0.0%">
                  <c:v>0.49071696695760525</c:v>
                </c:pt>
                <c:pt idx="1282" formatCode="0.0%">
                  <c:v>0.48667108242461837</c:v>
                </c:pt>
                <c:pt idx="1283" formatCode="0.0%">
                  <c:v>0.48667108242461837</c:v>
                </c:pt>
                <c:pt idx="1284" formatCode="0.0%">
                  <c:v>0.48667108242461837</c:v>
                </c:pt>
                <c:pt idx="1285" formatCode="0.0%">
                  <c:v>0.49417433778179032</c:v>
                </c:pt>
                <c:pt idx="1286" formatCode="0.0%">
                  <c:v>0.48703891215232686</c:v>
                </c:pt>
                <c:pt idx="1287" formatCode="0.0%">
                  <c:v>0.4892457173244304</c:v>
                </c:pt>
                <c:pt idx="1288" formatCode="0.0%">
                  <c:v>0.50241318331672058</c:v>
                </c:pt>
                <c:pt idx="1289" formatCode="0.0%">
                  <c:v>0.5110198239405298</c:v>
                </c:pt>
                <c:pt idx="1290" formatCode="0.0%">
                  <c:v>0.5110198239405298</c:v>
                </c:pt>
                <c:pt idx="1291" formatCode="0.0%">
                  <c:v>0.5110198239405298</c:v>
                </c:pt>
                <c:pt idx="1292" formatCode="0.0%">
                  <c:v>0.51204970561151808</c:v>
                </c:pt>
                <c:pt idx="1293" formatCode="0.0%">
                  <c:v>0.52175976614079389</c:v>
                </c:pt>
                <c:pt idx="1294" formatCode="0.0%">
                  <c:v>0.50609123812199897</c:v>
                </c:pt>
                <c:pt idx="1295" formatCode="0.0%">
                  <c:v>0.50564987015981244</c:v>
                </c:pt>
                <c:pt idx="1296" formatCode="0.0%">
                  <c:v>0.48674465529792571</c:v>
                </c:pt>
                <c:pt idx="1297" formatCode="0.0%">
                  <c:v>0.48674465529792571</c:v>
                </c:pt>
                <c:pt idx="1298" formatCode="0.0%">
                  <c:v>0.48674465529792571</c:v>
                </c:pt>
                <c:pt idx="1299" formatCode="0.0%">
                  <c:v>0.48983423103323193</c:v>
                </c:pt>
                <c:pt idx="1300" formatCode="0.0%">
                  <c:v>0.50476713423543917</c:v>
                </c:pt>
                <c:pt idx="1301" formatCode="0.0%">
                  <c:v>0.4863768602090468</c:v>
                </c:pt>
                <c:pt idx="1302" formatCode="0.0%">
                  <c:v>0.47431281412222293</c:v>
                </c:pt>
                <c:pt idx="1303" formatCode="0.0%">
                  <c:v>0.48527344030358022</c:v>
                </c:pt>
                <c:pt idx="1304" formatCode="0.0%">
                  <c:v>0.48527344030358022</c:v>
                </c:pt>
                <c:pt idx="1305" formatCode="0.0%">
                  <c:v>0.48527344030358022</c:v>
                </c:pt>
                <c:pt idx="1306" formatCode="0.0%">
                  <c:v>0.49976497554360122</c:v>
                </c:pt>
                <c:pt idx="1307" formatCode="0.0%">
                  <c:v>0.50873944589511866</c:v>
                </c:pt>
                <c:pt idx="1308" formatCode="0.0%">
                  <c:v>0.50952037830035291</c:v>
                </c:pt>
                <c:pt idx="1309" formatCode="0.0%">
                  <c:v>0.50829807793293214</c:v>
                </c:pt>
                <c:pt idx="1310" formatCode="0.0%">
                  <c:v>0.45812934526793414</c:v>
                </c:pt>
                <c:pt idx="1311" formatCode="0.0%">
                  <c:v>0.45812934526793414</c:v>
                </c:pt>
                <c:pt idx="1312" formatCode="0.0%">
                  <c:v>0.45812934526793414</c:v>
                </c:pt>
                <c:pt idx="1313" formatCode="0.0%">
                  <c:v>0.42053959952525416</c:v>
                </c:pt>
                <c:pt idx="1314" formatCode="0.0%">
                  <c:v>0.43937127615266236</c:v>
                </c:pt>
                <c:pt idx="1315" formatCode="0.0%">
                  <c:v>0.45621676231140185</c:v>
                </c:pt>
                <c:pt idx="1316" formatCode="0.0%">
                  <c:v>0.4501847565874047</c:v>
                </c:pt>
                <c:pt idx="1317" formatCode="0.0%">
                  <c:v>0.45584896722252294</c:v>
                </c:pt>
                <c:pt idx="1318" formatCode="0.0%">
                  <c:v>0.45584896722252294</c:v>
                </c:pt>
                <c:pt idx="1319" formatCode="0.0%">
                  <c:v>0.45584896722252294</c:v>
                </c:pt>
                <c:pt idx="1320" formatCode="0.0%">
                  <c:v>0.45246516927164521</c:v>
                </c:pt>
                <c:pt idx="1321" formatCode="0.0%">
                  <c:v>0.46202811869313509</c:v>
                </c:pt>
                <c:pt idx="1322" formatCode="0.0%">
                  <c:v>0.458644286103428</c:v>
                </c:pt>
                <c:pt idx="1323" formatCode="0.0%">
                  <c:v>0.48519986743027288</c:v>
                </c:pt>
                <c:pt idx="1324" formatCode="0.0%">
                  <c:v>0.48608260335464593</c:v>
                </c:pt>
                <c:pt idx="1325" formatCode="0.0%">
                  <c:v>0.48608260335464593</c:v>
                </c:pt>
                <c:pt idx="1326" formatCode="0.0%">
                  <c:v>0.48608260335464593</c:v>
                </c:pt>
                <c:pt idx="1327" formatCode="0.0%">
                  <c:v>0.48659754419014006</c:v>
                </c:pt>
                <c:pt idx="1328" formatCode="0.0%">
                  <c:v>0.48806875918448556</c:v>
                </c:pt>
                <c:pt idx="1329" formatCode="0.0%">
                  <c:v>0.48843655427336474</c:v>
                </c:pt>
                <c:pt idx="1330" formatCode="0.0%">
                  <c:v>0.49262954991413721</c:v>
                </c:pt>
                <c:pt idx="1331" formatCode="0.0%">
                  <c:v>0.48873081112776562</c:v>
                </c:pt>
                <c:pt idx="1332" formatCode="0.0%">
                  <c:v>0.48873081112776562</c:v>
                </c:pt>
                <c:pt idx="1333" formatCode="0.0%">
                  <c:v>0.48873081112776562</c:v>
                </c:pt>
                <c:pt idx="1334" formatCode="0.0%">
                  <c:v>0.49461570574397712</c:v>
                </c:pt>
                <c:pt idx="1335" formatCode="0.0%">
                  <c:v>0.48689176640571163</c:v>
                </c:pt>
                <c:pt idx="1336" formatCode="0.0%">
                  <c:v>0.49947071868920034</c:v>
                </c:pt>
                <c:pt idx="1337" formatCode="0.0%">
                  <c:v>0.50741534200855876</c:v>
                </c:pt>
                <c:pt idx="1338" formatCode="0.0%">
                  <c:v>0.51403586144135771</c:v>
                </c:pt>
                <c:pt idx="1339" formatCode="0.0%">
                  <c:v>0.51786972170056178</c:v>
                </c:pt>
                <c:pt idx="1340" formatCode="0.0%">
                  <c:v>0.51786972170056178</c:v>
                </c:pt>
                <c:pt idx="1341" formatCode="0.0%">
                  <c:v>0.51227038959261162</c:v>
                </c:pt>
                <c:pt idx="1342" formatCode="0.0%">
                  <c:v>0.50454645025434619</c:v>
                </c:pt>
                <c:pt idx="1343" formatCode="0.0%">
                  <c:v>0.4890986062166448</c:v>
                </c:pt>
                <c:pt idx="1344" formatCode="0.0%">
                  <c:v>0.48350796845483385</c:v>
                </c:pt>
                <c:pt idx="1345" formatCode="0.0%">
                  <c:v>0.48277234363824645</c:v>
                </c:pt>
                <c:pt idx="1346" formatCode="0.0%">
                  <c:v>0.48277234363824645</c:v>
                </c:pt>
                <c:pt idx="1347" formatCode="0.0%">
                  <c:v>0.48277234363824645</c:v>
                </c:pt>
                <c:pt idx="1348" formatCode="0.0%">
                  <c:v>0.48122755577059367</c:v>
                </c:pt>
                <c:pt idx="1349" formatCode="0.0%">
                  <c:v>0.4845378154869931</c:v>
                </c:pt>
                <c:pt idx="1350" formatCode="0.0%">
                  <c:v>0.4797563407762479</c:v>
                </c:pt>
                <c:pt idx="1351" formatCode="0.0%">
                  <c:v>0.49542486879504255</c:v>
                </c:pt>
                <c:pt idx="1352" formatCode="0.0%">
                  <c:v>0.5110198239405298</c:v>
                </c:pt>
                <c:pt idx="1353" formatCode="0.0%">
                  <c:v>0.5110198239405298</c:v>
                </c:pt>
                <c:pt idx="1354" formatCode="0.0%">
                  <c:v>0.5110198239405298</c:v>
                </c:pt>
                <c:pt idx="1355" formatCode="0.0%">
                  <c:v>0.51734608651892788</c:v>
                </c:pt>
                <c:pt idx="1356" formatCode="0.0%">
                  <c:v>0.51727254828444957</c:v>
                </c:pt>
                <c:pt idx="1357" formatCode="0.0%">
                  <c:v>0.50925438673061274</c:v>
                </c:pt>
                <c:pt idx="1358" formatCode="0.0%">
                  <c:v>0.53183765639777791</c:v>
                </c:pt>
                <c:pt idx="1359" formatCode="0.0%">
                  <c:v>0.51565418754348913</c:v>
                </c:pt>
                <c:pt idx="1360" formatCode="0.0%">
                  <c:v>0.51565418754348913</c:v>
                </c:pt>
                <c:pt idx="1361" formatCode="0.0%">
                  <c:v>0.51565418754348913</c:v>
                </c:pt>
                <c:pt idx="1362" formatCode="0.0%">
                  <c:v>0.5213919710519147</c:v>
                </c:pt>
                <c:pt idx="1363" formatCode="0.0%">
                  <c:v>0.51867019040548767</c:v>
                </c:pt>
                <c:pt idx="1364" formatCode="0.0%">
                  <c:v>0.51550707643570348</c:v>
                </c:pt>
                <c:pt idx="1365" formatCode="0.0%">
                  <c:v>0.5376489781406818</c:v>
                </c:pt>
                <c:pt idx="1366" formatCode="0.0%">
                  <c:v>0.53669266934300108</c:v>
                </c:pt>
                <c:pt idx="1367" formatCode="0.0%">
                  <c:v>0.53669266934300108</c:v>
                </c:pt>
                <c:pt idx="1368" formatCode="0.0%">
                  <c:v>0.53669266934300108</c:v>
                </c:pt>
                <c:pt idx="1369" formatCode="0.0%">
                  <c:v>0.52894545271148619</c:v>
                </c:pt>
                <c:pt idx="1370" formatCode="0.0%">
                  <c:v>0.52999861167572415</c:v>
                </c:pt>
                <c:pt idx="1371" formatCode="0.0%">
                  <c:v>0.52860096955468605</c:v>
                </c:pt>
                <c:pt idx="1372" formatCode="0.0%">
                  <c:v>0.52955724371353741</c:v>
                </c:pt>
                <c:pt idx="1373" formatCode="0.0%">
                  <c:v>0.53956156109721432</c:v>
                </c:pt>
                <c:pt idx="1374" formatCode="0.0%">
                  <c:v>0.53956156109721432</c:v>
                </c:pt>
                <c:pt idx="1375" formatCode="0.0%">
                  <c:v>0.53956156109721432</c:v>
                </c:pt>
                <c:pt idx="1376" formatCode="0.0%">
                  <c:v>0.53272039232215096</c:v>
                </c:pt>
                <c:pt idx="1377" formatCode="0.0%">
                  <c:v>0.53198476750556378</c:v>
                </c:pt>
                <c:pt idx="1378" formatCode="0.0%">
                  <c:v>0.53853171406505507</c:v>
                </c:pt>
                <c:pt idx="1379" formatCode="0.0%">
                  <c:v>0.53809034610286854</c:v>
                </c:pt>
                <c:pt idx="1380" formatCode="0.0%">
                  <c:v>0.5447108655356675</c:v>
                </c:pt>
                <c:pt idx="1381" formatCode="0.0%">
                  <c:v>0.5447108655356675</c:v>
                </c:pt>
                <c:pt idx="1382" formatCode="0.0%">
                  <c:v>0.5447108655356675</c:v>
                </c:pt>
                <c:pt idx="1383" formatCode="0.0%">
                  <c:v>0.56140924058662112</c:v>
                </c:pt>
                <c:pt idx="1384" formatCode="0.0%">
                  <c:v>0.55802540799691402</c:v>
                </c:pt>
                <c:pt idx="1385" formatCode="0.0%">
                  <c:v>0.54382812961129412</c:v>
                </c:pt>
                <c:pt idx="1386" formatCode="0.0%">
                  <c:v>0.55846677595910077</c:v>
                </c:pt>
                <c:pt idx="1387" formatCode="0.0%">
                  <c:v>0.55405313097606412</c:v>
                </c:pt>
                <c:pt idx="1388" formatCode="0.0%">
                  <c:v>0.55405313097606412</c:v>
                </c:pt>
                <c:pt idx="1389" formatCode="0.0%">
                  <c:v>0.55405313097606412</c:v>
                </c:pt>
                <c:pt idx="1390" formatCode="0.0%">
                  <c:v>0.55684844985696946</c:v>
                </c:pt>
                <c:pt idx="1391" formatCode="0.0%">
                  <c:v>0.546844132473293</c:v>
                </c:pt>
                <c:pt idx="1392" formatCode="0.0%">
                  <c:v>0.54993370820859921</c:v>
                </c:pt>
                <c:pt idx="1393" formatCode="0.0%">
                  <c:v>0.54000292905940062</c:v>
                </c:pt>
                <c:pt idx="1394" formatCode="0.0%">
                  <c:v>0.53801677322956099</c:v>
                </c:pt>
                <c:pt idx="1395" formatCode="0.0%">
                  <c:v>0.53801677322956099</c:v>
                </c:pt>
                <c:pt idx="1396" formatCode="0.0%">
                  <c:v>0.53801677322956099</c:v>
                </c:pt>
                <c:pt idx="1397" formatCode="0.0%">
                  <c:v>0.53639844712742957</c:v>
                </c:pt>
                <c:pt idx="1398" formatCode="0.0%">
                  <c:v>0.53654555823521544</c:v>
                </c:pt>
                <c:pt idx="1399" formatCode="0.0%">
                  <c:v>0.52985150056793828</c:v>
                </c:pt>
                <c:pt idx="1400" formatCode="0.0%">
                  <c:v>0.49900891381776147</c:v>
                </c:pt>
                <c:pt idx="1401" formatCode="0.0%">
                  <c:v>0.51330023662477031</c:v>
                </c:pt>
                <c:pt idx="1402" formatCode="0.0%">
                  <c:v>0.51330023662477031</c:v>
                </c:pt>
                <c:pt idx="1403" formatCode="0.0%">
                  <c:v>0.51330023662477031</c:v>
                </c:pt>
                <c:pt idx="1404" formatCode="0.0%">
                  <c:v>0.50233961044341302</c:v>
                </c:pt>
                <c:pt idx="1405" formatCode="0.0%">
                  <c:v>0.50432576627325287</c:v>
                </c:pt>
                <c:pt idx="1406" formatCode="0.0%">
                  <c:v>0.53191119463225645</c:v>
                </c:pt>
                <c:pt idx="1407" formatCode="0.0%">
                  <c:v>0.54125346007265274</c:v>
                </c:pt>
                <c:pt idx="1408" formatCode="0.0%">
                  <c:v>0.5515520343107303</c:v>
                </c:pt>
                <c:pt idx="1409" formatCode="0.0%">
                  <c:v>0.5515520343107303</c:v>
                </c:pt>
                <c:pt idx="1410" formatCode="0.0%">
                  <c:v>0.5515520343107303</c:v>
                </c:pt>
                <c:pt idx="1411" formatCode="0.0%">
                  <c:v>0.56876535019717811</c:v>
                </c:pt>
                <c:pt idx="1412" formatCode="0.0%">
                  <c:v>0.56067361577003372</c:v>
                </c:pt>
                <c:pt idx="1413" formatCode="0.0%">
                  <c:v>0.55243477023510368</c:v>
                </c:pt>
                <c:pt idx="1414" formatCode="0.0%">
                  <c:v>0.56148277882109943</c:v>
                </c:pt>
                <c:pt idx="1415" formatCode="0.0%">
                  <c:v>0.54360744563020091</c:v>
                </c:pt>
                <c:pt idx="1416" formatCode="0.0%">
                  <c:v>0.54360744563020091</c:v>
                </c:pt>
                <c:pt idx="1417" formatCode="0.0%">
                  <c:v>0.54360744563020091</c:v>
                </c:pt>
                <c:pt idx="1418" formatCode="0.0%">
                  <c:v>0.52963081658684497</c:v>
                </c:pt>
                <c:pt idx="1419" formatCode="0.0%">
                  <c:v>0.52558493205385814</c:v>
                </c:pt>
                <c:pt idx="1420" formatCode="0.0%">
                  <c:v>0.54022361304049415</c:v>
                </c:pt>
                <c:pt idx="1421" formatCode="0.0%">
                  <c:v>0.54132703294596041</c:v>
                </c:pt>
                <c:pt idx="1422" formatCode="0.0%">
                  <c:v>0.57303188407242889</c:v>
                </c:pt>
                <c:pt idx="1423" formatCode="0.0%">
                  <c:v>0.57303188407242889</c:v>
                </c:pt>
                <c:pt idx="1424" formatCode="0.0%">
                  <c:v>0.57303188407242889</c:v>
                </c:pt>
                <c:pt idx="1425" formatCode="0.0%">
                  <c:v>0.5679561871461124</c:v>
                </c:pt>
                <c:pt idx="1426" formatCode="0.0%">
                  <c:v>0.56530797937299293</c:v>
                </c:pt>
                <c:pt idx="1427" formatCode="0.0%">
                  <c:v>0.56104144549774215</c:v>
                </c:pt>
                <c:pt idx="1428" formatCode="0.0%">
                  <c:v>0.56574934733517945</c:v>
                </c:pt>
                <c:pt idx="1429" formatCode="0.0%">
                  <c:v>0.56810329825389827</c:v>
                </c:pt>
                <c:pt idx="1430" formatCode="0.0%">
                  <c:v>0.56880854481724152</c:v>
                </c:pt>
                <c:pt idx="1431" formatCode="0.0%">
                  <c:v>0.56880854481724152</c:v>
                </c:pt>
                <c:pt idx="1432" formatCode="0.0%">
                  <c:v>0.57994666035962894</c:v>
                </c:pt>
                <c:pt idx="1433" formatCode="0.0%">
                  <c:v>0.57641571666213598</c:v>
                </c:pt>
                <c:pt idx="1434" formatCode="0.0%">
                  <c:v>0.57847541072645414</c:v>
                </c:pt>
                <c:pt idx="1435" formatCode="0.0%">
                  <c:v>0.56920671815936486</c:v>
                </c:pt>
                <c:pt idx="1436" formatCode="0.0%">
                  <c:v>0.56883892307048567</c:v>
                </c:pt>
                <c:pt idx="1437" formatCode="0.0%">
                  <c:v>0.56883892307048567</c:v>
                </c:pt>
                <c:pt idx="1438" formatCode="0.0%">
                  <c:v>0.56883892307048567</c:v>
                </c:pt>
                <c:pt idx="1439" formatCode="0.0%">
                  <c:v>0.56957451324824404</c:v>
                </c:pt>
                <c:pt idx="1440" formatCode="0.0%">
                  <c:v>0.57001588121043023</c:v>
                </c:pt>
                <c:pt idx="1441" formatCode="0.0%">
                  <c:v>0.57516518564888375</c:v>
                </c:pt>
                <c:pt idx="1442" formatCode="0.0%">
                  <c:v>0.57097219000811095</c:v>
                </c:pt>
                <c:pt idx="1443" formatCode="0.0%">
                  <c:v>0.56589645844296543</c:v>
                </c:pt>
                <c:pt idx="1444" formatCode="0.0%">
                  <c:v>0.56589645844296543</c:v>
                </c:pt>
                <c:pt idx="1445" formatCode="0.0%">
                  <c:v>0.56589645844296543</c:v>
                </c:pt>
                <c:pt idx="1446" formatCode="0.0%">
                  <c:v>0.56471950030302054</c:v>
                </c:pt>
                <c:pt idx="1447" formatCode="0.0%">
                  <c:v>0.55008081931638486</c:v>
                </c:pt>
                <c:pt idx="1448" formatCode="0.0%">
                  <c:v>0.55743692892694152</c:v>
                </c:pt>
                <c:pt idx="1449" formatCode="0.0%">
                  <c:v>0.53397092333540341</c:v>
                </c:pt>
                <c:pt idx="1450" formatCode="0.0%">
                  <c:v>0.51050491774386531</c:v>
                </c:pt>
                <c:pt idx="1451" formatCode="0.0%">
                  <c:v>0.51050491774386531</c:v>
                </c:pt>
                <c:pt idx="1452" formatCode="0.0%">
                  <c:v>0.51050491774386531</c:v>
                </c:pt>
                <c:pt idx="1453" formatCode="0.0%">
                  <c:v>0.53183765639777791</c:v>
                </c:pt>
                <c:pt idx="1454" formatCode="0.0%">
                  <c:v>0.53183765639777791</c:v>
                </c:pt>
                <c:pt idx="1455" formatCode="0.0%">
                  <c:v>0.53183765639777791</c:v>
                </c:pt>
                <c:pt idx="1456" formatCode="0.0%">
                  <c:v>0.53183765639777791</c:v>
                </c:pt>
                <c:pt idx="1457" formatCode="0.0%">
                  <c:v>0.5397822450783073</c:v>
                </c:pt>
                <c:pt idx="1458" formatCode="0.0%">
                  <c:v>0.5397822450783073</c:v>
                </c:pt>
                <c:pt idx="1459" formatCode="0.0%">
                  <c:v>0.5397822450783073</c:v>
                </c:pt>
                <c:pt idx="1460" formatCode="0.0%">
                  <c:v>0.51550707643570348</c:v>
                </c:pt>
                <c:pt idx="1461" formatCode="0.0%">
                  <c:v>0.5263992562904809</c:v>
                </c:pt>
                <c:pt idx="1462" formatCode="0.0%">
                  <c:v>0.5263992562904809</c:v>
                </c:pt>
                <c:pt idx="1463" formatCode="0.0%">
                  <c:v>0.54537291747894723</c:v>
                </c:pt>
                <c:pt idx="1464" formatCode="0.0%">
                  <c:v>0.54007650193270818</c:v>
                </c:pt>
                <c:pt idx="1465" formatCode="0.0%">
                  <c:v>0.54007650193270818</c:v>
                </c:pt>
                <c:pt idx="1466" formatCode="0.0%">
                  <c:v>0.54007650193270818</c:v>
                </c:pt>
                <c:pt idx="1467" formatCode="0.0%">
                  <c:v>0.55177271829182362</c:v>
                </c:pt>
                <c:pt idx="1468" formatCode="0.0%">
                  <c:v>0.55199340227291682</c:v>
                </c:pt>
                <c:pt idx="1469" formatCode="0.0%">
                  <c:v>0.54316607766801439</c:v>
                </c:pt>
                <c:pt idx="1470" formatCode="0.0%">
                  <c:v>0.54441660868126662</c:v>
                </c:pt>
                <c:pt idx="1471" formatCode="0.0%">
                  <c:v>0.53992939082492231</c:v>
                </c:pt>
                <c:pt idx="1472" formatCode="0.0%">
                  <c:v>0.53992939082492231</c:v>
                </c:pt>
                <c:pt idx="1473" formatCode="0.0%">
                  <c:v>0.53992939082492231</c:v>
                </c:pt>
                <c:pt idx="1474" formatCode="0.0%">
                  <c:v>0.53249970834105798</c:v>
                </c:pt>
                <c:pt idx="1475" formatCode="0.0%">
                  <c:v>0.53573639518414984</c:v>
                </c:pt>
                <c:pt idx="1476" formatCode="0.0%">
                  <c:v>0.55169914541851595</c:v>
                </c:pt>
                <c:pt idx="1477" formatCode="0.0%">
                  <c:v>0.55802540799691402</c:v>
                </c:pt>
                <c:pt idx="1478" formatCode="0.0%">
                  <c:v>0.56942740214045817</c:v>
                </c:pt>
                <c:pt idx="1479" formatCode="0.0%">
                  <c:v>0.56942740214045817</c:v>
                </c:pt>
                <c:pt idx="1480" formatCode="0.0%">
                  <c:v>0.56942740214045817</c:v>
                </c:pt>
                <c:pt idx="1481" formatCode="0.0%">
                  <c:v>0.56096787262443459</c:v>
                </c:pt>
                <c:pt idx="1482" formatCode="0.0%">
                  <c:v>0.56633782640515196</c:v>
                </c:pt>
                <c:pt idx="1483" formatCode="0.0%">
                  <c:v>0.57854898359976148</c:v>
                </c:pt>
                <c:pt idx="1484" formatCode="0.0%">
                  <c:v>0.5793458152276173</c:v>
                </c:pt>
                <c:pt idx="1485" formatCode="0.0%">
                  <c:v>0.58136252250484743</c:v>
                </c:pt>
                <c:pt idx="1486" formatCode="0.0%">
                  <c:v>0.58136252250484743</c:v>
                </c:pt>
                <c:pt idx="1487" formatCode="0.0%">
                  <c:v>0.58136252250484743</c:v>
                </c:pt>
                <c:pt idx="1488" formatCode="0.0%">
                  <c:v>0.54979134262041929</c:v>
                </c:pt>
                <c:pt idx="1489" formatCode="0.0%">
                  <c:v>0.55387796241659315</c:v>
                </c:pt>
                <c:pt idx="1490" formatCode="0.0%">
                  <c:v>0.56533652176828753</c:v>
                </c:pt>
                <c:pt idx="1491" formatCode="0.0%">
                  <c:v>0.56637821528004684</c:v>
                </c:pt>
                <c:pt idx="1492" formatCode="0.0%">
                  <c:v>0.57010649638772437</c:v>
                </c:pt>
                <c:pt idx="1493" formatCode="0.0%">
                  <c:v>0.57010649638772437</c:v>
                </c:pt>
                <c:pt idx="1494" formatCode="0.0%">
                  <c:v>0.57010649638772437</c:v>
                </c:pt>
                <c:pt idx="1495" formatCode="0.0%">
                  <c:v>0.55804473646363051</c:v>
                </c:pt>
                <c:pt idx="1496" formatCode="0.0%">
                  <c:v>0.56277238243373551</c:v>
                </c:pt>
                <c:pt idx="1497" formatCode="0.0%">
                  <c:v>0.55507992979124987</c:v>
                </c:pt>
                <c:pt idx="1498" formatCode="0.0%">
                  <c:v>0.58144264211688157</c:v>
                </c:pt>
                <c:pt idx="1499" formatCode="0.0%">
                  <c:v>0.57695535498287887</c:v>
                </c:pt>
                <c:pt idx="1500" formatCode="0.0%">
                  <c:v>0.57695535498287887</c:v>
                </c:pt>
                <c:pt idx="1501" formatCode="0.0%">
                  <c:v>0.57695535498287887</c:v>
                </c:pt>
                <c:pt idx="1502" formatCode="0.0%">
                  <c:v>0.58136252250484743</c:v>
                </c:pt>
                <c:pt idx="1503" formatCode="0.0%">
                  <c:v>0.5791188616184314</c:v>
                </c:pt>
                <c:pt idx="1504" formatCode="0.0%">
                  <c:v>0.56774042187877138</c:v>
                </c:pt>
                <c:pt idx="1505" formatCode="0.0%">
                  <c:v>0.57567330263501726</c:v>
                </c:pt>
                <c:pt idx="1506" formatCode="0.0%">
                  <c:v>0.56894238925342788</c:v>
                </c:pt>
                <c:pt idx="1507" formatCode="0.0%">
                  <c:v>0.56894238925342788</c:v>
                </c:pt>
                <c:pt idx="1508" formatCode="0.0%">
                  <c:v>0.56894238925342788</c:v>
                </c:pt>
                <c:pt idx="1509" formatCode="0.0%">
                  <c:v>0.57278861557467053</c:v>
                </c:pt>
                <c:pt idx="1510" formatCode="0.0%">
                  <c:v>0.5732694025245334</c:v>
                </c:pt>
                <c:pt idx="1511" formatCode="0.0%">
                  <c:v>0.56974368929025621</c:v>
                </c:pt>
                <c:pt idx="1512" formatCode="0.0%">
                  <c:v>0.57575342224705139</c:v>
                </c:pt>
                <c:pt idx="1513" formatCode="0.0%">
                  <c:v>0.56498538795627329</c:v>
                </c:pt>
                <c:pt idx="1514" formatCode="0.0%">
                  <c:v>0.56498538795627329</c:v>
                </c:pt>
                <c:pt idx="1515" formatCode="0.0%">
                  <c:v>0.56498538795627329</c:v>
                </c:pt>
                <c:pt idx="1516" formatCode="0.0%">
                  <c:v>0.55644213638997453</c:v>
                </c:pt>
                <c:pt idx="1517" formatCode="0.0%">
                  <c:v>0.54722720328586716</c:v>
                </c:pt>
                <c:pt idx="1518" formatCode="0.0%">
                  <c:v>0.55756394951376786</c:v>
                </c:pt>
                <c:pt idx="1519" formatCode="0.0%">
                  <c:v>0.54874964910865998</c:v>
                </c:pt>
                <c:pt idx="1520" formatCode="0.0%">
                  <c:v>0.54879131962023653</c:v>
                </c:pt>
                <c:pt idx="1521" formatCode="0.0%">
                  <c:v>0.54879131962023653</c:v>
                </c:pt>
                <c:pt idx="1522" formatCode="0.0%">
                  <c:v>0.54879131962023653</c:v>
                </c:pt>
                <c:pt idx="1523" formatCode="0.0%">
                  <c:v>0.53288395687382606</c:v>
                </c:pt>
                <c:pt idx="1524" formatCode="0.0%">
                  <c:v>0.49754670491901865</c:v>
                </c:pt>
                <c:pt idx="1525" formatCode="0.0%">
                  <c:v>0.49482225708274002</c:v>
                </c:pt>
                <c:pt idx="1526" formatCode="0.0%">
                  <c:v>0.47855593214890718</c:v>
                </c:pt>
                <c:pt idx="1527" formatCode="0.0%">
                  <c:v>0.47486994505173269</c:v>
                </c:pt>
                <c:pt idx="1528" formatCode="0.0%">
                  <c:v>0.47486994505173269</c:v>
                </c:pt>
                <c:pt idx="1529" formatCode="0.0%">
                  <c:v>0.47486994505173269</c:v>
                </c:pt>
                <c:pt idx="1530" formatCode="0.0%">
                  <c:v>0.45780228544224227</c:v>
                </c:pt>
                <c:pt idx="1531" formatCode="0.0%">
                  <c:v>0.43015748612992011</c:v>
                </c:pt>
                <c:pt idx="1532" formatCode="0.0%">
                  <c:v>0.43248126662836994</c:v>
                </c:pt>
                <c:pt idx="1533" formatCode="0.0%">
                  <c:v>0.4424173455184422</c:v>
                </c:pt>
                <c:pt idx="1534" formatCode="0.0%">
                  <c:v>0.45235345904734375</c:v>
                </c:pt>
                <c:pt idx="1535" formatCode="0.0%">
                  <c:v>0.45235345904734375</c:v>
                </c:pt>
                <c:pt idx="1536" formatCode="0.0%">
                  <c:v>0.45235345904734375</c:v>
                </c:pt>
                <c:pt idx="1537" formatCode="0.0%">
                  <c:v>0.46228957257624503</c:v>
                </c:pt>
                <c:pt idx="1538" formatCode="0.0%">
                  <c:v>0.46036642477679435</c:v>
                </c:pt>
                <c:pt idx="1539" formatCode="0.0%">
                  <c:v>0.46853969900797154</c:v>
                </c:pt>
                <c:pt idx="1540" formatCode="0.0%">
                  <c:v>0.47863605176094126</c:v>
                </c:pt>
                <c:pt idx="1541" formatCode="0.0%">
                  <c:v>0.46180878562638239</c:v>
                </c:pt>
                <c:pt idx="1542" formatCode="0.0%">
                  <c:v>0.46180878562638239</c:v>
                </c:pt>
                <c:pt idx="1543" formatCode="0.0%">
                  <c:v>0.46180878562638239</c:v>
                </c:pt>
                <c:pt idx="1544" formatCode="0.0%">
                  <c:v>0.48464578471773651</c:v>
                </c:pt>
                <c:pt idx="1545" formatCode="0.0%">
                  <c:v>0.48552720436659852</c:v>
                </c:pt>
                <c:pt idx="1546" formatCode="0.0%">
                  <c:v>0.48015849758373408</c:v>
                </c:pt>
                <c:pt idx="1547" formatCode="0.0%">
                  <c:v>0.4699019056066962</c:v>
                </c:pt>
                <c:pt idx="1548" formatCode="0.0%">
                  <c:v>0.44065450622071806</c:v>
                </c:pt>
                <c:pt idx="1549" formatCode="0.0%">
                  <c:v>0.44065450622071806</c:v>
                </c:pt>
                <c:pt idx="1550" formatCode="0.0%">
                  <c:v>0.44065450622071806</c:v>
                </c:pt>
                <c:pt idx="1551" formatCode="0.0%">
                  <c:v>0.43129412467262851</c:v>
                </c:pt>
                <c:pt idx="1552" formatCode="0.0%">
                  <c:v>0.43472489287595695</c:v>
                </c:pt>
                <c:pt idx="1553" formatCode="0.0%">
                  <c:v>0.42887539914322959</c:v>
                </c:pt>
                <c:pt idx="1554" formatCode="0.0%">
                  <c:v>0.38063722698713975</c:v>
                </c:pt>
                <c:pt idx="1555" formatCode="0.0%">
                  <c:v>0.33792803547681188</c:v>
                </c:pt>
                <c:pt idx="1556" formatCode="0.0%">
                  <c:v>0.33792803547681188</c:v>
                </c:pt>
                <c:pt idx="1557" formatCode="0.0%">
                  <c:v>0.33792803547681188</c:v>
                </c:pt>
                <c:pt idx="1558" formatCode="0.0%">
                  <c:v>0.28760647629720354</c:v>
                </c:pt>
                <c:pt idx="1559" formatCode="0.0%">
                  <c:v>0.33921012246350246</c:v>
                </c:pt>
                <c:pt idx="1560" formatCode="0.0%">
                  <c:v>0.27863193666802716</c:v>
                </c:pt>
                <c:pt idx="1561" formatCode="0.0%">
                  <c:v>0.32991503510853193</c:v>
                </c:pt>
                <c:pt idx="1562" formatCode="0.0%">
                  <c:v>0.30707803601717726</c:v>
                </c:pt>
                <c:pt idx="1563" formatCode="0.0%">
                  <c:v>0.30707803601717726</c:v>
                </c:pt>
                <c:pt idx="1564" formatCode="0.0%">
                  <c:v>0.30707803601717726</c:v>
                </c:pt>
                <c:pt idx="1565" formatCode="0.0%">
                  <c:v>0.34497946194536666</c:v>
                </c:pt>
                <c:pt idx="1566" formatCode="0.0%">
                  <c:v>0.35315270153771477</c:v>
                </c:pt>
                <c:pt idx="1567" formatCode="0.0%">
                  <c:v>0.32446620871363308</c:v>
                </c:pt>
                <c:pt idx="1568" formatCode="0.0%">
                  <c:v>0.32446620871363308</c:v>
                </c:pt>
                <c:pt idx="1569" formatCode="0.0%">
                  <c:v>0.32446620871363308</c:v>
                </c:pt>
                <c:pt idx="1570" formatCode="0.0%">
                  <c:v>0.32446620871363308</c:v>
                </c:pt>
                <c:pt idx="1571" formatCode="0.0%">
                  <c:v>0.32446620871363308</c:v>
                </c:pt>
                <c:pt idx="1572" formatCode="0.0%">
                  <c:v>0.32446620871363308</c:v>
                </c:pt>
                <c:pt idx="1573" formatCode="0.0%">
                  <c:v>0.2861641500864448</c:v>
                </c:pt>
                <c:pt idx="1574" formatCode="0.0%">
                  <c:v>0.35050840795229932</c:v>
                </c:pt>
                <c:pt idx="1575" formatCode="0.0%">
                  <c:v>0.32654959573715187</c:v>
                </c:pt>
                <c:pt idx="1576" formatCode="0.0%">
                  <c:v>0.33512350266732854</c:v>
                </c:pt>
                <c:pt idx="1577" formatCode="0.0%">
                  <c:v>0.33512350266732854</c:v>
                </c:pt>
                <c:pt idx="1578" formatCode="0.0%">
                  <c:v>0.33512350266732854</c:v>
                </c:pt>
                <c:pt idx="1579" formatCode="0.0%">
                  <c:v>0.34441855538346999</c:v>
                </c:pt>
                <c:pt idx="1580" formatCode="0.0%">
                  <c:v>0.33728700930288114</c:v>
                </c:pt>
                <c:pt idx="1581" formatCode="0.0%">
                  <c:v>0.35780712102280432</c:v>
                </c:pt>
                <c:pt idx="1582" formatCode="0.0%">
                  <c:v>0.35780712102280432</c:v>
                </c:pt>
                <c:pt idx="1583" formatCode="0.0%">
                  <c:v>0.3939388145262504</c:v>
                </c:pt>
                <c:pt idx="1584" formatCode="0.0%">
                  <c:v>0.3939388145262504</c:v>
                </c:pt>
                <c:pt idx="1585" formatCode="0.0%">
                  <c:v>0.3939388145262504</c:v>
                </c:pt>
                <c:pt idx="1586" formatCode="0.0%">
                  <c:v>0.40323386724239185</c:v>
                </c:pt>
                <c:pt idx="1587" formatCode="0.0%">
                  <c:v>0.39153491441576649</c:v>
                </c:pt>
                <c:pt idx="1588" formatCode="0.0%">
                  <c:v>0.39786516045952708</c:v>
                </c:pt>
                <c:pt idx="1589" formatCode="0.0%">
                  <c:v>0.40499670654011594</c:v>
                </c:pt>
                <c:pt idx="1590" formatCode="0.0%">
                  <c:v>0.41260903957056738</c:v>
                </c:pt>
                <c:pt idx="1591" formatCode="0.0%">
                  <c:v>0.41260903957056738</c:v>
                </c:pt>
                <c:pt idx="1592" formatCode="0.0%">
                  <c:v>0.41260903957056738</c:v>
                </c:pt>
                <c:pt idx="1593" formatCode="0.0%">
                  <c:v>0.45115149167268698</c:v>
                </c:pt>
                <c:pt idx="1594" formatCode="0.0%">
                  <c:v>0.46196902485045027</c:v>
                </c:pt>
                <c:pt idx="1595" formatCode="0.0%">
                  <c:v>0.45403617873303376</c:v>
                </c:pt>
                <c:pt idx="1596" formatCode="0.0%">
                  <c:v>0.44922837851206565</c:v>
                </c:pt>
                <c:pt idx="1597" formatCode="0.0%">
                  <c:v>0.45531826571972434</c:v>
                </c:pt>
                <c:pt idx="1598" formatCode="0.0%">
                  <c:v>0.45531826571972434</c:v>
                </c:pt>
                <c:pt idx="1599" formatCode="0.0%">
                  <c:v>0.45531826571972434</c:v>
                </c:pt>
                <c:pt idx="1600" formatCode="0.0%">
                  <c:v>0.45652019845555147</c:v>
                </c:pt>
                <c:pt idx="1601" formatCode="0.0%">
                  <c:v>0.46405241187396912</c:v>
                </c:pt>
                <c:pt idx="1602" formatCode="0.0%">
                  <c:v>0.45035022627468807</c:v>
                </c:pt>
                <c:pt idx="1603" formatCode="0.0%">
                  <c:v>0.43352292550129989</c:v>
                </c:pt>
                <c:pt idx="1604" formatCode="0.0%">
                  <c:v>0.41693605284167262</c:v>
                </c:pt>
                <c:pt idx="1605" formatCode="0.0%">
                  <c:v>0.41693605284167262</c:v>
                </c:pt>
                <c:pt idx="1606" formatCode="0.0%">
                  <c:v>0.41693605284167262</c:v>
                </c:pt>
                <c:pt idx="1607" formatCode="0.0%">
                  <c:v>0.4351255255749561</c:v>
                </c:pt>
                <c:pt idx="1608" formatCode="0.0%">
                  <c:v>0.4379300930232688</c:v>
                </c:pt>
                <c:pt idx="1609" formatCode="0.0%">
                  <c:v>0.44706487187651278</c:v>
                </c:pt>
                <c:pt idx="1610" formatCode="0.0%">
                  <c:v>0.44706487187651278</c:v>
                </c:pt>
                <c:pt idx="1611" formatCode="0.0%">
                  <c:v>0.44706487187651278</c:v>
                </c:pt>
                <c:pt idx="1612" formatCode="0.0%">
                  <c:v>0.43778537199470063</c:v>
                </c:pt>
                <c:pt idx="1613" formatCode="0.0%">
                  <c:v>0.43778537199470063</c:v>
                </c:pt>
                <c:pt idx="1614" formatCode="0.0%">
                  <c:v>0.42550995977184924</c:v>
                </c:pt>
                <c:pt idx="1615" formatCode="0.0%">
                  <c:v>0.43312229280230097</c:v>
                </c:pt>
                <c:pt idx="1616" formatCode="0.0%">
                  <c:v>0.44474112601689231</c:v>
                </c:pt>
                <c:pt idx="1617" formatCode="0.0%">
                  <c:v>0.44474112601689231</c:v>
                </c:pt>
                <c:pt idx="1618" formatCode="0.0%">
                  <c:v>0.46020618555272647</c:v>
                </c:pt>
                <c:pt idx="1619" formatCode="0.0%">
                  <c:v>0.46020618555272647</c:v>
                </c:pt>
                <c:pt idx="1620" formatCode="0.0%">
                  <c:v>0.46020618555272647</c:v>
                </c:pt>
                <c:pt idx="1621" formatCode="0.0%">
                  <c:v>0.46020618555272647</c:v>
                </c:pt>
                <c:pt idx="1622" formatCode="0.0%">
                  <c:v>0.45964527899082952</c:v>
                </c:pt>
                <c:pt idx="1623" formatCode="0.0%">
                  <c:v>0.46076709211462286</c:v>
                </c:pt>
                <c:pt idx="1624" formatCode="0.0%">
                  <c:v>0.43801021263530288</c:v>
                </c:pt>
                <c:pt idx="1625" formatCode="0.0%">
                  <c:v>0.43119917964167942</c:v>
                </c:pt>
                <c:pt idx="1626" formatCode="0.0%">
                  <c:v>0.43119917964167942</c:v>
                </c:pt>
                <c:pt idx="1627" formatCode="0.0%">
                  <c:v>0.43119917964167942</c:v>
                </c:pt>
                <c:pt idx="1628" formatCode="0.0%">
                  <c:v>0.42935618609309217</c:v>
                </c:pt>
                <c:pt idx="1629" formatCode="0.0%">
                  <c:v>0.42214452040046924</c:v>
                </c:pt>
                <c:pt idx="1630" formatCode="0.0%">
                  <c:v>0.41725660056746733</c:v>
                </c:pt>
                <c:pt idx="1631" formatCode="0.0%">
                  <c:v>0.40691981970073698</c:v>
                </c:pt>
                <c:pt idx="1632" formatCode="0.0%">
                  <c:v>0.41901943986519141</c:v>
                </c:pt>
                <c:pt idx="1633" formatCode="0.0%">
                  <c:v>0.41901943986519141</c:v>
                </c:pt>
                <c:pt idx="1634" formatCode="0.0%">
                  <c:v>0.41901943986519141</c:v>
                </c:pt>
                <c:pt idx="1635" formatCode="0.0%">
                  <c:v>0.40635891313884059</c:v>
                </c:pt>
                <c:pt idx="1636" formatCode="0.0%">
                  <c:v>0.41974062028998504</c:v>
                </c:pt>
                <c:pt idx="1637" formatCode="0.0%">
                  <c:v>0.42286566618643379</c:v>
                </c:pt>
                <c:pt idx="1638" formatCode="0.0%">
                  <c:v>0.41485270045698314</c:v>
                </c:pt>
                <c:pt idx="1639" formatCode="0.0%">
                  <c:v>0.42703244023347137</c:v>
                </c:pt>
                <c:pt idx="1640" formatCode="0.0%">
                  <c:v>0.42703244023347137</c:v>
                </c:pt>
                <c:pt idx="1641" formatCode="0.0%">
                  <c:v>0.42703244023347137</c:v>
                </c:pt>
                <c:pt idx="1642" formatCode="0.0%">
                  <c:v>0.42692464419687381</c:v>
                </c:pt>
                <c:pt idx="1643" formatCode="0.0%">
                  <c:v>0.41853865291532882</c:v>
                </c:pt>
                <c:pt idx="1644" formatCode="0.0%">
                  <c:v>0.42542984015981544</c:v>
                </c:pt>
                <c:pt idx="1645" formatCode="0.0%">
                  <c:v>0.43704863873557742</c:v>
                </c:pt>
                <c:pt idx="1646" formatCode="0.0%">
                  <c:v>0.42879527953119523</c:v>
                </c:pt>
                <c:pt idx="1647" formatCode="0.0%">
                  <c:v>0.42879527953119523</c:v>
                </c:pt>
                <c:pt idx="1648" formatCode="0.0%">
                  <c:v>0.42879527953119523</c:v>
                </c:pt>
                <c:pt idx="1649" formatCode="0.0%">
                  <c:v>0.43712879298644081</c:v>
                </c:pt>
                <c:pt idx="1650" formatCode="0.0%">
                  <c:v>0.43640761256164667</c:v>
                </c:pt>
                <c:pt idx="1651" formatCode="0.0%">
                  <c:v>0.44770593268927283</c:v>
                </c:pt>
                <c:pt idx="1652" formatCode="0.0%">
                  <c:v>0.44786617191334099</c:v>
                </c:pt>
                <c:pt idx="1653" formatCode="0.0%">
                  <c:v>0.44273785860540754</c:v>
                </c:pt>
                <c:pt idx="1654" formatCode="0.0%">
                  <c:v>0.44273785860540754</c:v>
                </c:pt>
                <c:pt idx="1655" formatCode="0.0%">
                  <c:v>0.44273785860540754</c:v>
                </c:pt>
                <c:pt idx="1656" formatCode="0.0%">
                  <c:v>0.43232099276547276</c:v>
                </c:pt>
                <c:pt idx="1657" formatCode="0.0%">
                  <c:v>0.44482124562892639</c:v>
                </c:pt>
                <c:pt idx="1658" formatCode="0.0%">
                  <c:v>0.43768969954833747</c:v>
                </c:pt>
                <c:pt idx="1659" formatCode="0.0%">
                  <c:v>0.44345903903020145</c:v>
                </c:pt>
                <c:pt idx="1660" formatCode="0.0%">
                  <c:v>0.43873139306009679</c:v>
                </c:pt>
                <c:pt idx="1661" formatCode="0.0%">
                  <c:v>0.43873139306009679</c:v>
                </c:pt>
                <c:pt idx="1662" formatCode="0.0%">
                  <c:v>0.43873139306009679</c:v>
                </c:pt>
                <c:pt idx="1663" formatCode="0.0%">
                  <c:v>0.43841087997313138</c:v>
                </c:pt>
                <c:pt idx="1664" formatCode="0.0%">
                  <c:v>0.42759334679536809</c:v>
                </c:pt>
                <c:pt idx="1665" formatCode="0.0%">
                  <c:v>0.43047799921688551</c:v>
                </c:pt>
                <c:pt idx="1666" formatCode="0.0%">
                  <c:v>0.42983697304295476</c:v>
                </c:pt>
                <c:pt idx="1667" formatCode="0.0%">
                  <c:v>0.4379300930232688</c:v>
                </c:pt>
                <c:pt idx="1668" formatCode="0.0%">
                  <c:v>0.4379300930232688</c:v>
                </c:pt>
                <c:pt idx="1669" formatCode="0.0%">
                  <c:v>0.4379300930232688</c:v>
                </c:pt>
                <c:pt idx="1670" formatCode="0.0%">
                  <c:v>0.45139188514761824</c:v>
                </c:pt>
                <c:pt idx="1671" formatCode="0.0%">
                  <c:v>0.45772216583020819</c:v>
                </c:pt>
                <c:pt idx="1672" formatCode="0.0%">
                  <c:v>0.45451696568289635</c:v>
                </c:pt>
                <c:pt idx="1673" formatCode="0.0%">
                  <c:v>0.43476406939182821</c:v>
                </c:pt>
                <c:pt idx="1674" formatCode="0.0%">
                  <c:v>0.41773735287850061</c:v>
                </c:pt>
                <c:pt idx="1675" formatCode="0.0%">
                  <c:v>0.41773735287850061</c:v>
                </c:pt>
                <c:pt idx="1676" formatCode="0.0%">
                  <c:v>0.41773735287850061</c:v>
                </c:pt>
                <c:pt idx="1677" formatCode="0.0%">
                  <c:v>0.41020517409891255</c:v>
                </c:pt>
                <c:pt idx="1678" formatCode="0.0%">
                  <c:v>0.40876281324932451</c:v>
                </c:pt>
                <c:pt idx="1679" formatCode="0.0%">
                  <c:v>0.3879290469306258</c:v>
                </c:pt>
                <c:pt idx="1680" formatCode="0.0%">
                  <c:v>0.41028529371094635</c:v>
                </c:pt>
                <c:pt idx="1681" formatCode="0.0%">
                  <c:v>0.40315374763035777</c:v>
                </c:pt>
                <c:pt idx="1682" formatCode="0.0%">
                  <c:v>0.40315374763035777</c:v>
                </c:pt>
                <c:pt idx="1683" formatCode="0.0%">
                  <c:v>0.40315374763035777</c:v>
                </c:pt>
                <c:pt idx="1684" formatCode="0.0%">
                  <c:v>0.40940387406208456</c:v>
                </c:pt>
                <c:pt idx="1685" formatCode="0.0%">
                  <c:v>0.39674334733573374</c:v>
                </c:pt>
                <c:pt idx="1686" formatCode="0.0%">
                  <c:v>0.41196801339663663</c:v>
                </c:pt>
                <c:pt idx="1687" formatCode="0.0%">
                  <c:v>0.4166956593667413</c:v>
                </c:pt>
                <c:pt idx="1688" formatCode="0.0%">
                  <c:v>0.41493282006901722</c:v>
                </c:pt>
                <c:pt idx="1689" formatCode="0.0%">
                  <c:v>0.41493282006901722</c:v>
                </c:pt>
                <c:pt idx="1690" formatCode="0.0%">
                  <c:v>0.41493282006901722</c:v>
                </c:pt>
                <c:pt idx="1691" formatCode="0.0%">
                  <c:v>0.41917971372808865</c:v>
                </c:pt>
                <c:pt idx="1692" formatCode="0.0%">
                  <c:v>0.42118294650074406</c:v>
                </c:pt>
                <c:pt idx="1693" formatCode="0.0%">
                  <c:v>0.41845853330329474</c:v>
                </c:pt>
                <c:pt idx="1694" formatCode="0.0%">
                  <c:v>0.41966046603912188</c:v>
                </c:pt>
                <c:pt idx="1695" formatCode="0.0%">
                  <c:v>0.43023760574195419</c:v>
                </c:pt>
                <c:pt idx="1696" formatCode="0.0%">
                  <c:v>0.43023760574195419</c:v>
                </c:pt>
                <c:pt idx="1697" formatCode="0.0%">
                  <c:v>0.43023760574195419</c:v>
                </c:pt>
                <c:pt idx="1698" formatCode="0.0%">
                  <c:v>0.42526956629691826</c:v>
                </c:pt>
                <c:pt idx="1699" formatCode="0.0%">
                  <c:v>0.42190412692553791</c:v>
                </c:pt>
                <c:pt idx="1700" formatCode="0.0%">
                  <c:v>0.42815425335726476</c:v>
                </c:pt>
                <c:pt idx="1701" formatCode="0.0%">
                  <c:v>0.42006113337695067</c:v>
                </c:pt>
                <c:pt idx="1702" formatCode="0.0%">
                  <c:v>0.41589435932991337</c:v>
                </c:pt>
                <c:pt idx="1703" formatCode="0.0%">
                  <c:v>0.41589435932991337</c:v>
                </c:pt>
                <c:pt idx="1704" formatCode="0.0%">
                  <c:v>0.40903566330725455</c:v>
                </c:pt>
                <c:pt idx="1705" formatCode="0.0%">
                  <c:v>0.41028529371094635</c:v>
                </c:pt>
                <c:pt idx="1706" formatCode="0.0%">
                  <c:v>0.39714398003473295</c:v>
                </c:pt>
                <c:pt idx="1707" formatCode="0.0%">
                  <c:v>0.39409905375031828</c:v>
                </c:pt>
                <c:pt idx="1708" formatCode="0.0%">
                  <c:v>0.39345802757638781</c:v>
                </c:pt>
                <c:pt idx="1709" formatCode="0.0%">
                  <c:v>0.40026906057001099</c:v>
                </c:pt>
                <c:pt idx="1710" formatCode="0.0%">
                  <c:v>0.40026906057001099</c:v>
                </c:pt>
                <c:pt idx="1711" formatCode="0.0%">
                  <c:v>0.40026906057001099</c:v>
                </c:pt>
                <c:pt idx="1712" formatCode="0.0%">
                  <c:v>0.39385866027538696</c:v>
                </c:pt>
                <c:pt idx="1713" formatCode="0.0%">
                  <c:v>0.39457984070018115</c:v>
                </c:pt>
                <c:pt idx="1714" formatCode="0.0%">
                  <c:v>0.40155114755670185</c:v>
                </c:pt>
                <c:pt idx="1715" formatCode="0.0%">
                  <c:v>0.40091008674394202</c:v>
                </c:pt>
                <c:pt idx="1716" formatCode="0.0%">
                  <c:v>0.40619867391477243</c:v>
                </c:pt>
                <c:pt idx="1717" formatCode="0.0%">
                  <c:v>0.40619867391477243</c:v>
                </c:pt>
                <c:pt idx="1718" formatCode="0.0%">
                  <c:v>0.40619867391477243</c:v>
                </c:pt>
                <c:pt idx="1719" formatCode="0.0%">
                  <c:v>0.3949804733991803</c:v>
                </c:pt>
                <c:pt idx="1720" formatCode="0.0%">
                  <c:v>0.38023659428814027</c:v>
                </c:pt>
                <c:pt idx="1721" formatCode="0.0%">
                  <c:v>0.3838424271344516</c:v>
                </c:pt>
                <c:pt idx="1722" formatCode="0.0%">
                  <c:v>0.39730425389763069</c:v>
                </c:pt>
                <c:pt idx="1723" formatCode="0.0%">
                  <c:v>0.3981055539344584</c:v>
                </c:pt>
                <c:pt idx="1724" formatCode="0.0%">
                  <c:v>0.3981055539344584</c:v>
                </c:pt>
                <c:pt idx="1725" formatCode="0.0%">
                  <c:v>0.3981055539344584</c:v>
                </c:pt>
                <c:pt idx="1726" formatCode="0.0%">
                  <c:v>0.39273684715159363</c:v>
                </c:pt>
                <c:pt idx="1727" formatCode="0.0%">
                  <c:v>0.40307359337949433</c:v>
                </c:pt>
                <c:pt idx="1728" formatCode="0.0%">
                  <c:v>0.39626256038587088</c:v>
                </c:pt>
                <c:pt idx="1729" formatCode="0.0%">
                  <c:v>0.38360203365952034</c:v>
                </c:pt>
                <c:pt idx="1730" formatCode="0.0%">
                  <c:v>0.39257660792752574</c:v>
                </c:pt>
                <c:pt idx="1731" formatCode="0.0%">
                  <c:v>0.39257660792752574</c:v>
                </c:pt>
                <c:pt idx="1732" formatCode="0.0%">
                  <c:v>0.39257660792752574</c:v>
                </c:pt>
                <c:pt idx="1733" formatCode="0.0%">
                  <c:v>0.3924964536766623</c:v>
                </c:pt>
                <c:pt idx="1734" formatCode="0.0%">
                  <c:v>0.40619039523458411</c:v>
                </c:pt>
                <c:pt idx="1735" formatCode="0.0%">
                  <c:v>0.40972438714904996</c:v>
                </c:pt>
                <c:pt idx="1736" formatCode="0.0%">
                  <c:v>0.42318617927339941</c:v>
                </c:pt>
                <c:pt idx="1737" formatCode="0.0%">
                  <c:v>0.42839464683219602</c:v>
                </c:pt>
                <c:pt idx="1738" formatCode="0.0%">
                  <c:v>0.42839464683219602</c:v>
                </c:pt>
                <c:pt idx="1739" formatCode="0.0%">
                  <c:v>0.42839464683219602</c:v>
                </c:pt>
                <c:pt idx="1740" formatCode="0.0%">
                  <c:v>0.43472489287595695</c:v>
                </c:pt>
                <c:pt idx="1741" formatCode="0.0%">
                  <c:v>0.44393982598006432</c:v>
                </c:pt>
                <c:pt idx="1742" formatCode="0.0%">
                  <c:v>0.43945253884606161</c:v>
                </c:pt>
                <c:pt idx="1743" formatCode="0.0%">
                  <c:v>0.44193659320740863</c:v>
                </c:pt>
                <c:pt idx="1744" formatCode="0.0%">
                  <c:v>0.44065450622071806</c:v>
                </c:pt>
                <c:pt idx="1745" formatCode="0.0%">
                  <c:v>0.44065450622071806</c:v>
                </c:pt>
                <c:pt idx="1746" formatCode="0.0%">
                  <c:v>0.44065450622071806</c:v>
                </c:pt>
                <c:pt idx="1747" formatCode="0.0%">
                  <c:v>0.42214452040046924</c:v>
                </c:pt>
                <c:pt idx="1748" formatCode="0.0%">
                  <c:v>0.41421163964422336</c:v>
                </c:pt>
                <c:pt idx="1749" formatCode="0.0%">
                  <c:v>0.42182397267467453</c:v>
                </c:pt>
                <c:pt idx="1750" formatCode="0.0%">
                  <c:v>0.41557384624294796</c:v>
                </c:pt>
                <c:pt idx="1751" formatCode="0.0%">
                  <c:v>0.40539737387794444</c:v>
                </c:pt>
                <c:pt idx="1752" formatCode="0.0%">
                  <c:v>0.40539737387794444</c:v>
                </c:pt>
                <c:pt idx="1753" formatCode="0.0%">
                  <c:v>0.40539737387794444</c:v>
                </c:pt>
                <c:pt idx="1754" formatCode="0.0%">
                  <c:v>0.4223047596245374</c:v>
                </c:pt>
                <c:pt idx="1755" formatCode="0.0%">
                  <c:v>0.43272166010330154</c:v>
                </c:pt>
                <c:pt idx="1756" formatCode="0.0%">
                  <c:v>0.43576658638771593</c:v>
                </c:pt>
                <c:pt idx="1757" formatCode="0.0%">
                  <c:v>0.42711255984550545</c:v>
                </c:pt>
                <c:pt idx="1758" formatCode="0.0%">
                  <c:v>0.43937241923402753</c:v>
                </c:pt>
                <c:pt idx="1759" formatCode="0.0%">
                  <c:v>0.43937241923402753</c:v>
                </c:pt>
                <c:pt idx="1760" formatCode="0.0%">
                  <c:v>0.43937241923402753</c:v>
                </c:pt>
                <c:pt idx="1761" formatCode="0.0%">
                  <c:v>0.44714502612737617</c:v>
                </c:pt>
                <c:pt idx="1762" formatCode="0.0%">
                  <c:v>0.44177631934451145</c:v>
                </c:pt>
                <c:pt idx="1763" formatCode="0.0%">
                  <c:v>0.42494905320995258</c:v>
                </c:pt>
                <c:pt idx="1764" formatCode="0.0%">
                  <c:v>0.42350672699919384</c:v>
                </c:pt>
                <c:pt idx="1765" formatCode="0.0%">
                  <c:v>0.41722556417646756</c:v>
                </c:pt>
                <c:pt idx="1766" formatCode="0.0%">
                  <c:v>0.41722556417646756</c:v>
                </c:pt>
                <c:pt idx="1767" formatCode="0.0%">
                  <c:v>0.41722556417646756</c:v>
                </c:pt>
                <c:pt idx="1768" formatCode="0.0%">
                  <c:v>0.41765723326646681</c:v>
                </c:pt>
                <c:pt idx="1769" formatCode="0.0%">
                  <c:v>0.41116671335980842</c:v>
                </c:pt>
                <c:pt idx="1770" formatCode="0.0%">
                  <c:v>0.40651918700173778</c:v>
                </c:pt>
                <c:pt idx="1771" formatCode="0.0%">
                  <c:v>0.3908938536030061</c:v>
                </c:pt>
                <c:pt idx="1772" formatCode="0.0%">
                  <c:v>0.36781646103672072</c:v>
                </c:pt>
                <c:pt idx="1773" formatCode="0.0%">
                  <c:v>0.36781646103672072</c:v>
                </c:pt>
                <c:pt idx="1774" formatCode="0.0%">
                  <c:v>0.36781646103672072</c:v>
                </c:pt>
                <c:pt idx="1775" formatCode="0.0%">
                  <c:v>0.38360203365952034</c:v>
                </c:pt>
                <c:pt idx="1776" formatCode="0.0%">
                  <c:v>0.3891310143052823</c:v>
                </c:pt>
                <c:pt idx="1777" formatCode="0.0%">
                  <c:v>0.40667946086463502</c:v>
                </c:pt>
                <c:pt idx="1778" formatCode="0.0%">
                  <c:v>0.3939388145262504</c:v>
                </c:pt>
                <c:pt idx="1779" formatCode="0.0%">
                  <c:v>0.37126205465896417</c:v>
                </c:pt>
                <c:pt idx="1780" formatCode="0.0%">
                  <c:v>0.37126205465896417</c:v>
                </c:pt>
                <c:pt idx="1781" formatCode="0.0%">
                  <c:v>0.37126205465896417</c:v>
                </c:pt>
                <c:pt idx="1782" formatCode="0.0%">
                  <c:v>0.3735858005185847</c:v>
                </c:pt>
                <c:pt idx="1783" formatCode="0.0%">
                  <c:v>0.34481918808246947</c:v>
                </c:pt>
                <c:pt idx="1784" formatCode="0.0%">
                  <c:v>0.36036440186916679</c:v>
                </c:pt>
                <c:pt idx="1785" formatCode="0.0%">
                  <c:v>0.37374607438148216</c:v>
                </c:pt>
                <c:pt idx="1786" formatCode="0.0%">
                  <c:v>0.34866544904254115</c:v>
                </c:pt>
                <c:pt idx="1787" formatCode="0.0%">
                  <c:v>0.34866544904254115</c:v>
                </c:pt>
                <c:pt idx="1788" formatCode="0.0%">
                  <c:v>0.34866544904254115</c:v>
                </c:pt>
                <c:pt idx="1789" formatCode="0.0%">
                  <c:v>0.36028424761830335</c:v>
                </c:pt>
                <c:pt idx="1790" formatCode="0.0%">
                  <c:v>0.35908231488247622</c:v>
                </c:pt>
                <c:pt idx="1791" formatCode="0.0%">
                  <c:v>0.37831348112751895</c:v>
                </c:pt>
                <c:pt idx="1792" formatCode="0.0%">
                  <c:v>0.37999620081320901</c:v>
                </c:pt>
                <c:pt idx="1793" formatCode="0.0%">
                  <c:v>0.38312128134848705</c:v>
                </c:pt>
                <c:pt idx="1794" formatCode="0.0%">
                  <c:v>0.38312128134848705</c:v>
                </c:pt>
                <c:pt idx="1795" formatCode="0.0%">
                  <c:v>0.38367810052853313</c:v>
                </c:pt>
                <c:pt idx="1796" formatCode="0.0%">
                  <c:v>0.37831348112751895</c:v>
                </c:pt>
                <c:pt idx="1797" formatCode="0.0%">
                  <c:v>0.37711151375286223</c:v>
                </c:pt>
                <c:pt idx="1798" formatCode="0.0%">
                  <c:v>0.37703139414082842</c:v>
                </c:pt>
                <c:pt idx="1799" formatCode="0.0%">
                  <c:v>0.384162940221417</c:v>
                </c:pt>
                <c:pt idx="1800" formatCode="0.0%">
                  <c:v>0.39209582097766316</c:v>
                </c:pt>
                <c:pt idx="1801" formatCode="0.0%">
                  <c:v>0.39209582097766316</c:v>
                </c:pt>
                <c:pt idx="1802" formatCode="0.0%">
                  <c:v>0.39209582097766316</c:v>
                </c:pt>
                <c:pt idx="1803" formatCode="0.0%">
                  <c:v>0.38961180125514489</c:v>
                </c:pt>
                <c:pt idx="1804" formatCode="0.0%">
                  <c:v>0.3879290469306258</c:v>
                </c:pt>
                <c:pt idx="1805" formatCode="0.0%">
                  <c:v>0.3865668403319012</c:v>
                </c:pt>
                <c:pt idx="1806" formatCode="0.0%">
                  <c:v>0.38993231434211029</c:v>
                </c:pt>
                <c:pt idx="1807" formatCode="0.0%">
                  <c:v>0.39858634088432099</c:v>
                </c:pt>
                <c:pt idx="1808" formatCode="0.0%">
                  <c:v>0.39858634088432099</c:v>
                </c:pt>
                <c:pt idx="1809" formatCode="0.0%">
                  <c:v>0.39858634088432099</c:v>
                </c:pt>
                <c:pt idx="1810" formatCode="0.0%">
                  <c:v>0.38544502720810753</c:v>
                </c:pt>
                <c:pt idx="1811" formatCode="0.0%">
                  <c:v>0.3751884005922409</c:v>
                </c:pt>
                <c:pt idx="1812" formatCode="0.0%">
                  <c:v>0.37582946140500101</c:v>
                </c:pt>
                <c:pt idx="1813" formatCode="0.0%">
                  <c:v>0.37566918754210377</c:v>
                </c:pt>
                <c:pt idx="1814" formatCode="0.0%">
                  <c:v>0.37959556811420953</c:v>
                </c:pt>
                <c:pt idx="1815" formatCode="0.0%">
                  <c:v>0.37959556811420953</c:v>
                </c:pt>
                <c:pt idx="1816" formatCode="0.0%">
                  <c:v>0.37959556811420953</c:v>
                </c:pt>
                <c:pt idx="1817" formatCode="0.0%">
                  <c:v>0.38151868127483085</c:v>
                </c:pt>
                <c:pt idx="1818" formatCode="0.0%">
                  <c:v>0.38744829461959229</c:v>
                </c:pt>
                <c:pt idx="1819" formatCode="0.0%">
                  <c:v>0.38744829461959229</c:v>
                </c:pt>
                <c:pt idx="1820" formatCode="0.0%">
                  <c:v>0.38744829461959229</c:v>
                </c:pt>
                <c:pt idx="1821" formatCode="0.0%">
                  <c:v>0.38744829461959229</c:v>
                </c:pt>
                <c:pt idx="1822" formatCode="0.0%">
                  <c:v>0.38744829461959229</c:v>
                </c:pt>
                <c:pt idx="1823" formatCode="0.0%">
                  <c:v>0.38744829461959229</c:v>
                </c:pt>
                <c:pt idx="1824" formatCode="0.0%">
                  <c:v>0.3924964536766623</c:v>
                </c:pt>
                <c:pt idx="1825" formatCode="0.0%">
                  <c:v>0.39650295386080248</c:v>
                </c:pt>
                <c:pt idx="1826" formatCode="0.0%">
                  <c:v>0.38897974653798767</c:v>
                </c:pt>
              </c:numCache>
            </c:numRef>
          </c:val>
          <c:smooth val="0"/>
          <c:extLst>
            <c:ext xmlns:c16="http://schemas.microsoft.com/office/drawing/2014/chart" uri="{C3380CC4-5D6E-409C-BE32-E72D297353CC}">
              <c16:uniqueId val="{00000006-3824-4B8F-B311-B8D727625BCA}"/>
            </c:ext>
          </c:extLst>
        </c:ser>
        <c:ser>
          <c:idx val="8"/>
          <c:order val="7"/>
          <c:tx>
            <c:strRef>
              <c:f>Sheet1!$J$1</c:f>
              <c:strCache>
                <c:ptCount val="1"/>
                <c:pt idx="0">
                  <c:v>Peer #8</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J$2:$J$2069</c:f>
              <c:numCache>
                <c:formatCode>0.00%</c:formatCode>
                <c:ptCount val="2068"/>
                <c:pt idx="0">
                  <c:v>0</c:v>
                </c:pt>
                <c:pt idx="1">
                  <c:v>0</c:v>
                </c:pt>
                <c:pt idx="2">
                  <c:v>0</c:v>
                </c:pt>
                <c:pt idx="3">
                  <c:v>0</c:v>
                </c:pt>
                <c:pt idx="4">
                  <c:v>-2.0933721382296257E-3</c:v>
                </c:pt>
                <c:pt idx="5">
                  <c:v>-2.7705947391140741E-3</c:v>
                </c:pt>
                <c:pt idx="6">
                  <c:v>1.631570625537691E-2</c:v>
                </c:pt>
                <c:pt idx="7">
                  <c:v>2.5181592933077042E-2</c:v>
                </c:pt>
                <c:pt idx="8">
                  <c:v>2.6166718931928727E-2</c:v>
                </c:pt>
                <c:pt idx="9">
                  <c:v>2.6166718931928727E-2</c:v>
                </c:pt>
                <c:pt idx="10">
                  <c:v>2.6166718931928727E-2</c:v>
                </c:pt>
                <c:pt idx="11">
                  <c:v>2.6905522212406652E-2</c:v>
                </c:pt>
                <c:pt idx="12">
                  <c:v>2.4258088832479673E-2</c:v>
                </c:pt>
                <c:pt idx="13">
                  <c:v>2.1795315054011156E-2</c:v>
                </c:pt>
                <c:pt idx="14">
                  <c:v>3.0045559810420598E-2</c:v>
                </c:pt>
                <c:pt idx="15">
                  <c:v>1.8347497714013058E-2</c:v>
                </c:pt>
                <c:pt idx="16">
                  <c:v>1.8347497714013058E-2</c:v>
                </c:pt>
                <c:pt idx="17">
                  <c:v>1.8347497714013058E-2</c:v>
                </c:pt>
                <c:pt idx="18">
                  <c:v>2.3272962833627845E-2</c:v>
                </c:pt>
                <c:pt idx="19">
                  <c:v>2.296514187298257E-2</c:v>
                </c:pt>
                <c:pt idx="20">
                  <c:v>4.1620460547640903E-2</c:v>
                </c:pt>
                <c:pt idx="21">
                  <c:v>3.9404009487546576E-2</c:v>
                </c:pt>
                <c:pt idx="22">
                  <c:v>3.3308676330299249E-2</c:v>
                </c:pt>
                <c:pt idx="23">
                  <c:v>3.3308676330299249E-2</c:v>
                </c:pt>
                <c:pt idx="24">
                  <c:v>3.3308676330299249E-2</c:v>
                </c:pt>
                <c:pt idx="25">
                  <c:v>2.801376835178445E-2</c:v>
                </c:pt>
                <c:pt idx="26">
                  <c:v>3.4724784648983299E-2</c:v>
                </c:pt>
                <c:pt idx="27">
                  <c:v>2.0994931093939895E-2</c:v>
                </c:pt>
                <c:pt idx="28">
                  <c:v>2.1241212593652959E-2</c:v>
                </c:pt>
                <c:pt idx="29">
                  <c:v>1.0158833637197376E-2</c:v>
                </c:pt>
                <c:pt idx="30">
                  <c:v>1.0158833637197376E-2</c:v>
                </c:pt>
                <c:pt idx="31">
                  <c:v>-9.8512599885182796E-4</c:v>
                </c:pt>
                <c:pt idx="32">
                  <c:v>1.3114129196430468E-2</c:v>
                </c:pt>
                <c:pt idx="33">
                  <c:v>3.9157727987833651E-2</c:v>
                </c:pt>
                <c:pt idx="34">
                  <c:v>4.4391055286754834E-2</c:v>
                </c:pt>
                <c:pt idx="35">
                  <c:v>5.6827961882301284E-2</c:v>
                </c:pt>
                <c:pt idx="36">
                  <c:v>6.0829922901318979E-2</c:v>
                </c:pt>
                <c:pt idx="37">
                  <c:v>6.0829922901318979E-2</c:v>
                </c:pt>
                <c:pt idx="38">
                  <c:v>6.0829922901318979E-2</c:v>
                </c:pt>
                <c:pt idx="39">
                  <c:v>6.3169535320600267E-2</c:v>
                </c:pt>
                <c:pt idx="40">
                  <c:v>6.002953894124758E-2</c:v>
                </c:pt>
                <c:pt idx="41">
                  <c:v>6.2184450540409698E-2</c:v>
                </c:pt>
                <c:pt idx="42">
                  <c:v>6.409308063985876E-2</c:v>
                </c:pt>
                <c:pt idx="43">
                  <c:v>6.8587604658302007E-2</c:v>
                </c:pt>
                <c:pt idx="44">
                  <c:v>6.8587604658302007E-2</c:v>
                </c:pt>
                <c:pt idx="45">
                  <c:v>6.8587604658302007E-2</c:v>
                </c:pt>
                <c:pt idx="46">
                  <c:v>7.9054300474805925E-2</c:v>
                </c:pt>
                <c:pt idx="47">
                  <c:v>7.9054300474805925E-2</c:v>
                </c:pt>
                <c:pt idx="48">
                  <c:v>8.3856645453894887E-2</c:v>
                </c:pt>
                <c:pt idx="49">
                  <c:v>6.9695850797680092E-2</c:v>
                </c:pt>
                <c:pt idx="50">
                  <c:v>7.3451530316984731E-2</c:v>
                </c:pt>
                <c:pt idx="51">
                  <c:v>7.3451530316984731E-2</c:v>
                </c:pt>
                <c:pt idx="52">
                  <c:v>7.3451530316984731E-2</c:v>
                </c:pt>
                <c:pt idx="53">
                  <c:v>5.9844838121128133E-2</c:v>
                </c:pt>
                <c:pt idx="54">
                  <c:v>5.5227152743497501E-2</c:v>
                </c:pt>
                <c:pt idx="55">
                  <c:v>5.892129280186964E-2</c:v>
                </c:pt>
                <c:pt idx="56">
                  <c:v>5.454993014261305E-2</c:v>
                </c:pt>
                <c:pt idx="57">
                  <c:v>3.8665164988407524E-2</c:v>
                </c:pt>
                <c:pt idx="58">
                  <c:v>3.8665164988407524E-2</c:v>
                </c:pt>
                <c:pt idx="59">
                  <c:v>3.429380232915108E-2</c:v>
                </c:pt>
                <c:pt idx="60">
                  <c:v>6.409308063985876E-2</c:v>
                </c:pt>
                <c:pt idx="61">
                  <c:v>6.1938169040696635E-2</c:v>
                </c:pt>
                <c:pt idx="62">
                  <c:v>5.590441656304293E-2</c:v>
                </c:pt>
                <c:pt idx="63">
                  <c:v>5.1840874864431612E-2</c:v>
                </c:pt>
                <c:pt idx="64">
                  <c:v>5.4365229322493887E-2</c:v>
                </c:pt>
                <c:pt idx="65">
                  <c:v>5.4365229322493887E-2</c:v>
                </c:pt>
                <c:pt idx="66">
                  <c:v>5.4365229322493887E-2</c:v>
                </c:pt>
                <c:pt idx="67">
                  <c:v>7.6529987235405064E-2</c:v>
                </c:pt>
                <c:pt idx="68">
                  <c:v>7.7330371195476311E-2</c:v>
                </c:pt>
                <c:pt idx="69">
                  <c:v>8.0901349894661509E-2</c:v>
                </c:pt>
                <c:pt idx="70">
                  <c:v>8.7489204832673695E-2</c:v>
                </c:pt>
                <c:pt idx="71">
                  <c:v>8.5149592413391983E-2</c:v>
                </c:pt>
                <c:pt idx="72">
                  <c:v>8.5149592413391983E-2</c:v>
                </c:pt>
                <c:pt idx="73">
                  <c:v>8.5149592413391983E-2</c:v>
                </c:pt>
                <c:pt idx="74">
                  <c:v>7.9977804575403433E-2</c:v>
                </c:pt>
                <c:pt idx="75">
                  <c:v>9.0506081071500405E-2</c:v>
                </c:pt>
                <c:pt idx="76">
                  <c:v>8.4903310913679211E-2</c:v>
                </c:pt>
                <c:pt idx="77">
                  <c:v>9.5123725230469913E-2</c:v>
                </c:pt>
                <c:pt idx="78">
                  <c:v>8.5580574733224501E-2</c:v>
                </c:pt>
                <c:pt idx="79">
                  <c:v>8.5580574733224501E-2</c:v>
                </c:pt>
                <c:pt idx="80">
                  <c:v>8.5580574733224501E-2</c:v>
                </c:pt>
                <c:pt idx="81">
                  <c:v>8.3610363954181824E-2</c:v>
                </c:pt>
                <c:pt idx="82">
                  <c:v>8.5765275553343942E-2</c:v>
                </c:pt>
                <c:pt idx="83">
                  <c:v>8.2871560673704034E-2</c:v>
                </c:pt>
                <c:pt idx="84">
                  <c:v>7.6345245196624487E-2</c:v>
                </c:pt>
                <c:pt idx="85">
                  <c:v>8.8474289612864257E-2</c:v>
                </c:pt>
                <c:pt idx="86">
                  <c:v>8.8474289612864257E-2</c:v>
                </c:pt>
                <c:pt idx="87">
                  <c:v>8.8474289612864257E-2</c:v>
                </c:pt>
                <c:pt idx="88">
                  <c:v>9.161432721087806E-2</c:v>
                </c:pt>
                <c:pt idx="89">
                  <c:v>0.10208102302738183</c:v>
                </c:pt>
                <c:pt idx="90">
                  <c:v>0.10048021388857833</c:v>
                </c:pt>
                <c:pt idx="91">
                  <c:v>0.10048021388857833</c:v>
                </c:pt>
                <c:pt idx="92">
                  <c:v>0.10048021388857833</c:v>
                </c:pt>
                <c:pt idx="93">
                  <c:v>0.10048021388857833</c:v>
                </c:pt>
                <c:pt idx="94">
                  <c:v>0.10048021388857833</c:v>
                </c:pt>
                <c:pt idx="95">
                  <c:v>0.10048021388857833</c:v>
                </c:pt>
                <c:pt idx="96">
                  <c:v>0.12030535938220793</c:v>
                </c:pt>
                <c:pt idx="97">
                  <c:v>0.11851984942328485</c:v>
                </c:pt>
                <c:pt idx="98">
                  <c:v>0.11901241242271084</c:v>
                </c:pt>
                <c:pt idx="99">
                  <c:v>0.1237532179408673</c:v>
                </c:pt>
                <c:pt idx="100">
                  <c:v>0.1237532179408673</c:v>
                </c:pt>
                <c:pt idx="101">
                  <c:v>0.1237532179408673</c:v>
                </c:pt>
                <c:pt idx="102">
                  <c:v>0.12523086572048384</c:v>
                </c:pt>
                <c:pt idx="103">
                  <c:v>0.12578496818084234</c:v>
                </c:pt>
                <c:pt idx="104">
                  <c:v>0.12898654523978878</c:v>
                </c:pt>
                <c:pt idx="105">
                  <c:v>0.134466195257084</c:v>
                </c:pt>
                <c:pt idx="106">
                  <c:v>0.14025362501636379</c:v>
                </c:pt>
                <c:pt idx="107">
                  <c:v>0.14025362501636379</c:v>
                </c:pt>
                <c:pt idx="108">
                  <c:v>0.14025362501636379</c:v>
                </c:pt>
                <c:pt idx="109">
                  <c:v>0.13465089607720343</c:v>
                </c:pt>
                <c:pt idx="110">
                  <c:v>0.11642651850371635</c:v>
                </c:pt>
                <c:pt idx="111">
                  <c:v>0.11999753842156252</c:v>
                </c:pt>
                <c:pt idx="112">
                  <c:v>0.1243073204012255</c:v>
                </c:pt>
                <c:pt idx="113">
                  <c:v>0.12590812954002928</c:v>
                </c:pt>
                <c:pt idx="114">
                  <c:v>0.12590812954002928</c:v>
                </c:pt>
                <c:pt idx="115">
                  <c:v>0.12590812954002928</c:v>
                </c:pt>
                <c:pt idx="116">
                  <c:v>0.13120303751854423</c:v>
                </c:pt>
                <c:pt idx="117">
                  <c:v>0.12615441103974234</c:v>
                </c:pt>
                <c:pt idx="118">
                  <c:v>0.13348106925823217</c:v>
                </c:pt>
                <c:pt idx="119">
                  <c:v>0.13144931901825715</c:v>
                </c:pt>
                <c:pt idx="120">
                  <c:v>0.13729832945713041</c:v>
                </c:pt>
                <c:pt idx="121">
                  <c:v>0.13729832945713041</c:v>
                </c:pt>
                <c:pt idx="122">
                  <c:v>0.13729832945713041</c:v>
                </c:pt>
                <c:pt idx="123">
                  <c:v>0.13563598085739442</c:v>
                </c:pt>
                <c:pt idx="124">
                  <c:v>0.12110574334227935</c:v>
                </c:pt>
                <c:pt idx="125">
                  <c:v>0.13748303027724987</c:v>
                </c:pt>
                <c:pt idx="126">
                  <c:v>0.13157243915878311</c:v>
                </c:pt>
                <c:pt idx="127">
                  <c:v>0.14400934575432969</c:v>
                </c:pt>
                <c:pt idx="128">
                  <c:v>0.14400934575432969</c:v>
                </c:pt>
                <c:pt idx="129">
                  <c:v>0.14400934575432969</c:v>
                </c:pt>
                <c:pt idx="130">
                  <c:v>0.13852973695569532</c:v>
                </c:pt>
                <c:pt idx="131">
                  <c:v>0.11501045140369313</c:v>
                </c:pt>
                <c:pt idx="132">
                  <c:v>0.12135202484199241</c:v>
                </c:pt>
                <c:pt idx="133">
                  <c:v>0.12135202484199241</c:v>
                </c:pt>
                <c:pt idx="134">
                  <c:v>0.12135202484199241</c:v>
                </c:pt>
                <c:pt idx="135">
                  <c:v>0.12135202484199241</c:v>
                </c:pt>
                <c:pt idx="136">
                  <c:v>0.12135202484199241</c:v>
                </c:pt>
                <c:pt idx="137">
                  <c:v>0.13034107287887933</c:v>
                </c:pt>
                <c:pt idx="138">
                  <c:v>0.12904812591938225</c:v>
                </c:pt>
                <c:pt idx="139">
                  <c:v>0.10786845278666178</c:v>
                </c:pt>
                <c:pt idx="140">
                  <c:v>0.12529244640007747</c:v>
                </c:pt>
                <c:pt idx="141">
                  <c:v>0.1361901245364136</c:v>
                </c:pt>
                <c:pt idx="142">
                  <c:v>0.1361901245364136</c:v>
                </c:pt>
                <c:pt idx="143">
                  <c:v>0.1361901245364136</c:v>
                </c:pt>
                <c:pt idx="144">
                  <c:v>0.1361901245364136</c:v>
                </c:pt>
                <c:pt idx="145">
                  <c:v>0.14203913497528675</c:v>
                </c:pt>
                <c:pt idx="146">
                  <c:v>0.14179285347557397</c:v>
                </c:pt>
                <c:pt idx="147">
                  <c:v>0.14807288745294073</c:v>
                </c:pt>
                <c:pt idx="148">
                  <c:v>0.15244425011219717</c:v>
                </c:pt>
                <c:pt idx="149">
                  <c:v>0.15244425011219717</c:v>
                </c:pt>
                <c:pt idx="150">
                  <c:v>0.15244425011219717</c:v>
                </c:pt>
                <c:pt idx="151">
                  <c:v>0.14733404295380198</c:v>
                </c:pt>
                <c:pt idx="152">
                  <c:v>0.15047408055181563</c:v>
                </c:pt>
                <c:pt idx="153">
                  <c:v>0.15503014403119139</c:v>
                </c:pt>
                <c:pt idx="154">
                  <c:v>0.15447604157083333</c:v>
                </c:pt>
                <c:pt idx="155">
                  <c:v>0.15644625234987572</c:v>
                </c:pt>
                <c:pt idx="156">
                  <c:v>0.15644625234987572</c:v>
                </c:pt>
                <c:pt idx="157">
                  <c:v>0.15644625234987572</c:v>
                </c:pt>
                <c:pt idx="158">
                  <c:v>0.15767761862977964</c:v>
                </c:pt>
                <c:pt idx="159">
                  <c:v>0.15453758103176568</c:v>
                </c:pt>
                <c:pt idx="160">
                  <c:v>0.15299839379121649</c:v>
                </c:pt>
                <c:pt idx="161">
                  <c:v>0.15207484847195829</c:v>
                </c:pt>
                <c:pt idx="162">
                  <c:v>0.16087919568872594</c:v>
                </c:pt>
                <c:pt idx="163">
                  <c:v>0.16087919568872594</c:v>
                </c:pt>
                <c:pt idx="164">
                  <c:v>0.16087919568872594</c:v>
                </c:pt>
                <c:pt idx="165">
                  <c:v>0.1610023158292519</c:v>
                </c:pt>
                <c:pt idx="166">
                  <c:v>0.1608176150091323</c:v>
                </c:pt>
                <c:pt idx="167">
                  <c:v>0.16069449486860649</c:v>
                </c:pt>
                <c:pt idx="168">
                  <c:v>0.17073016714661662</c:v>
                </c:pt>
                <c:pt idx="169">
                  <c:v>0.16284936524910748</c:v>
                </c:pt>
                <c:pt idx="170">
                  <c:v>0.16284936524910748</c:v>
                </c:pt>
                <c:pt idx="171">
                  <c:v>0.16284936524910748</c:v>
                </c:pt>
                <c:pt idx="172">
                  <c:v>0.16949880086671285</c:v>
                </c:pt>
                <c:pt idx="173">
                  <c:v>0.17306982078455932</c:v>
                </c:pt>
                <c:pt idx="174">
                  <c:v>0.17417802570527585</c:v>
                </c:pt>
                <c:pt idx="175">
                  <c:v>0.18187412678266582</c:v>
                </c:pt>
                <c:pt idx="176">
                  <c:v>0.18476788288096671</c:v>
                </c:pt>
                <c:pt idx="177">
                  <c:v>0.18476788288096671</c:v>
                </c:pt>
                <c:pt idx="178">
                  <c:v>0.18476788288096671</c:v>
                </c:pt>
                <c:pt idx="179">
                  <c:v>0.18606082984046396</c:v>
                </c:pt>
                <c:pt idx="180">
                  <c:v>0.19240240327876321</c:v>
                </c:pt>
                <c:pt idx="181">
                  <c:v>0.18815416076003261</c:v>
                </c:pt>
                <c:pt idx="182">
                  <c:v>0.19338748805895392</c:v>
                </c:pt>
                <c:pt idx="183">
                  <c:v>0.19702004743773258</c:v>
                </c:pt>
                <c:pt idx="184">
                  <c:v>0.19702004743773258</c:v>
                </c:pt>
                <c:pt idx="185">
                  <c:v>0.19702004743773258</c:v>
                </c:pt>
                <c:pt idx="186">
                  <c:v>0.19892867753718163</c:v>
                </c:pt>
                <c:pt idx="187">
                  <c:v>0.18920082621981663</c:v>
                </c:pt>
                <c:pt idx="188">
                  <c:v>0.19603496265754175</c:v>
                </c:pt>
                <c:pt idx="189">
                  <c:v>0.17036076550637788</c:v>
                </c:pt>
                <c:pt idx="190">
                  <c:v>0.19264868477847613</c:v>
                </c:pt>
                <c:pt idx="191">
                  <c:v>0.19264868477847613</c:v>
                </c:pt>
                <c:pt idx="192">
                  <c:v>0.19264868477847613</c:v>
                </c:pt>
                <c:pt idx="193">
                  <c:v>0.19775889193687163</c:v>
                </c:pt>
                <c:pt idx="194">
                  <c:v>0.2038541838754577</c:v>
                </c:pt>
                <c:pt idx="195">
                  <c:v>0.20520871151454842</c:v>
                </c:pt>
                <c:pt idx="196">
                  <c:v>0.19548081897852243</c:v>
                </c:pt>
                <c:pt idx="197">
                  <c:v>0.18809258008043897</c:v>
                </c:pt>
                <c:pt idx="198">
                  <c:v>0.18809258008043897</c:v>
                </c:pt>
                <c:pt idx="199">
                  <c:v>0.18809258008043897</c:v>
                </c:pt>
                <c:pt idx="200">
                  <c:v>0.1594015479091091</c:v>
                </c:pt>
                <c:pt idx="201">
                  <c:v>0.17928823286367135</c:v>
                </c:pt>
                <c:pt idx="202">
                  <c:v>0.18747689694048716</c:v>
                </c:pt>
                <c:pt idx="203">
                  <c:v>0.19400317119890559</c:v>
                </c:pt>
                <c:pt idx="204">
                  <c:v>0.20674789875509744</c:v>
                </c:pt>
                <c:pt idx="205">
                  <c:v>0.20674789875509744</c:v>
                </c:pt>
                <c:pt idx="206">
                  <c:v>0.20674789875509744</c:v>
                </c:pt>
                <c:pt idx="207">
                  <c:v>0.20274593773607991</c:v>
                </c:pt>
                <c:pt idx="208">
                  <c:v>0.19037061182012693</c:v>
                </c:pt>
                <c:pt idx="209">
                  <c:v>0.19960594135672707</c:v>
                </c:pt>
                <c:pt idx="210">
                  <c:v>0.2030537999153863</c:v>
                </c:pt>
                <c:pt idx="211">
                  <c:v>0.19240240327876321</c:v>
                </c:pt>
                <c:pt idx="212">
                  <c:v>0.19141727727991126</c:v>
                </c:pt>
                <c:pt idx="213">
                  <c:v>0.19141727727991126</c:v>
                </c:pt>
                <c:pt idx="214">
                  <c:v>0.19541927951758992</c:v>
                </c:pt>
                <c:pt idx="215">
                  <c:v>0.19424945269861865</c:v>
                </c:pt>
                <c:pt idx="216">
                  <c:v>0.20126828995646306</c:v>
                </c:pt>
                <c:pt idx="217">
                  <c:v>0.20754832393382983</c:v>
                </c:pt>
                <c:pt idx="218">
                  <c:v>0.21770715757102693</c:v>
                </c:pt>
                <c:pt idx="219">
                  <c:v>0.21770715757102693</c:v>
                </c:pt>
                <c:pt idx="220">
                  <c:v>0.21770715757102693</c:v>
                </c:pt>
                <c:pt idx="221">
                  <c:v>0.19264868477847613</c:v>
                </c:pt>
                <c:pt idx="222">
                  <c:v>0.22090873462997337</c:v>
                </c:pt>
                <c:pt idx="223">
                  <c:v>0.22220168158947076</c:v>
                </c:pt>
                <c:pt idx="224">
                  <c:v>0.22718876860734</c:v>
                </c:pt>
                <c:pt idx="225">
                  <c:v>0.22411031168891982</c:v>
                </c:pt>
                <c:pt idx="226">
                  <c:v>0.22411031168891982</c:v>
                </c:pt>
                <c:pt idx="227">
                  <c:v>0.22411031168891982</c:v>
                </c:pt>
                <c:pt idx="228">
                  <c:v>0.21352049573189022</c:v>
                </c:pt>
                <c:pt idx="229">
                  <c:v>0.21973894902966307</c:v>
                </c:pt>
                <c:pt idx="230">
                  <c:v>0.21690677361095595</c:v>
                </c:pt>
                <c:pt idx="231">
                  <c:v>0.20323850073550573</c:v>
                </c:pt>
                <c:pt idx="232">
                  <c:v>0.2078561448944754</c:v>
                </c:pt>
                <c:pt idx="233">
                  <c:v>0.2078561448944754</c:v>
                </c:pt>
                <c:pt idx="234">
                  <c:v>0.2078561448944754</c:v>
                </c:pt>
                <c:pt idx="235">
                  <c:v>0.22066245313026059</c:v>
                </c:pt>
                <c:pt idx="236">
                  <c:v>0.22411031168891982</c:v>
                </c:pt>
                <c:pt idx="237">
                  <c:v>0.2287895365274828</c:v>
                </c:pt>
                <c:pt idx="238">
                  <c:v>0.22140129762939936</c:v>
                </c:pt>
                <c:pt idx="239">
                  <c:v>0.22675778628750762</c:v>
                </c:pt>
                <c:pt idx="240">
                  <c:v>0.22675778628750762</c:v>
                </c:pt>
                <c:pt idx="241">
                  <c:v>0.22675778628750762</c:v>
                </c:pt>
                <c:pt idx="242">
                  <c:v>0.2303903456662863</c:v>
                </c:pt>
                <c:pt idx="243">
                  <c:v>0.22374091004868091</c:v>
                </c:pt>
                <c:pt idx="244">
                  <c:v>0.22497227632858469</c:v>
                </c:pt>
                <c:pt idx="245">
                  <c:v>0.22651150478779455</c:v>
                </c:pt>
                <c:pt idx="246">
                  <c:v>0.22214010090987713</c:v>
                </c:pt>
                <c:pt idx="247">
                  <c:v>0.22214010090987713</c:v>
                </c:pt>
                <c:pt idx="248">
                  <c:v>0.22214010090987713</c:v>
                </c:pt>
                <c:pt idx="249">
                  <c:v>0.23143701112607062</c:v>
                </c:pt>
                <c:pt idx="250">
                  <c:v>0.22934363898784099</c:v>
                </c:pt>
                <c:pt idx="251">
                  <c:v>0.22177069926963824</c:v>
                </c:pt>
                <c:pt idx="252">
                  <c:v>0.22583424096824928</c:v>
                </c:pt>
                <c:pt idx="253">
                  <c:v>0.21986206917018919</c:v>
                </c:pt>
                <c:pt idx="254">
                  <c:v>0.21986206917018919</c:v>
                </c:pt>
                <c:pt idx="255">
                  <c:v>0.21986206917018919</c:v>
                </c:pt>
                <c:pt idx="256">
                  <c:v>0.22047775231014086</c:v>
                </c:pt>
                <c:pt idx="257">
                  <c:v>0.21653737197071693</c:v>
                </c:pt>
                <c:pt idx="258">
                  <c:v>0.21358203519282243</c:v>
                </c:pt>
                <c:pt idx="259">
                  <c:v>0.2148134426913873</c:v>
                </c:pt>
                <c:pt idx="260">
                  <c:v>0.21364361587241604</c:v>
                </c:pt>
                <c:pt idx="261">
                  <c:v>0.21364361587241604</c:v>
                </c:pt>
                <c:pt idx="262">
                  <c:v>0.21364361587241604</c:v>
                </c:pt>
                <c:pt idx="263">
                  <c:v>0.18987809003936193</c:v>
                </c:pt>
                <c:pt idx="264">
                  <c:v>0.19271022423940848</c:v>
                </c:pt>
                <c:pt idx="265">
                  <c:v>0.20483926865564839</c:v>
                </c:pt>
                <c:pt idx="266">
                  <c:v>0.21881540371040487</c:v>
                </c:pt>
                <c:pt idx="267">
                  <c:v>0.21561382665145842</c:v>
                </c:pt>
                <c:pt idx="268">
                  <c:v>0.21561382665145842</c:v>
                </c:pt>
                <c:pt idx="269">
                  <c:v>0.21561382665145842</c:v>
                </c:pt>
                <c:pt idx="270">
                  <c:v>0.2138898973721291</c:v>
                </c:pt>
                <c:pt idx="271">
                  <c:v>0.1898165093597686</c:v>
                </c:pt>
                <c:pt idx="272">
                  <c:v>0.1992980791774204</c:v>
                </c:pt>
                <c:pt idx="273">
                  <c:v>0.18876984389998427</c:v>
                </c:pt>
                <c:pt idx="274">
                  <c:v>0.18322865442175654</c:v>
                </c:pt>
                <c:pt idx="275">
                  <c:v>0.18322865442175654</c:v>
                </c:pt>
                <c:pt idx="276">
                  <c:v>0.18322865442175654</c:v>
                </c:pt>
                <c:pt idx="277">
                  <c:v>0.17325452160467875</c:v>
                </c:pt>
                <c:pt idx="278">
                  <c:v>0.19658906511790009</c:v>
                </c:pt>
                <c:pt idx="279">
                  <c:v>0.18864668254079731</c:v>
                </c:pt>
                <c:pt idx="280">
                  <c:v>0.2167836122517687</c:v>
                </c:pt>
                <c:pt idx="281">
                  <c:v>0.21124242277354099</c:v>
                </c:pt>
                <c:pt idx="282">
                  <c:v>0.21124242277354099</c:v>
                </c:pt>
                <c:pt idx="283">
                  <c:v>0.21124242277354099</c:v>
                </c:pt>
                <c:pt idx="284">
                  <c:v>0.21475186201179383</c:v>
                </c:pt>
                <c:pt idx="285">
                  <c:v>0.20083730763663085</c:v>
                </c:pt>
                <c:pt idx="286">
                  <c:v>0.19745102975756496</c:v>
                </c:pt>
                <c:pt idx="287">
                  <c:v>0.21961578767047626</c:v>
                </c:pt>
                <c:pt idx="288">
                  <c:v>0.22983620198726712</c:v>
                </c:pt>
                <c:pt idx="289">
                  <c:v>0.22983620198726712</c:v>
                </c:pt>
                <c:pt idx="290">
                  <c:v>0.22983620198726712</c:v>
                </c:pt>
                <c:pt idx="291">
                  <c:v>0.22989778266686045</c:v>
                </c:pt>
                <c:pt idx="292">
                  <c:v>0.23716290142441807</c:v>
                </c:pt>
                <c:pt idx="293">
                  <c:v>0.24024131712417726</c:v>
                </c:pt>
                <c:pt idx="294">
                  <c:v>0.23981033480434477</c:v>
                </c:pt>
                <c:pt idx="295">
                  <c:v>0.24645977042195041</c:v>
                </c:pt>
                <c:pt idx="296">
                  <c:v>0.24645977042195041</c:v>
                </c:pt>
                <c:pt idx="297">
                  <c:v>0.24645977042195041</c:v>
                </c:pt>
                <c:pt idx="298">
                  <c:v>0.24787583752197365</c:v>
                </c:pt>
                <c:pt idx="299">
                  <c:v>0.26031274411751992</c:v>
                </c:pt>
                <c:pt idx="300">
                  <c:v>0.25070801294068118</c:v>
                </c:pt>
                <c:pt idx="301">
                  <c:v>0.2489840836613513</c:v>
                </c:pt>
                <c:pt idx="302">
                  <c:v>0.2583425333384774</c:v>
                </c:pt>
                <c:pt idx="303">
                  <c:v>0.2583425333384774</c:v>
                </c:pt>
                <c:pt idx="304">
                  <c:v>0.2615441103974237</c:v>
                </c:pt>
                <c:pt idx="305">
                  <c:v>0.26259077585720791</c:v>
                </c:pt>
                <c:pt idx="306">
                  <c:v>0.26696217973512559</c:v>
                </c:pt>
                <c:pt idx="307">
                  <c:v>0.26388372281670525</c:v>
                </c:pt>
                <c:pt idx="308">
                  <c:v>0.2856790790893774</c:v>
                </c:pt>
                <c:pt idx="309">
                  <c:v>0.29405244398631253</c:v>
                </c:pt>
                <c:pt idx="310">
                  <c:v>0.29405244398631253</c:v>
                </c:pt>
                <c:pt idx="311">
                  <c:v>0.29405244398631253</c:v>
                </c:pt>
                <c:pt idx="312">
                  <c:v>0.29226693402738957</c:v>
                </c:pt>
                <c:pt idx="313">
                  <c:v>0.28943475860868206</c:v>
                </c:pt>
                <c:pt idx="314">
                  <c:v>0.29331359948717389</c:v>
                </c:pt>
                <c:pt idx="315">
                  <c:v>0.29620735558547467</c:v>
                </c:pt>
                <c:pt idx="316">
                  <c:v>0.30020931660449235</c:v>
                </c:pt>
                <c:pt idx="317">
                  <c:v>0.30020931660449235</c:v>
                </c:pt>
                <c:pt idx="318">
                  <c:v>0.30020931660449235</c:v>
                </c:pt>
                <c:pt idx="319">
                  <c:v>0.30765913618216928</c:v>
                </c:pt>
                <c:pt idx="320">
                  <c:v>0.31584780025898512</c:v>
                </c:pt>
                <c:pt idx="321">
                  <c:v>0.31960347977828973</c:v>
                </c:pt>
                <c:pt idx="322">
                  <c:v>0.312707762660971</c:v>
                </c:pt>
                <c:pt idx="323">
                  <c:v>0.31954189909869624</c:v>
                </c:pt>
                <c:pt idx="324">
                  <c:v>0.31954189909869624</c:v>
                </c:pt>
                <c:pt idx="325">
                  <c:v>0.31954189909869624</c:v>
                </c:pt>
                <c:pt idx="326">
                  <c:v>0.33234820733448145</c:v>
                </c:pt>
                <c:pt idx="327">
                  <c:v>0.31092229392070919</c:v>
                </c:pt>
                <c:pt idx="328">
                  <c:v>0.31344660716011019</c:v>
                </c:pt>
                <c:pt idx="329">
                  <c:v>0.31794113117855377</c:v>
                </c:pt>
                <c:pt idx="330">
                  <c:v>0.27588964709241909</c:v>
                </c:pt>
                <c:pt idx="331">
                  <c:v>0.27588964709241909</c:v>
                </c:pt>
                <c:pt idx="332">
                  <c:v>0.27588964709241909</c:v>
                </c:pt>
                <c:pt idx="333">
                  <c:v>0.28518651608995155</c:v>
                </c:pt>
                <c:pt idx="334">
                  <c:v>0.27034845761419118</c:v>
                </c:pt>
                <c:pt idx="335">
                  <c:v>0.28358574816980903</c:v>
                </c:pt>
                <c:pt idx="336">
                  <c:v>0.26505354963567657</c:v>
                </c:pt>
                <c:pt idx="337">
                  <c:v>0.25821941319795144</c:v>
                </c:pt>
                <c:pt idx="338">
                  <c:v>0.25821941319795144</c:v>
                </c:pt>
                <c:pt idx="339">
                  <c:v>0.25821941319795144</c:v>
                </c:pt>
                <c:pt idx="340">
                  <c:v>0.27749045623122287</c:v>
                </c:pt>
                <c:pt idx="341">
                  <c:v>0.3138160088003491</c:v>
                </c:pt>
                <c:pt idx="342">
                  <c:v>0.29891636964499496</c:v>
                </c:pt>
                <c:pt idx="343">
                  <c:v>0.30556580526260063</c:v>
                </c:pt>
                <c:pt idx="344">
                  <c:v>0.30341089366343882</c:v>
                </c:pt>
                <c:pt idx="345">
                  <c:v>0.30341089366343882</c:v>
                </c:pt>
                <c:pt idx="346">
                  <c:v>0.30341089366343882</c:v>
                </c:pt>
                <c:pt idx="347">
                  <c:v>0.30131756274387017</c:v>
                </c:pt>
                <c:pt idx="348">
                  <c:v>0.28487869512930641</c:v>
                </c:pt>
                <c:pt idx="349">
                  <c:v>0.28709514618940035</c:v>
                </c:pt>
                <c:pt idx="350">
                  <c:v>0.30698187236262386</c:v>
                </c:pt>
                <c:pt idx="351">
                  <c:v>0.29251321552710263</c:v>
                </c:pt>
                <c:pt idx="352">
                  <c:v>0.29251321552710263</c:v>
                </c:pt>
                <c:pt idx="353">
                  <c:v>0.29251321552710263</c:v>
                </c:pt>
                <c:pt idx="354">
                  <c:v>0.26714688055524505</c:v>
                </c:pt>
                <c:pt idx="355">
                  <c:v>0.28149241725024043</c:v>
                </c:pt>
                <c:pt idx="356">
                  <c:v>0.29651517654612036</c:v>
                </c:pt>
                <c:pt idx="357">
                  <c:v>0.3112301148813546</c:v>
                </c:pt>
                <c:pt idx="358">
                  <c:v>0.3112301148813546</c:v>
                </c:pt>
                <c:pt idx="359">
                  <c:v>0.3112301148813546</c:v>
                </c:pt>
                <c:pt idx="360">
                  <c:v>0.3112301148813546</c:v>
                </c:pt>
                <c:pt idx="361">
                  <c:v>0.32015758223864793</c:v>
                </c:pt>
                <c:pt idx="362">
                  <c:v>0.32859252781517684</c:v>
                </c:pt>
                <c:pt idx="363">
                  <c:v>0.31861839499809891</c:v>
                </c:pt>
                <c:pt idx="364">
                  <c:v>0.32323603915706828</c:v>
                </c:pt>
                <c:pt idx="365">
                  <c:v>0.31252306184085171</c:v>
                </c:pt>
                <c:pt idx="366">
                  <c:v>0.31252306184085171</c:v>
                </c:pt>
                <c:pt idx="367">
                  <c:v>0.31252306184085171</c:v>
                </c:pt>
                <c:pt idx="368">
                  <c:v>0.32471368693668523</c:v>
                </c:pt>
                <c:pt idx="369">
                  <c:v>0.32649919689560847</c:v>
                </c:pt>
                <c:pt idx="370">
                  <c:v>0.32083484605819335</c:v>
                </c:pt>
                <c:pt idx="371">
                  <c:v>0.30217952738353487</c:v>
                </c:pt>
                <c:pt idx="372">
                  <c:v>0.28580224044856434</c:v>
                </c:pt>
                <c:pt idx="373">
                  <c:v>0.28580224044856434</c:v>
                </c:pt>
                <c:pt idx="374">
                  <c:v>0.28580224044856434</c:v>
                </c:pt>
                <c:pt idx="375">
                  <c:v>0.26930179215440719</c:v>
                </c:pt>
                <c:pt idx="376">
                  <c:v>0.28364732884940252</c:v>
                </c:pt>
                <c:pt idx="377">
                  <c:v>0.30236422820365449</c:v>
                </c:pt>
                <c:pt idx="378">
                  <c:v>0.29620735558547467</c:v>
                </c:pt>
                <c:pt idx="379">
                  <c:v>0.28136925589105344</c:v>
                </c:pt>
                <c:pt idx="380">
                  <c:v>0.28136925589105344</c:v>
                </c:pt>
                <c:pt idx="381">
                  <c:v>0.28136925589105344</c:v>
                </c:pt>
                <c:pt idx="382">
                  <c:v>0.29275949702681542</c:v>
                </c:pt>
                <c:pt idx="383">
                  <c:v>0.27742887555162937</c:v>
                </c:pt>
                <c:pt idx="384">
                  <c:v>0.27398101699297017</c:v>
                </c:pt>
                <c:pt idx="385">
                  <c:v>0.28487869512930641</c:v>
                </c:pt>
                <c:pt idx="386">
                  <c:v>0.25446373367864666</c:v>
                </c:pt>
                <c:pt idx="387">
                  <c:v>0.25446373367864666</c:v>
                </c:pt>
                <c:pt idx="388">
                  <c:v>0.25446373367864666</c:v>
                </c:pt>
                <c:pt idx="389">
                  <c:v>0.20656319793497802</c:v>
                </c:pt>
                <c:pt idx="390">
                  <c:v>0.21401301751265492</c:v>
                </c:pt>
                <c:pt idx="391">
                  <c:v>0.23248367658585509</c:v>
                </c:pt>
                <c:pt idx="392">
                  <c:v>0.2441817386822622</c:v>
                </c:pt>
                <c:pt idx="393">
                  <c:v>0.22121659680927991</c:v>
                </c:pt>
                <c:pt idx="394">
                  <c:v>0.22121659680927991</c:v>
                </c:pt>
                <c:pt idx="395">
                  <c:v>0.22121659680927991</c:v>
                </c:pt>
                <c:pt idx="396">
                  <c:v>0.25791155101864488</c:v>
                </c:pt>
                <c:pt idx="397">
                  <c:v>0.25711116705857379</c:v>
                </c:pt>
                <c:pt idx="398">
                  <c:v>0.26930179215440719</c:v>
                </c:pt>
                <c:pt idx="399">
                  <c:v>0.24067229944400978</c:v>
                </c:pt>
                <c:pt idx="400">
                  <c:v>0.22318676636966145</c:v>
                </c:pt>
                <c:pt idx="401">
                  <c:v>0.22318676636966145</c:v>
                </c:pt>
                <c:pt idx="402">
                  <c:v>0.22318676636966145</c:v>
                </c:pt>
                <c:pt idx="403">
                  <c:v>0.2386405492040346</c:v>
                </c:pt>
                <c:pt idx="404">
                  <c:v>0.23470012764594927</c:v>
                </c:pt>
                <c:pt idx="405">
                  <c:v>0.26080530711694577</c:v>
                </c:pt>
                <c:pt idx="406">
                  <c:v>0.24399703786214302</c:v>
                </c:pt>
                <c:pt idx="407">
                  <c:v>0.24462549878701709</c:v>
                </c:pt>
                <c:pt idx="408">
                  <c:v>0.24462549878701709</c:v>
                </c:pt>
                <c:pt idx="409">
                  <c:v>0.24462549878701709</c:v>
                </c:pt>
                <c:pt idx="410">
                  <c:v>0.22616390781924595</c:v>
                </c:pt>
                <c:pt idx="411">
                  <c:v>0.24493974985878481</c:v>
                </c:pt>
                <c:pt idx="412">
                  <c:v>0.23865493451673742</c:v>
                </c:pt>
                <c:pt idx="413">
                  <c:v>0.2326058486971769</c:v>
                </c:pt>
                <c:pt idx="414">
                  <c:v>0.22302152075755274</c:v>
                </c:pt>
                <c:pt idx="415">
                  <c:v>0.22302152075755274</c:v>
                </c:pt>
                <c:pt idx="416">
                  <c:v>0.22302152075755274</c:v>
                </c:pt>
                <c:pt idx="417">
                  <c:v>0.20974486638064208</c:v>
                </c:pt>
                <c:pt idx="418">
                  <c:v>0.20848790331223271</c:v>
                </c:pt>
                <c:pt idx="419">
                  <c:v>0.20283159011372079</c:v>
                </c:pt>
                <c:pt idx="420">
                  <c:v>0.1828773889923751</c:v>
                </c:pt>
                <c:pt idx="421">
                  <c:v>0.21320150451410286</c:v>
                </c:pt>
                <c:pt idx="422">
                  <c:v>0.21320150451410286</c:v>
                </c:pt>
                <c:pt idx="423">
                  <c:v>0.21320150451410286</c:v>
                </c:pt>
                <c:pt idx="424">
                  <c:v>0.21147320605670303</c:v>
                </c:pt>
                <c:pt idx="425">
                  <c:v>0.20793800515530036</c:v>
                </c:pt>
                <c:pt idx="426">
                  <c:v>0.21343719281792844</c:v>
                </c:pt>
                <c:pt idx="427">
                  <c:v>0.20825225622706797</c:v>
                </c:pt>
                <c:pt idx="428" formatCode="0.0%">
                  <c:v>0.19277592678510616</c:v>
                </c:pt>
                <c:pt idx="429" formatCode="0.0%">
                  <c:v>0.19277592678510616</c:v>
                </c:pt>
                <c:pt idx="430" formatCode="0.0%">
                  <c:v>0.19277592678510616</c:v>
                </c:pt>
                <c:pt idx="431" formatCode="0.0%">
                  <c:v>0.17863512317949543</c:v>
                </c:pt>
                <c:pt idx="432" formatCode="0.0%">
                  <c:v>0.16661547308965496</c:v>
                </c:pt>
                <c:pt idx="433" formatCode="0.0%">
                  <c:v>0.18358441268519129</c:v>
                </c:pt>
                <c:pt idx="434" formatCode="0.0%">
                  <c:v>0.17070057214798992</c:v>
                </c:pt>
                <c:pt idx="435" formatCode="0.0%">
                  <c:v>0.1867267997468845</c:v>
                </c:pt>
                <c:pt idx="436" formatCode="0.0%">
                  <c:v>0.1867267997468845</c:v>
                </c:pt>
                <c:pt idx="437" formatCode="0.0%">
                  <c:v>0.1867267997468845</c:v>
                </c:pt>
                <c:pt idx="438" formatCode="0.0%">
                  <c:v>0.17219322352022545</c:v>
                </c:pt>
                <c:pt idx="439" formatCode="0.0%">
                  <c:v>0.17109338598769952</c:v>
                </c:pt>
                <c:pt idx="440" formatCode="0.0%">
                  <c:v>0.21053049406006125</c:v>
                </c:pt>
                <c:pt idx="441" formatCode="0.0%">
                  <c:v>0.20903784268782588</c:v>
                </c:pt>
                <c:pt idx="442" formatCode="0.0%">
                  <c:v>0.23048469518140663</c:v>
                </c:pt>
                <c:pt idx="443" formatCode="0.0%">
                  <c:v>0.23048469518140663</c:v>
                </c:pt>
                <c:pt idx="444" formatCode="0.0%">
                  <c:v>0.23048469518140663</c:v>
                </c:pt>
                <c:pt idx="445" formatCode="0.0%">
                  <c:v>0.23779078528803738</c:v>
                </c:pt>
                <c:pt idx="446" formatCode="0.0%">
                  <c:v>0.25303142642617388</c:v>
                </c:pt>
                <c:pt idx="447" formatCode="0.0%">
                  <c:v>0.24713942492383609</c:v>
                </c:pt>
                <c:pt idx="448" formatCode="0.0%">
                  <c:v>0.24871063906401303</c:v>
                </c:pt>
                <c:pt idx="449" formatCode="0.0%">
                  <c:v>0.24470406155495922</c:v>
                </c:pt>
                <c:pt idx="450" formatCode="0.0%">
                  <c:v>0.24470406155495922</c:v>
                </c:pt>
                <c:pt idx="451" formatCode="0.0%">
                  <c:v>0.24470406155495922</c:v>
                </c:pt>
                <c:pt idx="452" formatCode="0.0%">
                  <c:v>0.25460264056635085</c:v>
                </c:pt>
                <c:pt idx="453" formatCode="0.0%">
                  <c:v>0.26128022852944682</c:v>
                </c:pt>
                <c:pt idx="454" formatCode="0.0%">
                  <c:v>0.25688087839934409</c:v>
                </c:pt>
                <c:pt idx="455" formatCode="0.0%">
                  <c:v>0.23944056219615661</c:v>
                </c:pt>
                <c:pt idx="456" formatCode="0.0%">
                  <c:v>0.25083175136112273</c:v>
                </c:pt>
                <c:pt idx="457" formatCode="0.0%">
                  <c:v>0.25083175136112273</c:v>
                </c:pt>
                <c:pt idx="458" formatCode="0.0%">
                  <c:v>0.25083175136112273</c:v>
                </c:pt>
                <c:pt idx="459" formatCode="0.0%">
                  <c:v>0.26402980175143015</c:v>
                </c:pt>
                <c:pt idx="460" formatCode="0.0%">
                  <c:v>0.26387267621554655</c:v>
                </c:pt>
                <c:pt idx="461" formatCode="0.0%">
                  <c:v>0.23441270992251859</c:v>
                </c:pt>
                <c:pt idx="462" formatCode="0.0%">
                  <c:v>0.2385763717487957</c:v>
                </c:pt>
                <c:pt idx="463" formatCode="0.0%">
                  <c:v>0.25193158889364825</c:v>
                </c:pt>
                <c:pt idx="464" formatCode="0.0%">
                  <c:v>0.25193158889364825</c:v>
                </c:pt>
                <c:pt idx="465" formatCode="0.0%">
                  <c:v>0.25193158889364825</c:v>
                </c:pt>
                <c:pt idx="466" formatCode="0.0%">
                  <c:v>0.22875639672400666</c:v>
                </c:pt>
                <c:pt idx="467" formatCode="0.0%">
                  <c:v>0.22781368472736488</c:v>
                </c:pt>
                <c:pt idx="468" formatCode="0.0%">
                  <c:v>0.22537832135848773</c:v>
                </c:pt>
                <c:pt idx="469" formatCode="0.0%">
                  <c:v>0.22537832135848773</c:v>
                </c:pt>
                <c:pt idx="470" formatCode="0.0%">
                  <c:v>0.22537832135848773</c:v>
                </c:pt>
                <c:pt idx="471" formatCode="0.0%">
                  <c:v>0.22537832135848773</c:v>
                </c:pt>
                <c:pt idx="472" formatCode="0.0%">
                  <c:v>0.22537832135848773</c:v>
                </c:pt>
                <c:pt idx="473" formatCode="0.0%">
                  <c:v>0.22537832135848773</c:v>
                </c:pt>
                <c:pt idx="474" formatCode="0.0%">
                  <c:v>0.2329200585502835</c:v>
                </c:pt>
                <c:pt idx="475" formatCode="0.0%">
                  <c:v>0.23818359912774695</c:v>
                </c:pt>
                <c:pt idx="476" formatCode="0.0%">
                  <c:v>0.23598392406269567</c:v>
                </c:pt>
                <c:pt idx="477" formatCode="0.0%">
                  <c:v>0.20400999041418827</c:v>
                </c:pt>
                <c:pt idx="478" formatCode="0.0%">
                  <c:v>0.20400999041418827</c:v>
                </c:pt>
                <c:pt idx="479" formatCode="0.0%">
                  <c:v>0.20400999041418827</c:v>
                </c:pt>
                <c:pt idx="480" formatCode="0.0%">
                  <c:v>0.17863512317949543</c:v>
                </c:pt>
                <c:pt idx="481" formatCode="0.0%">
                  <c:v>0.18012777455173051</c:v>
                </c:pt>
                <c:pt idx="482" formatCode="0.0%">
                  <c:v>0.18939785141958737</c:v>
                </c:pt>
                <c:pt idx="483" formatCode="0.0%">
                  <c:v>0.20016057965967904</c:v>
                </c:pt>
                <c:pt idx="484" formatCode="0.0%">
                  <c:v>0.20950921929547747</c:v>
                </c:pt>
                <c:pt idx="485" formatCode="0.0%">
                  <c:v>0.19277592678510616</c:v>
                </c:pt>
                <c:pt idx="486" formatCode="0.0%">
                  <c:v>0.19277592678510616</c:v>
                </c:pt>
                <c:pt idx="487" formatCode="0.0%">
                  <c:v>0.1871196135865941</c:v>
                </c:pt>
                <c:pt idx="488" formatCode="0.0%">
                  <c:v>0.18971210249135481</c:v>
                </c:pt>
                <c:pt idx="489" formatCode="0.0%">
                  <c:v>0.18067771392732396</c:v>
                </c:pt>
                <c:pt idx="490" formatCode="0.0%">
                  <c:v>0.1828773889923751</c:v>
                </c:pt>
                <c:pt idx="491" formatCode="0.0%">
                  <c:v>0.16614409648200379</c:v>
                </c:pt>
                <c:pt idx="492" formatCode="0.0%">
                  <c:v>0.16614409648200379</c:v>
                </c:pt>
                <c:pt idx="493" formatCode="0.0%">
                  <c:v>0.16614409648200379</c:v>
                </c:pt>
                <c:pt idx="494" formatCode="0.0%">
                  <c:v>0.13401307851627323</c:v>
                </c:pt>
                <c:pt idx="495" formatCode="0.0%">
                  <c:v>0.13212765452298952</c:v>
                </c:pt>
                <c:pt idx="496" formatCode="0.0%">
                  <c:v>0.14131916862290425</c:v>
                </c:pt>
                <c:pt idx="497" formatCode="0.0%">
                  <c:v>0.13699834004208242</c:v>
                </c:pt>
                <c:pt idx="498" formatCode="0.0%">
                  <c:v>0.13699834004208242</c:v>
                </c:pt>
                <c:pt idx="499" formatCode="0.0%">
                  <c:v>0.13699834004208242</c:v>
                </c:pt>
                <c:pt idx="500" formatCode="0.0%">
                  <c:v>0.13699834004208242</c:v>
                </c:pt>
                <c:pt idx="501" formatCode="0.0%">
                  <c:v>0.15113914364769315</c:v>
                </c:pt>
                <c:pt idx="502" formatCode="0.0%">
                  <c:v>0.15797385714667272</c:v>
                </c:pt>
                <c:pt idx="503" formatCode="0.0%">
                  <c:v>0.15278892055581225</c:v>
                </c:pt>
                <c:pt idx="504" formatCode="0.0%">
                  <c:v>0.12285757765513282</c:v>
                </c:pt>
                <c:pt idx="505" formatCode="0.0%">
                  <c:v>0.12694267671346779</c:v>
                </c:pt>
                <c:pt idx="506" formatCode="0.0%">
                  <c:v>0.12694267671346779</c:v>
                </c:pt>
                <c:pt idx="507" formatCode="0.0%">
                  <c:v>0.12694267671346779</c:v>
                </c:pt>
                <c:pt idx="508" formatCode="0.0%">
                  <c:v>0.13566285542439219</c:v>
                </c:pt>
                <c:pt idx="509" formatCode="0.0%">
                  <c:v>0.11460877555186016</c:v>
                </c:pt>
                <c:pt idx="510" formatCode="0.0%">
                  <c:v>0.1341702040521571</c:v>
                </c:pt>
                <c:pt idx="511" formatCode="0.0%">
                  <c:v>0.1341702040521571</c:v>
                </c:pt>
                <c:pt idx="512" formatCode="0.0%">
                  <c:v>0.1341702040521571</c:v>
                </c:pt>
                <c:pt idx="513" formatCode="0.0%">
                  <c:v>0.1341702040521571</c:v>
                </c:pt>
                <c:pt idx="514" formatCode="0.0%">
                  <c:v>0.1341702040521571</c:v>
                </c:pt>
                <c:pt idx="515" formatCode="0.0%">
                  <c:v>0.17360731212451852</c:v>
                </c:pt>
                <c:pt idx="516" formatCode="0.0%">
                  <c:v>0.17227178628816703</c:v>
                </c:pt>
                <c:pt idx="517" formatCode="0.0%">
                  <c:v>0.17549273611780222</c:v>
                </c:pt>
                <c:pt idx="518" formatCode="0.0%">
                  <c:v>0.1704648838441645</c:v>
                </c:pt>
                <c:pt idx="519" formatCode="0.0%">
                  <c:v>0.17085769768387379</c:v>
                </c:pt>
                <c:pt idx="520" formatCode="0.0%">
                  <c:v>0.17085769768387379</c:v>
                </c:pt>
                <c:pt idx="521" formatCode="0.0%">
                  <c:v>0.17085769768387379</c:v>
                </c:pt>
                <c:pt idx="522" formatCode="0.0%">
                  <c:v>0.17085769768387379</c:v>
                </c:pt>
                <c:pt idx="523" formatCode="0.0%">
                  <c:v>0.1828773889923751</c:v>
                </c:pt>
                <c:pt idx="524" formatCode="0.0%">
                  <c:v>0.18091336101248842</c:v>
                </c:pt>
                <c:pt idx="525" formatCode="0.0%">
                  <c:v>0.1751784850460345</c:v>
                </c:pt>
                <c:pt idx="526" formatCode="0.0%">
                  <c:v>0.13919801510713398</c:v>
                </c:pt>
                <c:pt idx="527" formatCode="0.0%">
                  <c:v>0.13919801510713398</c:v>
                </c:pt>
                <c:pt idx="528" formatCode="0.0%">
                  <c:v>0.13919801510713398</c:v>
                </c:pt>
                <c:pt idx="529" formatCode="0.0%">
                  <c:v>0.10965948604616414</c:v>
                </c:pt>
                <c:pt idx="530" formatCode="0.0%">
                  <c:v>0.10581003407299391</c:v>
                </c:pt>
                <c:pt idx="531" formatCode="0.0%">
                  <c:v>0.11617994847337614</c:v>
                </c:pt>
                <c:pt idx="532" formatCode="0.0%">
                  <c:v>7.9885268681368873E-2</c:v>
                </c:pt>
                <c:pt idx="533" formatCode="0.0%">
                  <c:v>8.4206056043529431E-2</c:v>
                </c:pt>
                <c:pt idx="534" formatCode="0.0%">
                  <c:v>8.4206056043529431E-2</c:v>
                </c:pt>
                <c:pt idx="535" formatCode="0.0%">
                  <c:v>8.4206056043529431E-2</c:v>
                </c:pt>
                <c:pt idx="536" formatCode="0.0%">
                  <c:v>8.6327168340638985E-2</c:v>
                </c:pt>
                <c:pt idx="537" formatCode="0.0%">
                  <c:v>0.10557438698782917</c:v>
                </c:pt>
                <c:pt idx="538" formatCode="0.0%">
                  <c:v>0.10447454945530339</c:v>
                </c:pt>
                <c:pt idx="539" formatCode="0.0%">
                  <c:v>0.11382314787244098</c:v>
                </c:pt>
                <c:pt idx="540" formatCode="0.0%">
                  <c:v>0.13864811695020166</c:v>
                </c:pt>
                <c:pt idx="541" formatCode="0.0%">
                  <c:v>0.13864811695020166</c:v>
                </c:pt>
                <c:pt idx="542" formatCode="0.0%">
                  <c:v>0.13864811695020166</c:v>
                </c:pt>
                <c:pt idx="543" formatCode="0.0%">
                  <c:v>0.14359740645589752</c:v>
                </c:pt>
                <c:pt idx="544" formatCode="0.0%">
                  <c:v>0.14516857937741348</c:v>
                </c:pt>
                <c:pt idx="545" formatCode="0.0%">
                  <c:v>0.13613419081338266</c:v>
                </c:pt>
                <c:pt idx="546" formatCode="0.0%">
                  <c:v>0.12348603858000744</c:v>
                </c:pt>
                <c:pt idx="547" formatCode="0.0%">
                  <c:v>0.12175774012260732</c:v>
                </c:pt>
                <c:pt idx="548" formatCode="0.0%">
                  <c:v>0.12175774012260732</c:v>
                </c:pt>
                <c:pt idx="549" formatCode="0.0%">
                  <c:v>0.12175774012260732</c:v>
                </c:pt>
                <c:pt idx="550" formatCode="0.0%">
                  <c:v>0.13307036651963131</c:v>
                </c:pt>
                <c:pt idx="551" formatCode="0.0%">
                  <c:v>0.13094925422252218</c:v>
                </c:pt>
                <c:pt idx="552" formatCode="0.0%">
                  <c:v>0.15718827068591495</c:v>
                </c:pt>
                <c:pt idx="553" formatCode="0.0%">
                  <c:v>0.17784953671873724</c:v>
                </c:pt>
                <c:pt idx="554" formatCode="0.0%">
                  <c:v>0.1816204259239656</c:v>
                </c:pt>
                <c:pt idx="555" formatCode="0.0%">
                  <c:v>0.1816204259239656</c:v>
                </c:pt>
                <c:pt idx="556" formatCode="0.0%">
                  <c:v>0.1816204259239656</c:v>
                </c:pt>
                <c:pt idx="557" formatCode="0.0%">
                  <c:v>0.17533561058191835</c:v>
                </c:pt>
                <c:pt idx="558" formatCode="0.0%">
                  <c:v>0.17784953671873724</c:v>
                </c:pt>
                <c:pt idx="559" formatCode="0.0%">
                  <c:v>0.1595450712868498</c:v>
                </c:pt>
                <c:pt idx="560" formatCode="0.0%">
                  <c:v>0.14744681721040692</c:v>
                </c:pt>
                <c:pt idx="561" formatCode="0.0%">
                  <c:v>0.17093626045181595</c:v>
                </c:pt>
                <c:pt idx="562" formatCode="0.0%">
                  <c:v>0.17093626045181595</c:v>
                </c:pt>
                <c:pt idx="563" formatCode="0.0%">
                  <c:v>0.17093626045181595</c:v>
                </c:pt>
                <c:pt idx="564" formatCode="0.0%">
                  <c:v>0.16975786015134831</c:v>
                </c:pt>
                <c:pt idx="565" formatCode="0.0%">
                  <c:v>0.17227178628816703</c:v>
                </c:pt>
                <c:pt idx="566" formatCode="0.0%">
                  <c:v>0.18759099019424524</c:v>
                </c:pt>
                <c:pt idx="567" formatCode="0.0%">
                  <c:v>0.18625546435789403</c:v>
                </c:pt>
                <c:pt idx="568" formatCode="0.0%">
                  <c:v>0.19018343788034514</c:v>
                </c:pt>
                <c:pt idx="569" formatCode="0.0%">
                  <c:v>0.19018343788034514</c:v>
                </c:pt>
                <c:pt idx="570" formatCode="0.0%">
                  <c:v>0.19018343788034514</c:v>
                </c:pt>
                <c:pt idx="571" formatCode="0.0%">
                  <c:v>0.18279882622443311</c:v>
                </c:pt>
                <c:pt idx="572" formatCode="0.0%">
                  <c:v>0.18766951174352614</c:v>
                </c:pt>
                <c:pt idx="573" formatCode="0.0%">
                  <c:v>0.19803942614390849</c:v>
                </c:pt>
                <c:pt idx="574" formatCode="0.0%">
                  <c:v>0.20809513069118424</c:v>
                </c:pt>
                <c:pt idx="575" formatCode="0.0%">
                  <c:v>0.22082184569250146</c:v>
                </c:pt>
                <c:pt idx="576" formatCode="0.0%">
                  <c:v>0.22082184569250146</c:v>
                </c:pt>
                <c:pt idx="577" formatCode="0.0%">
                  <c:v>0.22537832135848773</c:v>
                </c:pt>
                <c:pt idx="578" formatCode="0.0%">
                  <c:v>0.22160743215325951</c:v>
                </c:pt>
                <c:pt idx="579" formatCode="0.0%">
                  <c:v>0.21909350601644051</c:v>
                </c:pt>
                <c:pt idx="580" formatCode="0.0%">
                  <c:v>0.22679240996278111</c:v>
                </c:pt>
                <c:pt idx="581" formatCode="0.0%">
                  <c:v>0.22899208502783239</c:v>
                </c:pt>
                <c:pt idx="582" formatCode="0.0%">
                  <c:v>0.23346999792587694</c:v>
                </c:pt>
                <c:pt idx="583" formatCode="0.0%">
                  <c:v>0.23346999792587694</c:v>
                </c:pt>
                <c:pt idx="584" formatCode="0.0%">
                  <c:v>0.23346999792587694</c:v>
                </c:pt>
                <c:pt idx="585" formatCode="0.0%">
                  <c:v>0.2331557468541095</c:v>
                </c:pt>
                <c:pt idx="586" formatCode="0.0%">
                  <c:v>0.21901494324849863</c:v>
                </c:pt>
                <c:pt idx="587" formatCode="0.0%">
                  <c:v>0.22388566998625264</c:v>
                </c:pt>
                <c:pt idx="588" formatCode="0.0%">
                  <c:v>0.23237016039335118</c:v>
                </c:pt>
                <c:pt idx="589" formatCode="0.0%">
                  <c:v>0.24030471142485665</c:v>
                </c:pt>
                <c:pt idx="590" formatCode="0.0%">
                  <c:v>0.24030471142485665</c:v>
                </c:pt>
                <c:pt idx="591" formatCode="0.0%">
                  <c:v>0.24030471142485665</c:v>
                </c:pt>
                <c:pt idx="592" formatCode="0.0%">
                  <c:v>0.25248148705058043</c:v>
                </c:pt>
                <c:pt idx="593" formatCode="0.0%">
                  <c:v>0.25585956241609936</c:v>
                </c:pt>
                <c:pt idx="594" formatCode="0.0%">
                  <c:v>0.2495747882927131</c:v>
                </c:pt>
                <c:pt idx="595" formatCode="0.0%">
                  <c:v>0.25499541318739927</c:v>
                </c:pt>
                <c:pt idx="596" formatCode="0.0%">
                  <c:v>0.25342424026588345</c:v>
                </c:pt>
                <c:pt idx="597" formatCode="0.0%">
                  <c:v>0.25342424026588345</c:v>
                </c:pt>
                <c:pt idx="598" formatCode="0.0%">
                  <c:v>0.25342424026588345</c:v>
                </c:pt>
                <c:pt idx="599" formatCode="0.0%">
                  <c:v>0.24281863756167538</c:v>
                </c:pt>
                <c:pt idx="600" formatCode="0.0%">
                  <c:v>0.23527685915121865</c:v>
                </c:pt>
                <c:pt idx="601" formatCode="0.0%">
                  <c:v>0.23362712346176068</c:v>
                </c:pt>
                <c:pt idx="602" formatCode="0.0%">
                  <c:v>0.2463538384630779</c:v>
                </c:pt>
                <c:pt idx="603" formatCode="0.0%">
                  <c:v>0.23064182071729022</c:v>
                </c:pt>
                <c:pt idx="604" formatCode="0.0%">
                  <c:v>0.23064182071729022</c:v>
                </c:pt>
                <c:pt idx="605" formatCode="0.0%">
                  <c:v>0.23064182071729022</c:v>
                </c:pt>
                <c:pt idx="606" formatCode="0.0%">
                  <c:v>0.20699529315865844</c:v>
                </c:pt>
                <c:pt idx="607" formatCode="0.0%">
                  <c:v>0.1958397510788572</c:v>
                </c:pt>
                <c:pt idx="608" formatCode="0.0%">
                  <c:v>0.17887081148332101</c:v>
                </c:pt>
                <c:pt idx="609" formatCode="0.0%">
                  <c:v>0.17376443766040239</c:v>
                </c:pt>
                <c:pt idx="610" formatCode="0.0%">
                  <c:v>0.18908360034781935</c:v>
                </c:pt>
                <c:pt idx="611" formatCode="0.0%">
                  <c:v>0.18908360034781935</c:v>
                </c:pt>
                <c:pt idx="612" formatCode="0.0%">
                  <c:v>0.18908360034781935</c:v>
                </c:pt>
                <c:pt idx="613" formatCode="0.0%">
                  <c:v>0.18130617485219802</c:v>
                </c:pt>
                <c:pt idx="614" formatCode="0.0%">
                  <c:v>0.18460568744977507</c:v>
                </c:pt>
                <c:pt idx="615" formatCode="0.0%">
                  <c:v>0.17297880998098322</c:v>
                </c:pt>
                <c:pt idx="616" formatCode="0.0%">
                  <c:v>0.19089050279182246</c:v>
                </c:pt>
                <c:pt idx="617" formatCode="0.0%">
                  <c:v>0.20283159011372079</c:v>
                </c:pt>
                <c:pt idx="618" formatCode="0.0%">
                  <c:v>0.20283159011372079</c:v>
                </c:pt>
                <c:pt idx="619" formatCode="0.0%">
                  <c:v>0.20283159011372079</c:v>
                </c:pt>
                <c:pt idx="620" formatCode="0.0%">
                  <c:v>0.20762375408353265</c:v>
                </c:pt>
                <c:pt idx="621" formatCode="0.0%">
                  <c:v>0.18539127391053298</c:v>
                </c:pt>
                <c:pt idx="622" formatCode="0.0%">
                  <c:v>0.18091336101248842</c:v>
                </c:pt>
                <c:pt idx="623" formatCode="0.0%">
                  <c:v>0.16653691032171339</c:v>
                </c:pt>
                <c:pt idx="624" formatCode="0.0%">
                  <c:v>0.14705404458935817</c:v>
                </c:pt>
                <c:pt idx="625" formatCode="0.0%">
                  <c:v>0.14705404458935817</c:v>
                </c:pt>
                <c:pt idx="626" formatCode="0.0%">
                  <c:v>0.14705404458935817</c:v>
                </c:pt>
                <c:pt idx="627" formatCode="0.0%">
                  <c:v>0.15200329287639305</c:v>
                </c:pt>
                <c:pt idx="628" formatCode="0.0%">
                  <c:v>0.14831100765776767</c:v>
                </c:pt>
                <c:pt idx="629" formatCode="0.0%">
                  <c:v>0.16033065774760785</c:v>
                </c:pt>
                <c:pt idx="630" formatCode="0.0%">
                  <c:v>0.13880524248608553</c:v>
                </c:pt>
                <c:pt idx="631" formatCode="0.0%">
                  <c:v>0.12874953793880947</c:v>
                </c:pt>
                <c:pt idx="632" formatCode="0.0%">
                  <c:v>0.12874953793880947</c:v>
                </c:pt>
                <c:pt idx="633" formatCode="0.0%">
                  <c:v>0.12874953793880947</c:v>
                </c:pt>
                <c:pt idx="634" formatCode="0.0%">
                  <c:v>0.13581993974161505</c:v>
                </c:pt>
                <c:pt idx="635" formatCode="0.0%">
                  <c:v>0.13856955418225966</c:v>
                </c:pt>
                <c:pt idx="636" formatCode="0.0%">
                  <c:v>0.12929947731440294</c:v>
                </c:pt>
                <c:pt idx="637" formatCode="0.0%">
                  <c:v>0.10392461007971023</c:v>
                </c:pt>
                <c:pt idx="638" formatCode="0.0%">
                  <c:v>9.5518682440553559E-2</c:v>
                </c:pt>
                <c:pt idx="639" formatCode="0.0%">
                  <c:v>9.5518682440553559E-2</c:v>
                </c:pt>
                <c:pt idx="640" formatCode="0.0%">
                  <c:v>9.5518682440553559E-2</c:v>
                </c:pt>
                <c:pt idx="641" formatCode="0.0%">
                  <c:v>0.11138782572222511</c:v>
                </c:pt>
                <c:pt idx="642" formatCode="0.0%">
                  <c:v>0.13589850250955693</c:v>
                </c:pt>
                <c:pt idx="643" formatCode="0.0%">
                  <c:v>0.13204909175504767</c:v>
                </c:pt>
                <c:pt idx="644" formatCode="0.0%">
                  <c:v>0.14336171815207166</c:v>
                </c:pt>
                <c:pt idx="645" formatCode="0.0%">
                  <c:v>0.11885100014607901</c:v>
                </c:pt>
                <c:pt idx="646" formatCode="0.0%">
                  <c:v>0.11885100014607901</c:v>
                </c:pt>
                <c:pt idx="647" formatCode="0.0%">
                  <c:v>0.11885100014607901</c:v>
                </c:pt>
                <c:pt idx="648" formatCode="0.0%">
                  <c:v>0.1102094254217576</c:v>
                </c:pt>
                <c:pt idx="649" formatCode="0.0%">
                  <c:v>9.716845934867252E-2</c:v>
                </c:pt>
                <c:pt idx="650" formatCode="0.0%">
                  <c:v>9.82682968811983E-2</c:v>
                </c:pt>
                <c:pt idx="651" formatCode="0.0%">
                  <c:v>8.5384456343996926E-2</c:v>
                </c:pt>
                <c:pt idx="652" formatCode="0.0%">
                  <c:v>0.10518157314811959</c:v>
                </c:pt>
                <c:pt idx="653" formatCode="0.0%">
                  <c:v>0.10518157314811959</c:v>
                </c:pt>
                <c:pt idx="654" formatCode="0.0%">
                  <c:v>0.10518157314811959</c:v>
                </c:pt>
                <c:pt idx="655" formatCode="0.0%">
                  <c:v>0.11366606355521824</c:v>
                </c:pt>
                <c:pt idx="656" formatCode="0.0%">
                  <c:v>0.12537146257329071</c:v>
                </c:pt>
                <c:pt idx="657" formatCode="0.0%">
                  <c:v>0.12152205181878159</c:v>
                </c:pt>
                <c:pt idx="658" formatCode="0.0%">
                  <c:v>0.12175774012260732</c:v>
                </c:pt>
                <c:pt idx="659" formatCode="0.0%">
                  <c:v>0.1102094254217576</c:v>
                </c:pt>
                <c:pt idx="660" formatCode="0.0%">
                  <c:v>0.1102094254217576</c:v>
                </c:pt>
                <c:pt idx="661" formatCode="0.0%">
                  <c:v>0.1102094254217576</c:v>
                </c:pt>
                <c:pt idx="662" formatCode="0.0%">
                  <c:v>0.12144348905083974</c:v>
                </c:pt>
                <c:pt idx="663" formatCode="0.0%">
                  <c:v>0.1311063385397449</c:v>
                </c:pt>
                <c:pt idx="664" formatCode="0.0%">
                  <c:v>0.12812107701393544</c:v>
                </c:pt>
                <c:pt idx="665" formatCode="0.0%">
                  <c:v>0.12521437825606824</c:v>
                </c:pt>
                <c:pt idx="666" formatCode="0.0%">
                  <c:v>0.13157771514739622</c:v>
                </c:pt>
                <c:pt idx="667" formatCode="0.0%">
                  <c:v>0.13157771514739622</c:v>
                </c:pt>
                <c:pt idx="668" formatCode="0.0%">
                  <c:v>0.13157771514739622</c:v>
                </c:pt>
                <c:pt idx="669" formatCode="0.0%">
                  <c:v>0.14163337847601085</c:v>
                </c:pt>
                <c:pt idx="670" formatCode="0.0%">
                  <c:v>0.14265465324059462</c:v>
                </c:pt>
                <c:pt idx="671" formatCode="0.0%">
                  <c:v>0.14226188061954587</c:v>
                </c:pt>
                <c:pt idx="672" formatCode="0.0%">
                  <c:v>0.12812107701393544</c:v>
                </c:pt>
                <c:pt idx="673" formatCode="0.0%">
                  <c:v>0.12694267671346779</c:v>
                </c:pt>
                <c:pt idx="674" formatCode="0.0%">
                  <c:v>0.12694267671346779</c:v>
                </c:pt>
                <c:pt idx="675" formatCode="0.0%">
                  <c:v>0.12694267671346779</c:v>
                </c:pt>
                <c:pt idx="676" formatCode="0.0%">
                  <c:v>0.13307036651963131</c:v>
                </c:pt>
                <c:pt idx="677" formatCode="0.0%">
                  <c:v>0.1417119412439527</c:v>
                </c:pt>
                <c:pt idx="678" formatCode="0.0%">
                  <c:v>0.13267755267992201</c:v>
                </c:pt>
                <c:pt idx="679" formatCode="0.0%">
                  <c:v>0.15718827068591495</c:v>
                </c:pt>
                <c:pt idx="680" formatCode="0.0%">
                  <c:v>0.1620589974236688</c:v>
                </c:pt>
                <c:pt idx="681" formatCode="0.0%">
                  <c:v>0.1620589974236688</c:v>
                </c:pt>
                <c:pt idx="682" formatCode="0.0%">
                  <c:v>0.1620589974236688</c:v>
                </c:pt>
                <c:pt idx="683" formatCode="0.0%">
                  <c:v>0.16551563555712945</c:v>
                </c:pt>
                <c:pt idx="684" formatCode="0.0%">
                  <c:v>0.17077913491593194</c:v>
                </c:pt>
                <c:pt idx="685" formatCode="0.0%">
                  <c:v>0.15286748332375397</c:v>
                </c:pt>
                <c:pt idx="686" formatCode="0.0%">
                  <c:v>0.14933228242235144</c:v>
                </c:pt>
                <c:pt idx="687" formatCode="0.0%">
                  <c:v>0.15781673161078899</c:v>
                </c:pt>
                <c:pt idx="688" formatCode="0.0%">
                  <c:v>0.15781673161078899</c:v>
                </c:pt>
                <c:pt idx="689" formatCode="0.0%">
                  <c:v>0.15781673161078899</c:v>
                </c:pt>
                <c:pt idx="690" formatCode="0.0%">
                  <c:v>0.16473000787771028</c:v>
                </c:pt>
                <c:pt idx="691" formatCode="0.0%">
                  <c:v>0.16928648354369671</c:v>
                </c:pt>
                <c:pt idx="692" formatCode="0.0%">
                  <c:v>0.17219322352022545</c:v>
                </c:pt>
                <c:pt idx="693" formatCode="0.0%">
                  <c:v>0.17455002412116044</c:v>
                </c:pt>
                <c:pt idx="694" formatCode="0.0%">
                  <c:v>0.17007211122311588</c:v>
                </c:pt>
                <c:pt idx="695" formatCode="0.0%">
                  <c:v>0.17007211122311588</c:v>
                </c:pt>
                <c:pt idx="696" formatCode="0.0%">
                  <c:v>0.17007211122311588</c:v>
                </c:pt>
                <c:pt idx="697" formatCode="0.0%">
                  <c:v>0.16150905804807536</c:v>
                </c:pt>
                <c:pt idx="698" formatCode="0.0%">
                  <c:v>0.16260889558060115</c:v>
                </c:pt>
                <c:pt idx="699" formatCode="0.0%">
                  <c:v>0.19528985292192488</c:v>
                </c:pt>
                <c:pt idx="700" formatCode="0.0%">
                  <c:v>0.17981352347996293</c:v>
                </c:pt>
                <c:pt idx="701" formatCode="0.0%">
                  <c:v>0.17329306105275094</c:v>
                </c:pt>
                <c:pt idx="702" formatCode="0.0%">
                  <c:v>0.17329306105275094</c:v>
                </c:pt>
                <c:pt idx="703" formatCode="0.0%">
                  <c:v>0.17329306105275094</c:v>
                </c:pt>
                <c:pt idx="704" formatCode="0.0%">
                  <c:v>0.17030779952694175</c:v>
                </c:pt>
                <c:pt idx="705" formatCode="0.0%">
                  <c:v>0.15765960607490512</c:v>
                </c:pt>
                <c:pt idx="706" formatCode="0.0%">
                  <c:v>0.15758108452562453</c:v>
                </c:pt>
                <c:pt idx="707" formatCode="0.0%">
                  <c:v>0.15758108452562453</c:v>
                </c:pt>
                <c:pt idx="708" formatCode="0.0%">
                  <c:v>0.16190187188778496</c:v>
                </c:pt>
                <c:pt idx="709" formatCode="0.0%">
                  <c:v>0.16190187188778496</c:v>
                </c:pt>
                <c:pt idx="710" formatCode="0.0%">
                  <c:v>0.16190187188778496</c:v>
                </c:pt>
                <c:pt idx="711" formatCode="0.0%">
                  <c:v>0.15632412145721489</c:v>
                </c:pt>
                <c:pt idx="712" formatCode="0.0%">
                  <c:v>0.1704648838441645</c:v>
                </c:pt>
                <c:pt idx="713" formatCode="0.0%">
                  <c:v>0.17038632107622248</c:v>
                </c:pt>
                <c:pt idx="714" formatCode="0.0%">
                  <c:v>0.13393451574833137</c:v>
                </c:pt>
                <c:pt idx="715" formatCode="0.0%">
                  <c:v>0.12513581548812611</c:v>
                </c:pt>
                <c:pt idx="716" formatCode="0.0%">
                  <c:v>0.12513581548812611</c:v>
                </c:pt>
                <c:pt idx="717" formatCode="0.0%">
                  <c:v>0.12513581548812611</c:v>
                </c:pt>
                <c:pt idx="718" formatCode="0.0%">
                  <c:v>0.12450731334459092</c:v>
                </c:pt>
                <c:pt idx="719" formatCode="0.0%">
                  <c:v>0.1183011019891464</c:v>
                </c:pt>
                <c:pt idx="720" formatCode="0.0%">
                  <c:v>0.13322749205551546</c:v>
                </c:pt>
                <c:pt idx="721" formatCode="0.0%">
                  <c:v>0.11680845061691131</c:v>
                </c:pt>
                <c:pt idx="722" formatCode="0.0%">
                  <c:v>0.12050077705419766</c:v>
                </c:pt>
                <c:pt idx="723" formatCode="0.0%">
                  <c:v>0.12050077705419766</c:v>
                </c:pt>
                <c:pt idx="724" formatCode="0.0%">
                  <c:v>0.12050077705419766</c:v>
                </c:pt>
                <c:pt idx="725" formatCode="0.0%">
                  <c:v>0.12050077705419766</c:v>
                </c:pt>
                <c:pt idx="726" formatCode="0.0%">
                  <c:v>0.12136492628289773</c:v>
                </c:pt>
                <c:pt idx="727" formatCode="0.0%">
                  <c:v>0.11955802383889491</c:v>
                </c:pt>
                <c:pt idx="728" formatCode="0.0%">
                  <c:v>0.12482156441635865</c:v>
                </c:pt>
                <c:pt idx="729" formatCode="0.0%">
                  <c:v>0.11460877555186016</c:v>
                </c:pt>
                <c:pt idx="730" formatCode="0.0%">
                  <c:v>0.11751547430972749</c:v>
                </c:pt>
                <c:pt idx="731" formatCode="0.0%">
                  <c:v>0.11751547430972749</c:v>
                </c:pt>
                <c:pt idx="732" formatCode="0.0%">
                  <c:v>0.1240359779556006</c:v>
                </c:pt>
                <c:pt idx="733" formatCode="0.0%">
                  <c:v>0.13566285542439219</c:v>
                </c:pt>
                <c:pt idx="734" formatCode="0.0%">
                  <c:v>0.1389623680219691</c:v>
                </c:pt>
                <c:pt idx="735" formatCode="0.0%">
                  <c:v>0.13880524248608553</c:v>
                </c:pt>
                <c:pt idx="736" formatCode="0.0%">
                  <c:v>0.14768250551423237</c:v>
                </c:pt>
                <c:pt idx="737" formatCode="0.0%">
                  <c:v>0.14768250551423237</c:v>
                </c:pt>
                <c:pt idx="738" formatCode="0.0%">
                  <c:v>0.14768250551423237</c:v>
                </c:pt>
                <c:pt idx="739" formatCode="0.0%">
                  <c:v>0.15608843315338888</c:v>
                </c:pt>
                <c:pt idx="740" formatCode="0.0%">
                  <c:v>0.1491751568864676</c:v>
                </c:pt>
                <c:pt idx="741" formatCode="0.0%">
                  <c:v>0.15216041841227693</c:v>
                </c:pt>
                <c:pt idx="742" formatCode="0.0%">
                  <c:v>0.15828810821844044</c:v>
                </c:pt>
                <c:pt idx="743" formatCode="0.0%">
                  <c:v>0.16127336974424991</c:v>
                </c:pt>
                <c:pt idx="744" formatCode="0.0%">
                  <c:v>0.16127336974424991</c:v>
                </c:pt>
                <c:pt idx="745" formatCode="0.0%">
                  <c:v>0.16127336974424991</c:v>
                </c:pt>
                <c:pt idx="746" formatCode="0.0%">
                  <c:v>0.16677259862553911</c:v>
                </c:pt>
                <c:pt idx="747" formatCode="0.0%">
                  <c:v>0.16991498568723215</c:v>
                </c:pt>
                <c:pt idx="748" formatCode="0.0%">
                  <c:v>0.1678724361580646</c:v>
                </c:pt>
                <c:pt idx="749" formatCode="0.0%">
                  <c:v>0.15239610671610265</c:v>
                </c:pt>
                <c:pt idx="750" formatCode="0.0%">
                  <c:v>0.15498859562086337</c:v>
                </c:pt>
                <c:pt idx="751" formatCode="0.0%">
                  <c:v>0.15498859562086337</c:v>
                </c:pt>
                <c:pt idx="752" formatCode="0.0%">
                  <c:v>0.15498859562086337</c:v>
                </c:pt>
                <c:pt idx="753" formatCode="0.0%">
                  <c:v>0.17156472137668999</c:v>
                </c:pt>
                <c:pt idx="754" formatCode="0.0%">
                  <c:v>0.16983642291929016</c:v>
                </c:pt>
                <c:pt idx="755" formatCode="0.0%">
                  <c:v>0.15412444639216361</c:v>
                </c:pt>
                <c:pt idx="756" formatCode="0.0%">
                  <c:v>0.1660655337140618</c:v>
                </c:pt>
                <c:pt idx="757" formatCode="0.0%">
                  <c:v>0.17211466075228343</c:v>
                </c:pt>
                <c:pt idx="758" formatCode="0.0%">
                  <c:v>0.17211466075228343</c:v>
                </c:pt>
                <c:pt idx="759" formatCode="0.0%">
                  <c:v>0.17211466075228343</c:v>
                </c:pt>
                <c:pt idx="760" formatCode="0.0%">
                  <c:v>0.16771531062218073</c:v>
                </c:pt>
                <c:pt idx="761" formatCode="0.0%">
                  <c:v>0.17164328414463198</c:v>
                </c:pt>
                <c:pt idx="762" formatCode="0.0%">
                  <c:v>0.16056634605143372</c:v>
                </c:pt>
                <c:pt idx="763" formatCode="0.0%">
                  <c:v>0.17902793701920472</c:v>
                </c:pt>
                <c:pt idx="764" formatCode="0.0%">
                  <c:v>0.18531275236125211</c:v>
                </c:pt>
                <c:pt idx="765" formatCode="0.0%">
                  <c:v>0.18531275236125211</c:v>
                </c:pt>
                <c:pt idx="766" formatCode="0.0%">
                  <c:v>0.18531275236125211</c:v>
                </c:pt>
                <c:pt idx="767" formatCode="0.0%">
                  <c:v>0.18272026345649123</c:v>
                </c:pt>
                <c:pt idx="768" formatCode="0.0%">
                  <c:v>0.18743386465836154</c:v>
                </c:pt>
                <c:pt idx="769" formatCode="0.0%">
                  <c:v>0.19159752648463851</c:v>
                </c:pt>
                <c:pt idx="770" formatCode="0.0%">
                  <c:v>0.19796090459462762</c:v>
                </c:pt>
                <c:pt idx="771" formatCode="0.0%">
                  <c:v>0.18955497695547094</c:v>
                </c:pt>
                <c:pt idx="772" formatCode="0.0%">
                  <c:v>0.18955497695547094</c:v>
                </c:pt>
                <c:pt idx="773" formatCode="0.0%">
                  <c:v>0.18955497695547094</c:v>
                </c:pt>
                <c:pt idx="774" formatCode="0.0%">
                  <c:v>0.19819655167979236</c:v>
                </c:pt>
                <c:pt idx="775" formatCode="0.0%">
                  <c:v>0.19725383968315044</c:v>
                </c:pt>
                <c:pt idx="776" formatCode="0.0%">
                  <c:v>0.19670394152621809</c:v>
                </c:pt>
                <c:pt idx="777" formatCode="0.0%">
                  <c:v>0.19961064028408557</c:v>
                </c:pt>
                <c:pt idx="778" formatCode="0.0%">
                  <c:v>0.19073337725593859</c:v>
                </c:pt>
                <c:pt idx="779" formatCode="0.0%">
                  <c:v>0.19073337725593859</c:v>
                </c:pt>
                <c:pt idx="780" formatCode="0.0%">
                  <c:v>0.19073337725593859</c:v>
                </c:pt>
                <c:pt idx="781" formatCode="0.0%">
                  <c:v>0.19214746586023182</c:v>
                </c:pt>
                <c:pt idx="782" formatCode="0.0%">
                  <c:v>0.18374153822107517</c:v>
                </c:pt>
                <c:pt idx="783" formatCode="0.0%">
                  <c:v>0.18240601238472379</c:v>
                </c:pt>
                <c:pt idx="784" formatCode="0.0%">
                  <c:v>0.18468425021771678</c:v>
                </c:pt>
                <c:pt idx="785" formatCode="0.0%">
                  <c:v>0.1727431216771575</c:v>
                </c:pt>
                <c:pt idx="786" formatCode="0.0%">
                  <c:v>0.1727431216771575</c:v>
                </c:pt>
                <c:pt idx="787" formatCode="0.0%">
                  <c:v>0.1727431216771575</c:v>
                </c:pt>
                <c:pt idx="788" formatCode="0.0%">
                  <c:v>0.17847799764361155</c:v>
                </c:pt>
                <c:pt idx="789" formatCode="0.0%">
                  <c:v>0.17400008474556714</c:v>
                </c:pt>
                <c:pt idx="790" formatCode="0.0%">
                  <c:v>0.1689722736905904</c:v>
                </c:pt>
                <c:pt idx="791" formatCode="0.0%">
                  <c:v>0.17392152197762514</c:v>
                </c:pt>
                <c:pt idx="792" formatCode="0.0%">
                  <c:v>0.18798376281529386</c:v>
                </c:pt>
                <c:pt idx="793" formatCode="0.0%">
                  <c:v>0.18798376281529386</c:v>
                </c:pt>
                <c:pt idx="794" formatCode="0.0%">
                  <c:v>0.18798376281529386</c:v>
                </c:pt>
                <c:pt idx="795" formatCode="0.0%">
                  <c:v>0.19254023848128013</c:v>
                </c:pt>
                <c:pt idx="796" formatCode="0.0%">
                  <c:v>0.18664823697894264</c:v>
                </c:pt>
                <c:pt idx="797" formatCode="0.0%">
                  <c:v>0.18413435206078474</c:v>
                </c:pt>
                <c:pt idx="798" formatCode="0.0%">
                  <c:v>0.1864125898937779</c:v>
                </c:pt>
                <c:pt idx="799" formatCode="0.0%">
                  <c:v>0.15593130761750529</c:v>
                </c:pt>
                <c:pt idx="800" formatCode="0.0%">
                  <c:v>0.15593130761750529</c:v>
                </c:pt>
                <c:pt idx="801" formatCode="0.0%">
                  <c:v>0.15593130761750529</c:v>
                </c:pt>
                <c:pt idx="802" formatCode="0.0%">
                  <c:v>0.14367596922383938</c:v>
                </c:pt>
                <c:pt idx="803" formatCode="0.0%">
                  <c:v>0.15373163255245401</c:v>
                </c:pt>
                <c:pt idx="804" formatCode="0.0%">
                  <c:v>0.14760394274629049</c:v>
                </c:pt>
                <c:pt idx="805" formatCode="0.0%">
                  <c:v>0.16080203435525944</c:v>
                </c:pt>
                <c:pt idx="806" formatCode="0.0%">
                  <c:v>0.1519247301084512</c:v>
                </c:pt>
                <c:pt idx="807" formatCode="0.0%">
                  <c:v>0.1519247301084512</c:v>
                </c:pt>
                <c:pt idx="808" formatCode="0.0%">
                  <c:v>0.1519247301084512</c:v>
                </c:pt>
                <c:pt idx="809" formatCode="0.0%">
                  <c:v>0.15412444639216361</c:v>
                </c:pt>
                <c:pt idx="810" formatCode="0.0%">
                  <c:v>0.15868092205815004</c:v>
                </c:pt>
                <c:pt idx="811" formatCode="0.0%">
                  <c:v>0.1694436090795807</c:v>
                </c:pt>
                <c:pt idx="812" formatCode="0.0%">
                  <c:v>0.16386585864901052</c:v>
                </c:pt>
                <c:pt idx="813" formatCode="0.0%">
                  <c:v>0.16064490881937529</c:v>
                </c:pt>
                <c:pt idx="814" formatCode="0.0%">
                  <c:v>0.16064490881937529</c:v>
                </c:pt>
                <c:pt idx="815" formatCode="0.0%">
                  <c:v>0.16064490881937529</c:v>
                </c:pt>
                <c:pt idx="816" formatCode="0.0%">
                  <c:v>0.1660655337140618</c:v>
                </c:pt>
                <c:pt idx="817" formatCode="0.0%">
                  <c:v>0.15820954545049859</c:v>
                </c:pt>
                <c:pt idx="818" formatCode="0.0%">
                  <c:v>0.17077913491593194</c:v>
                </c:pt>
                <c:pt idx="819" formatCode="0.0%">
                  <c:v>0.17572842442162795</c:v>
                </c:pt>
                <c:pt idx="820" formatCode="0.0%">
                  <c:v>0.19010487511240329</c:v>
                </c:pt>
                <c:pt idx="821" formatCode="0.0%">
                  <c:v>0.19010487511240329</c:v>
                </c:pt>
                <c:pt idx="822" formatCode="0.0%">
                  <c:v>0.19010487511240329</c:v>
                </c:pt>
                <c:pt idx="823" formatCode="0.0%">
                  <c:v>0.18837657665500346</c:v>
                </c:pt>
                <c:pt idx="824" formatCode="0.0%">
                  <c:v>0.18240601238472379</c:v>
                </c:pt>
                <c:pt idx="825" formatCode="0.0%">
                  <c:v>0.17981352347996293</c:v>
                </c:pt>
                <c:pt idx="826" formatCode="0.0%">
                  <c:v>0.17981352347996293</c:v>
                </c:pt>
                <c:pt idx="827" formatCode="0.0%">
                  <c:v>0.17981352347996293</c:v>
                </c:pt>
                <c:pt idx="828" formatCode="0.0%">
                  <c:v>0.17981352347996293</c:v>
                </c:pt>
                <c:pt idx="829" formatCode="0.0%">
                  <c:v>0.17981352347996293</c:v>
                </c:pt>
                <c:pt idx="830" formatCode="0.0%">
                  <c:v>0.17981352347996293</c:v>
                </c:pt>
                <c:pt idx="831" formatCode="0.0%">
                  <c:v>0.18900503757987777</c:v>
                </c:pt>
                <c:pt idx="832" formatCode="0.0%">
                  <c:v>0.18523418959331026</c:v>
                </c:pt>
                <c:pt idx="833" formatCode="0.0%">
                  <c:v>0.18507706405742638</c:v>
                </c:pt>
                <c:pt idx="834" formatCode="0.0%">
                  <c:v>0.19364007601380592</c:v>
                </c:pt>
                <c:pt idx="835" formatCode="0.0%">
                  <c:v>0.19364007601380592</c:v>
                </c:pt>
                <c:pt idx="836" formatCode="0.0%">
                  <c:v>0.19364007601380592</c:v>
                </c:pt>
                <c:pt idx="837" formatCode="0.0%">
                  <c:v>0.19898217935921125</c:v>
                </c:pt>
                <c:pt idx="838" formatCode="0.0%">
                  <c:v>0.20023914242762089</c:v>
                </c:pt>
                <c:pt idx="839" formatCode="0.0%">
                  <c:v>0.19843223998361778</c:v>
                </c:pt>
                <c:pt idx="840" formatCode="0.0%">
                  <c:v>0.19701815137932471</c:v>
                </c:pt>
                <c:pt idx="841" formatCode="0.0%">
                  <c:v>0.19206890309228983</c:v>
                </c:pt>
                <c:pt idx="842" formatCode="0.0%">
                  <c:v>0.19206890309228983</c:v>
                </c:pt>
                <c:pt idx="843" formatCode="0.0%">
                  <c:v>0.19206890309228983</c:v>
                </c:pt>
                <c:pt idx="844" formatCode="0.0%">
                  <c:v>0.18892647481193564</c:v>
                </c:pt>
                <c:pt idx="845" formatCode="0.0%">
                  <c:v>0.18821945111911959</c:v>
                </c:pt>
                <c:pt idx="846" formatCode="0.0%">
                  <c:v>0.17462858688910216</c:v>
                </c:pt>
                <c:pt idx="847" formatCode="0.0%">
                  <c:v>0.18452712468183322</c:v>
                </c:pt>
                <c:pt idx="848" formatCode="0.0%">
                  <c:v>0.19371863878174778</c:v>
                </c:pt>
                <c:pt idx="849" formatCode="0.0%">
                  <c:v>0.19371863878174778</c:v>
                </c:pt>
                <c:pt idx="850" formatCode="0.0%">
                  <c:v>0.19827511444773421</c:v>
                </c:pt>
                <c:pt idx="851" formatCode="0.0%">
                  <c:v>0.20699529315865844</c:v>
                </c:pt>
                <c:pt idx="852" formatCode="0.0%">
                  <c:v>0.19041912618417101</c:v>
                </c:pt>
                <c:pt idx="853" formatCode="0.0%">
                  <c:v>0.18766951174352614</c:v>
                </c:pt>
                <c:pt idx="854" formatCode="0.0%">
                  <c:v>0.1819346357770722</c:v>
                </c:pt>
                <c:pt idx="855" formatCode="0.0%">
                  <c:v>0.1819346357770722</c:v>
                </c:pt>
                <c:pt idx="856" formatCode="0.0%">
                  <c:v>0.1819346357770722</c:v>
                </c:pt>
                <c:pt idx="857" formatCode="0.0%">
                  <c:v>0.1819346357770722</c:v>
                </c:pt>
                <c:pt idx="858" formatCode="0.0%">
                  <c:v>0.19780377905874375</c:v>
                </c:pt>
                <c:pt idx="859" formatCode="0.0%">
                  <c:v>0.20039622674484364</c:v>
                </c:pt>
                <c:pt idx="860" formatCode="0.0%">
                  <c:v>0.19701815137932471</c:v>
                </c:pt>
                <c:pt idx="861" formatCode="0.0%">
                  <c:v>0.20432424148595588</c:v>
                </c:pt>
                <c:pt idx="862" formatCode="0.0%">
                  <c:v>0.21084470391316756</c:v>
                </c:pt>
                <c:pt idx="863" formatCode="0.0%">
                  <c:v>0.21084470391316756</c:v>
                </c:pt>
                <c:pt idx="864" formatCode="0.0%">
                  <c:v>0.21084470391316756</c:v>
                </c:pt>
                <c:pt idx="865" formatCode="0.0%">
                  <c:v>0.21280873189305424</c:v>
                </c:pt>
                <c:pt idx="866" formatCode="0.0%">
                  <c:v>0.21115895498493528</c:v>
                </c:pt>
                <c:pt idx="867" formatCode="0.0%">
                  <c:v>0.21461559311839593</c:v>
                </c:pt>
                <c:pt idx="868" formatCode="0.0%">
                  <c:v>0.21461559311839593</c:v>
                </c:pt>
                <c:pt idx="869" formatCode="0.0%">
                  <c:v>0.21461559311839593</c:v>
                </c:pt>
                <c:pt idx="870" formatCode="0.0%">
                  <c:v>0.21461559311839593</c:v>
                </c:pt>
                <c:pt idx="871" formatCode="0.0%">
                  <c:v>0.21461559311839593</c:v>
                </c:pt>
                <c:pt idx="872" formatCode="0.0%">
                  <c:v>0.23511973361533478</c:v>
                </c:pt>
                <c:pt idx="873" formatCode="0.0%">
                  <c:v>0.2256140096623136</c:v>
                </c:pt>
                <c:pt idx="874" formatCode="0.0%">
                  <c:v>0.20597401839407453</c:v>
                </c:pt>
                <c:pt idx="875" formatCode="0.0%">
                  <c:v>0.2205861573886756</c:v>
                </c:pt>
                <c:pt idx="876" formatCode="0.0%">
                  <c:v>0.2377122225200958</c:v>
                </c:pt>
                <c:pt idx="877" formatCode="0.0%">
                  <c:v>0.2377122225200958</c:v>
                </c:pt>
                <c:pt idx="878" formatCode="0.0%">
                  <c:v>0.2377122225200958</c:v>
                </c:pt>
                <c:pt idx="879" formatCode="0.0%">
                  <c:v>0.2377122225200958</c:v>
                </c:pt>
                <c:pt idx="880" formatCode="0.0%">
                  <c:v>0.23087750902111609</c:v>
                </c:pt>
                <c:pt idx="881" formatCode="0.0%">
                  <c:v>0.22553544689437174</c:v>
                </c:pt>
                <c:pt idx="882" formatCode="0.0%">
                  <c:v>0.2271066198158877</c:v>
                </c:pt>
                <c:pt idx="883" formatCode="0.0%">
                  <c:v>0.24611815015925245</c:v>
                </c:pt>
                <c:pt idx="884" formatCode="0.0%">
                  <c:v>0.24611815015925245</c:v>
                </c:pt>
                <c:pt idx="885" formatCode="0.0%">
                  <c:v>0.24611815015925245</c:v>
                </c:pt>
                <c:pt idx="886" formatCode="0.0%">
                  <c:v>0.24611815015925245</c:v>
                </c:pt>
                <c:pt idx="887" formatCode="0.0%">
                  <c:v>0.2491819744530035</c:v>
                </c:pt>
                <c:pt idx="888" formatCode="0.0%">
                  <c:v>0.24415416339802662</c:v>
                </c:pt>
                <c:pt idx="889" formatCode="0.0%">
                  <c:v>0.23818359912774695</c:v>
                </c:pt>
                <c:pt idx="890" formatCode="0.0%">
                  <c:v>0.24698229938795221</c:v>
                </c:pt>
                <c:pt idx="891" formatCode="0.0%">
                  <c:v>0.24698229938795221</c:v>
                </c:pt>
                <c:pt idx="892" formatCode="0.0%">
                  <c:v>0.24698229938795221</c:v>
                </c:pt>
                <c:pt idx="893" formatCode="0.0%">
                  <c:v>0.24768932308076841</c:v>
                </c:pt>
                <c:pt idx="894" formatCode="0.0%">
                  <c:v>0.25585956241609936</c:v>
                </c:pt>
                <c:pt idx="895" formatCode="0.0%">
                  <c:v>0.2514602122859968</c:v>
                </c:pt>
                <c:pt idx="896" formatCode="0.0%">
                  <c:v>0.25248148705058043</c:v>
                </c:pt>
                <c:pt idx="897" formatCode="0.0%">
                  <c:v>0.26175156391843712</c:v>
                </c:pt>
                <c:pt idx="898" formatCode="0.0%">
                  <c:v>0.26175156391843712</c:v>
                </c:pt>
                <c:pt idx="899" formatCode="0.0%">
                  <c:v>0.26175156391843712</c:v>
                </c:pt>
                <c:pt idx="900" formatCode="0.0%">
                  <c:v>0.25004612368170354</c:v>
                </c:pt>
                <c:pt idx="901" formatCode="0.0%">
                  <c:v>0.24517543816261053</c:v>
                </c:pt>
                <c:pt idx="902" formatCode="0.0%">
                  <c:v>0.23865493451673742</c:v>
                </c:pt>
                <c:pt idx="903" formatCode="0.0%">
                  <c:v>0.23614100837991869</c:v>
                </c:pt>
                <c:pt idx="904" formatCode="0.0%">
                  <c:v>0.23849780898085357</c:v>
                </c:pt>
                <c:pt idx="905" formatCode="0.0%">
                  <c:v>0.23849780898085357</c:v>
                </c:pt>
                <c:pt idx="906" formatCode="0.0%">
                  <c:v>0.23849780898085357</c:v>
                </c:pt>
                <c:pt idx="907" formatCode="0.0%">
                  <c:v>0.23527685915121865</c:v>
                </c:pt>
                <c:pt idx="908" formatCode="0.0%">
                  <c:v>0.23111319732494182</c:v>
                </c:pt>
                <c:pt idx="909" formatCode="0.0%">
                  <c:v>0.24022614865691466</c:v>
                </c:pt>
                <c:pt idx="910" formatCode="0.0%">
                  <c:v>0.24195444711431449</c:v>
                </c:pt>
                <c:pt idx="911" formatCode="0.0%">
                  <c:v>0.25640950179169281</c:v>
                </c:pt>
                <c:pt idx="912" formatCode="0.0%">
                  <c:v>0.25640950179169281</c:v>
                </c:pt>
                <c:pt idx="913" formatCode="0.0%">
                  <c:v>0.25640950179169281</c:v>
                </c:pt>
                <c:pt idx="914" formatCode="0.0%">
                  <c:v>0.25633093902375093</c:v>
                </c:pt>
                <c:pt idx="915" formatCode="0.0%">
                  <c:v>0.25884486516056965</c:v>
                </c:pt>
                <c:pt idx="916" formatCode="0.0%">
                  <c:v>0.25845205132086008</c:v>
                </c:pt>
                <c:pt idx="917" formatCode="0.0%">
                  <c:v>0.2373194086803862</c:v>
                </c:pt>
                <c:pt idx="918" formatCode="0.0%">
                  <c:v>0.23669094775551186</c:v>
                </c:pt>
                <c:pt idx="919" formatCode="0.0%">
                  <c:v>0.23669094775551186</c:v>
                </c:pt>
                <c:pt idx="920" formatCode="0.0%">
                  <c:v>0.23669094775551186</c:v>
                </c:pt>
                <c:pt idx="921" formatCode="0.0%">
                  <c:v>0.23119176009288367</c:v>
                </c:pt>
                <c:pt idx="922" formatCode="0.0%">
                  <c:v>0.23394133331486741</c:v>
                </c:pt>
                <c:pt idx="923" formatCode="0.0%">
                  <c:v>0.24046183696074025</c:v>
                </c:pt>
                <c:pt idx="924" formatCode="0.0%">
                  <c:v>0.24219013541814022</c:v>
                </c:pt>
                <c:pt idx="925" formatCode="0.0%">
                  <c:v>0.24376134955831702</c:v>
                </c:pt>
                <c:pt idx="926" formatCode="0.0%">
                  <c:v>0.24376134955831702</c:v>
                </c:pt>
                <c:pt idx="927" formatCode="0.0%">
                  <c:v>0.24376134955831702</c:v>
                </c:pt>
                <c:pt idx="928" formatCode="0.0%">
                  <c:v>0.24148311172532416</c:v>
                </c:pt>
                <c:pt idx="929" formatCode="0.0%">
                  <c:v>0.24478262432290093</c:v>
                </c:pt>
                <c:pt idx="930" formatCode="0.0%">
                  <c:v>0.25523110149122519</c:v>
                </c:pt>
                <c:pt idx="931" formatCode="0.0%">
                  <c:v>0.25530966425916718</c:v>
                </c:pt>
                <c:pt idx="932" formatCode="0.0%">
                  <c:v>0.25837348855291808</c:v>
                </c:pt>
                <c:pt idx="933" formatCode="0.0%">
                  <c:v>0.25837348855291808</c:v>
                </c:pt>
                <c:pt idx="934" formatCode="0.0%">
                  <c:v>0.25837348855291808</c:v>
                </c:pt>
                <c:pt idx="935" formatCode="0.0%">
                  <c:v>0.26277283868302104</c:v>
                </c:pt>
                <c:pt idx="936" formatCode="0.0%">
                  <c:v>0.2695290306327196</c:v>
                </c:pt>
                <c:pt idx="937" formatCode="0.0%">
                  <c:v>0.26371559189832366</c:v>
                </c:pt>
                <c:pt idx="938" formatCode="0.0%">
                  <c:v>0.28068453149385986</c:v>
                </c:pt>
                <c:pt idx="939" formatCode="0.0%">
                  <c:v>0.27589236752404789</c:v>
                </c:pt>
                <c:pt idx="940" formatCode="0.0%">
                  <c:v>0.27589236752404789</c:v>
                </c:pt>
                <c:pt idx="941" formatCode="0.0%">
                  <c:v>0.27589236752404789</c:v>
                </c:pt>
                <c:pt idx="942" formatCode="0.0%">
                  <c:v>0.27754214443216668</c:v>
                </c:pt>
                <c:pt idx="943" formatCode="0.0%">
                  <c:v>0.27471396722358038</c:v>
                </c:pt>
                <c:pt idx="944" formatCode="0.0%">
                  <c:v>0.26560101589160739</c:v>
                </c:pt>
                <c:pt idx="945" formatCode="0.0%">
                  <c:v>0.25640950179169281</c:v>
                </c:pt>
                <c:pt idx="946" formatCode="0.0%">
                  <c:v>0.25436695226252509</c:v>
                </c:pt>
                <c:pt idx="947" formatCode="0.0%">
                  <c:v>0.25436695226252509</c:v>
                </c:pt>
                <c:pt idx="948" formatCode="0.0%">
                  <c:v>0.25436695226252509</c:v>
                </c:pt>
                <c:pt idx="949" formatCode="0.0%">
                  <c:v>0.25428838949458338</c:v>
                </c:pt>
                <c:pt idx="950" formatCode="0.0%">
                  <c:v>0.25098887689700633</c:v>
                </c:pt>
                <c:pt idx="951" formatCode="0.0%">
                  <c:v>0.25263861258646442</c:v>
                </c:pt>
                <c:pt idx="952" formatCode="0.0%">
                  <c:v>0.25593812518404135</c:v>
                </c:pt>
                <c:pt idx="953" formatCode="0.0%">
                  <c:v>0.24847495076018761</c:v>
                </c:pt>
                <c:pt idx="954" formatCode="0.0%">
                  <c:v>0.24847495076018761</c:v>
                </c:pt>
                <c:pt idx="955" formatCode="0.0%">
                  <c:v>0.24847495076018761</c:v>
                </c:pt>
                <c:pt idx="956" formatCode="0.0%">
                  <c:v>0.25546678979505089</c:v>
                </c:pt>
                <c:pt idx="957" formatCode="0.0%">
                  <c:v>0.24030471142485665</c:v>
                </c:pt>
                <c:pt idx="958" formatCode="0.0%">
                  <c:v>0.24454693601907537</c:v>
                </c:pt>
                <c:pt idx="959" formatCode="0.0%">
                  <c:v>0.23747653421626994</c:v>
                </c:pt>
                <c:pt idx="960" formatCode="0.0%">
                  <c:v>0.22514263305466214</c:v>
                </c:pt>
                <c:pt idx="961" formatCode="0.0%">
                  <c:v>0.22514263305466214</c:v>
                </c:pt>
                <c:pt idx="962" formatCode="0.0%">
                  <c:v>0.22514263305466214</c:v>
                </c:pt>
                <c:pt idx="963" formatCode="0.0%">
                  <c:v>0.22577109397953635</c:v>
                </c:pt>
                <c:pt idx="964" formatCode="0.0%">
                  <c:v>0.23598392406269567</c:v>
                </c:pt>
                <c:pt idx="965" formatCode="0.0%">
                  <c:v>0.24596102462336858</c:v>
                </c:pt>
                <c:pt idx="966" formatCode="0.0%">
                  <c:v>0.24383991232625918</c:v>
                </c:pt>
                <c:pt idx="967" formatCode="0.0%">
                  <c:v>0.23606248683063782</c:v>
                </c:pt>
                <c:pt idx="968" formatCode="0.0%">
                  <c:v>0.23606248683063782</c:v>
                </c:pt>
                <c:pt idx="969" formatCode="0.0%">
                  <c:v>0.23606248683063782</c:v>
                </c:pt>
                <c:pt idx="970" formatCode="0.0%">
                  <c:v>0.24981047659653882</c:v>
                </c:pt>
                <c:pt idx="971" formatCode="0.0%">
                  <c:v>0.25821636301703449</c:v>
                </c:pt>
                <c:pt idx="972" formatCode="0.0%">
                  <c:v>0.25735221378833456</c:v>
                </c:pt>
                <c:pt idx="973" formatCode="0.0%">
                  <c:v>0.2596304516213277</c:v>
                </c:pt>
                <c:pt idx="974" formatCode="0.0%">
                  <c:v>0.26717223003178447</c:v>
                </c:pt>
                <c:pt idx="975" formatCode="0.0%">
                  <c:v>0.26717223003178447</c:v>
                </c:pt>
                <c:pt idx="976" formatCode="0.0%">
                  <c:v>0.26717223003178447</c:v>
                </c:pt>
                <c:pt idx="977" formatCode="0.0%">
                  <c:v>0.2673293143490072</c:v>
                </c:pt>
                <c:pt idx="978" formatCode="0.0%">
                  <c:v>0.27023605432553582</c:v>
                </c:pt>
                <c:pt idx="979" formatCode="0.0%">
                  <c:v>0.2616730011504953</c:v>
                </c:pt>
                <c:pt idx="980" formatCode="0.0%">
                  <c:v>0.25994470269309516</c:v>
                </c:pt>
                <c:pt idx="981" formatCode="0.0%">
                  <c:v>0.26120166576150483</c:v>
                </c:pt>
                <c:pt idx="982" formatCode="0.0%">
                  <c:v>0.26120166576150483</c:v>
                </c:pt>
                <c:pt idx="983" formatCode="0.0%">
                  <c:v>0.26120166576150483</c:v>
                </c:pt>
                <c:pt idx="984" formatCode="0.0%">
                  <c:v>0.2601803909969212</c:v>
                </c:pt>
                <c:pt idx="985" formatCode="0.0%">
                  <c:v>0.26512963928395594</c:v>
                </c:pt>
                <c:pt idx="986" formatCode="0.0%">
                  <c:v>0.26363702913038184</c:v>
                </c:pt>
                <c:pt idx="987" formatCode="0.0%">
                  <c:v>0.27840629366086661</c:v>
                </c:pt>
                <c:pt idx="988" formatCode="0.0%">
                  <c:v>0.27424259061592865</c:v>
                </c:pt>
                <c:pt idx="989" formatCode="0.0%">
                  <c:v>0.27424259061592865</c:v>
                </c:pt>
                <c:pt idx="990" formatCode="0.0%">
                  <c:v>0.27424259061592865</c:v>
                </c:pt>
                <c:pt idx="991" formatCode="0.0%">
                  <c:v>0.26795781649254252</c:v>
                </c:pt>
                <c:pt idx="992" formatCode="0.0%">
                  <c:v>0.25774502762804402</c:v>
                </c:pt>
                <c:pt idx="993" formatCode="0.0%">
                  <c:v>0.26324421529067221</c:v>
                </c:pt>
                <c:pt idx="994" formatCode="0.0%">
                  <c:v>0.24690373662001036</c:v>
                </c:pt>
                <c:pt idx="995" formatCode="0.0%">
                  <c:v>0.2491819744530035</c:v>
                </c:pt>
                <c:pt idx="996" formatCode="0.0%">
                  <c:v>0.2491819744530035</c:v>
                </c:pt>
                <c:pt idx="997" formatCode="0.0%">
                  <c:v>0.2491819744530035</c:v>
                </c:pt>
                <c:pt idx="998" formatCode="0.0%">
                  <c:v>0.24281863756167538</c:v>
                </c:pt>
                <c:pt idx="999" formatCode="0.0%">
                  <c:v>0.23747653421626994</c:v>
                </c:pt>
                <c:pt idx="1000" formatCode="0.0%">
                  <c:v>0.23716232436316331</c:v>
                </c:pt>
                <c:pt idx="1001" formatCode="0.0%">
                  <c:v>0.23991189758514708</c:v>
                </c:pt>
                <c:pt idx="1002" formatCode="0.0%">
                  <c:v>0.24493974985878481</c:v>
                </c:pt>
                <c:pt idx="1003" formatCode="0.0%">
                  <c:v>0.23724088713110533</c:v>
                </c:pt>
                <c:pt idx="1004" formatCode="0.0%">
                  <c:v>0.23724088713110533</c:v>
                </c:pt>
                <c:pt idx="1005" formatCode="0.0%">
                  <c:v>0.23904774835644702</c:v>
                </c:pt>
                <c:pt idx="1006" formatCode="0.0%">
                  <c:v>0.22985623425653245</c:v>
                </c:pt>
                <c:pt idx="1007" formatCode="0.0%">
                  <c:v>0.22514263305466214</c:v>
                </c:pt>
                <c:pt idx="1008" formatCode="0.0%">
                  <c:v>0.22930629488093898</c:v>
                </c:pt>
                <c:pt idx="1009" formatCode="0.0%">
                  <c:v>0.2331557468541095</c:v>
                </c:pt>
                <c:pt idx="1010" formatCode="0.0%">
                  <c:v>0.2331557468541095</c:v>
                </c:pt>
                <c:pt idx="1011" formatCode="0.0%">
                  <c:v>0.2331557468541095</c:v>
                </c:pt>
                <c:pt idx="1012" formatCode="0.0%">
                  <c:v>0.23755509698421193</c:v>
                </c:pt>
                <c:pt idx="1013" formatCode="0.0%">
                  <c:v>0.25279573812234801</c:v>
                </c:pt>
                <c:pt idx="1014" formatCode="0.0%">
                  <c:v>0.25460264056635085</c:v>
                </c:pt>
                <c:pt idx="1015" formatCode="0.0%">
                  <c:v>0.26426549005525612</c:v>
                </c:pt>
                <c:pt idx="1016" formatCode="0.0%">
                  <c:v>0.25947332608544388</c:v>
                </c:pt>
                <c:pt idx="1017" formatCode="0.0%">
                  <c:v>0.25947332608544388</c:v>
                </c:pt>
                <c:pt idx="1018" formatCode="0.0%">
                  <c:v>0.25947332608544388</c:v>
                </c:pt>
                <c:pt idx="1019" formatCode="0.0%">
                  <c:v>0.26245862882991444</c:v>
                </c:pt>
                <c:pt idx="1020" formatCode="0.0%">
                  <c:v>0.25695939994862499</c:v>
                </c:pt>
                <c:pt idx="1021" formatCode="0.0%">
                  <c:v>0.24988903936448081</c:v>
                </c:pt>
                <c:pt idx="1022" formatCode="0.0%">
                  <c:v>0.23928343666027274</c:v>
                </c:pt>
                <c:pt idx="1023" formatCode="0.0%">
                  <c:v>0.22097897122838517</c:v>
                </c:pt>
                <c:pt idx="1024" formatCode="0.0%">
                  <c:v>0.22097897122838517</c:v>
                </c:pt>
                <c:pt idx="1025" formatCode="0.0%">
                  <c:v>0.22097897122838517</c:v>
                </c:pt>
                <c:pt idx="1026" formatCode="0.0%">
                  <c:v>0.2143799048145705</c:v>
                </c:pt>
                <c:pt idx="1027" formatCode="0.0%">
                  <c:v>0.22757799642353915</c:v>
                </c:pt>
                <c:pt idx="1028" formatCode="0.0%">
                  <c:v>0.22113605554560806</c:v>
                </c:pt>
                <c:pt idx="1029" formatCode="0.0%">
                  <c:v>0.21571543065092172</c:v>
                </c:pt>
                <c:pt idx="1030" formatCode="0.0%">
                  <c:v>0.20291015288166236</c:v>
                </c:pt>
                <c:pt idx="1031" formatCode="0.0%">
                  <c:v>0.20291015288166236</c:v>
                </c:pt>
                <c:pt idx="1032" formatCode="0.0%">
                  <c:v>0.20291015288166236</c:v>
                </c:pt>
                <c:pt idx="1033" formatCode="0.0%">
                  <c:v>0.20487418086154904</c:v>
                </c:pt>
                <c:pt idx="1034" formatCode="0.0%">
                  <c:v>0.21634393279445718</c:v>
                </c:pt>
                <c:pt idx="1035" formatCode="0.0%">
                  <c:v>0.22679240996278111</c:v>
                </c:pt>
                <c:pt idx="1036" formatCode="0.0%">
                  <c:v>0.24148311172532416</c:v>
                </c:pt>
                <c:pt idx="1037" formatCode="0.0%">
                  <c:v>0.2408546095817887</c:v>
                </c:pt>
                <c:pt idx="1038" formatCode="0.0%">
                  <c:v>0.2408546095817887</c:v>
                </c:pt>
                <c:pt idx="1039" formatCode="0.0%">
                  <c:v>0.2408546095817887</c:v>
                </c:pt>
                <c:pt idx="1040" formatCode="0.0%">
                  <c:v>0.24148311172532416</c:v>
                </c:pt>
                <c:pt idx="1041" formatCode="0.0%">
                  <c:v>0.24996760213242269</c:v>
                </c:pt>
                <c:pt idx="1042" formatCode="0.0%">
                  <c:v>0.24682517385206837</c:v>
                </c:pt>
                <c:pt idx="1043" formatCode="0.0%">
                  <c:v>0.25106743966494832</c:v>
                </c:pt>
                <c:pt idx="1044" formatCode="0.0%">
                  <c:v>0.24855351352812932</c:v>
                </c:pt>
                <c:pt idx="1045" formatCode="0.0%">
                  <c:v>0.24855351352812932</c:v>
                </c:pt>
                <c:pt idx="1046" formatCode="0.0%">
                  <c:v>0.24855351352812932</c:v>
                </c:pt>
                <c:pt idx="1047" formatCode="0.0%">
                  <c:v>0.25680231563140238</c:v>
                </c:pt>
                <c:pt idx="1048" formatCode="0.0%">
                  <c:v>0.26371559189832366</c:v>
                </c:pt>
                <c:pt idx="1049" formatCode="0.0%">
                  <c:v>0.26465830389496575</c:v>
                </c:pt>
                <c:pt idx="1050" formatCode="0.0%">
                  <c:v>0.26175156391843712</c:v>
                </c:pt>
                <c:pt idx="1051" formatCode="0.0%">
                  <c:v>0.26104454022562096</c:v>
                </c:pt>
                <c:pt idx="1052" formatCode="0.0%">
                  <c:v>0.26104454022562096</c:v>
                </c:pt>
                <c:pt idx="1053" formatCode="0.0%">
                  <c:v>0.26104454022562096</c:v>
                </c:pt>
                <c:pt idx="1054" formatCode="0.0%">
                  <c:v>0.26143735406533053</c:v>
                </c:pt>
                <c:pt idx="1055" formatCode="0.0%">
                  <c:v>0.26591526696337481</c:v>
                </c:pt>
                <c:pt idx="1056" formatCode="0.0%">
                  <c:v>0.27589236752404789</c:v>
                </c:pt>
                <c:pt idx="1057" formatCode="0.0%">
                  <c:v>0.27534246936711537</c:v>
                </c:pt>
                <c:pt idx="1058" formatCode="0.0%">
                  <c:v>0.27157158016188704</c:v>
                </c:pt>
                <c:pt idx="1059" formatCode="0.0%">
                  <c:v>0.27157158016188704</c:v>
                </c:pt>
                <c:pt idx="1060" formatCode="0.0%">
                  <c:v>0.27157158016188704</c:v>
                </c:pt>
                <c:pt idx="1061" formatCode="0.0%">
                  <c:v>0.27023605432553582</c:v>
                </c:pt>
                <c:pt idx="1062" formatCode="0.0%">
                  <c:v>0.26465830389496575</c:v>
                </c:pt>
                <c:pt idx="1063" formatCode="0.0%">
                  <c:v>0.26591526696337481</c:v>
                </c:pt>
                <c:pt idx="1064" formatCode="0.0%">
                  <c:v>0.2749496555274058</c:v>
                </c:pt>
                <c:pt idx="1065" formatCode="0.0%">
                  <c:v>0.28366979301966921</c:v>
                </c:pt>
                <c:pt idx="1066" formatCode="0.0%">
                  <c:v>0.28366979301966921</c:v>
                </c:pt>
                <c:pt idx="1067" formatCode="0.0%">
                  <c:v>0.28366979301966921</c:v>
                </c:pt>
                <c:pt idx="1068" formatCode="0.0%">
                  <c:v>0.27754214443216668</c:v>
                </c:pt>
                <c:pt idx="1069" formatCode="0.0%">
                  <c:v>0.28846195698948124</c:v>
                </c:pt>
                <c:pt idx="1070" formatCode="0.0%">
                  <c:v>0.29152582250189341</c:v>
                </c:pt>
                <c:pt idx="1071" formatCode="0.0%">
                  <c:v>0.29223284619470974</c:v>
                </c:pt>
                <c:pt idx="1072" formatCode="0.0%">
                  <c:v>0.29474677233152846</c:v>
                </c:pt>
                <c:pt idx="1073" formatCode="0.0%">
                  <c:v>0.29474677233152846</c:v>
                </c:pt>
                <c:pt idx="1074" formatCode="0.0%">
                  <c:v>0.29474677233152846</c:v>
                </c:pt>
                <c:pt idx="1075" formatCode="0.0%">
                  <c:v>0.30283844889891781</c:v>
                </c:pt>
                <c:pt idx="1076" formatCode="0.0%">
                  <c:v>0.30299557443480152</c:v>
                </c:pt>
                <c:pt idx="1077" formatCode="0.0%">
                  <c:v>0.3059808359606106</c:v>
                </c:pt>
                <c:pt idx="1078" formatCode="0.0%">
                  <c:v>0.29875330862192157</c:v>
                </c:pt>
                <c:pt idx="1079" formatCode="0.0%">
                  <c:v>0.3084947620974296</c:v>
                </c:pt>
                <c:pt idx="1080" formatCode="0.0%">
                  <c:v>0.3084947620974296</c:v>
                </c:pt>
                <c:pt idx="1081" formatCode="0.0%">
                  <c:v>0.3084947620974296</c:v>
                </c:pt>
                <c:pt idx="1082" formatCode="0.0%">
                  <c:v>0.3110086882342486</c:v>
                </c:pt>
                <c:pt idx="1083" formatCode="0.0%">
                  <c:v>0.31045874885865515</c:v>
                </c:pt>
                <c:pt idx="1084" formatCode="0.0%">
                  <c:v>0.31619362482510921</c:v>
                </c:pt>
                <c:pt idx="1085" formatCode="0.0%">
                  <c:v>0.30802338548977815</c:v>
                </c:pt>
                <c:pt idx="1086" formatCode="0.0%">
                  <c:v>0.31305123776341615</c:v>
                </c:pt>
                <c:pt idx="1087" formatCode="0.0%">
                  <c:v>0.31305123776341615</c:v>
                </c:pt>
                <c:pt idx="1088" formatCode="0.0%">
                  <c:v>0.31305123776341615</c:v>
                </c:pt>
                <c:pt idx="1089" formatCode="0.0%">
                  <c:v>0.31305123776341615</c:v>
                </c:pt>
                <c:pt idx="1090" formatCode="0.0%">
                  <c:v>0.31305123776341615</c:v>
                </c:pt>
                <c:pt idx="1091" formatCode="0.0%">
                  <c:v>0.30708067349313639</c:v>
                </c:pt>
                <c:pt idx="1092" formatCode="0.0%">
                  <c:v>0.31242273561988071</c:v>
                </c:pt>
                <c:pt idx="1093" formatCode="0.0%">
                  <c:v>0.31611506205716722</c:v>
                </c:pt>
                <c:pt idx="1094" formatCode="0.0%">
                  <c:v>0.31611506205716722</c:v>
                </c:pt>
                <c:pt idx="1095" formatCode="0.0%">
                  <c:v>0.31603649928922523</c:v>
                </c:pt>
                <c:pt idx="1096" formatCode="0.0%">
                  <c:v>0.31603649928922523</c:v>
                </c:pt>
                <c:pt idx="1097" formatCode="0.0%">
                  <c:v>0.31493666175669943</c:v>
                </c:pt>
                <c:pt idx="1098" formatCode="0.0%">
                  <c:v>0.31328692606724162</c:v>
                </c:pt>
                <c:pt idx="1099" formatCode="0.0%">
                  <c:v>0.3125012983878227</c:v>
                </c:pt>
                <c:pt idx="1100" formatCode="0.0%">
                  <c:v>0.3099088507017228</c:v>
                </c:pt>
                <c:pt idx="1101" formatCode="0.0%">
                  <c:v>0.3099088507017228</c:v>
                </c:pt>
                <c:pt idx="1102" formatCode="0.0%">
                  <c:v>0.3099088507017228</c:v>
                </c:pt>
                <c:pt idx="1103" formatCode="0.0%">
                  <c:v>0.30802338548977815</c:v>
                </c:pt>
                <c:pt idx="1104" formatCode="0.0%">
                  <c:v>0.31682212696864442</c:v>
                </c:pt>
                <c:pt idx="1105" formatCode="0.0%">
                  <c:v>0.32059297495521177</c:v>
                </c:pt>
                <c:pt idx="1106" formatCode="0.0%">
                  <c:v>0.31831473712221853</c:v>
                </c:pt>
                <c:pt idx="1107" formatCode="0.0%">
                  <c:v>0.32349971493174023</c:v>
                </c:pt>
                <c:pt idx="1108" formatCode="0.0%">
                  <c:v>0.32349971493174023</c:v>
                </c:pt>
                <c:pt idx="1109" formatCode="0.0%">
                  <c:v>0.32349971493174023</c:v>
                </c:pt>
                <c:pt idx="1110" formatCode="0.0%">
                  <c:v>0.32420673862455629</c:v>
                </c:pt>
                <c:pt idx="1111" formatCode="0.0%">
                  <c:v>0.32852752598671686</c:v>
                </c:pt>
                <c:pt idx="1112" formatCode="0.0%">
                  <c:v>0.31564372666817664</c:v>
                </c:pt>
                <c:pt idx="1113" formatCode="0.0%">
                  <c:v>0.32420673862455629</c:v>
                </c:pt>
                <c:pt idx="1114" formatCode="0.0%">
                  <c:v>0.32986305182306863</c:v>
                </c:pt>
                <c:pt idx="1115" formatCode="0.0%">
                  <c:v>0.32986305182306863</c:v>
                </c:pt>
                <c:pt idx="1116" formatCode="0.0%">
                  <c:v>0.32986305182306863</c:v>
                </c:pt>
                <c:pt idx="1117" formatCode="0.0%">
                  <c:v>0.34054721729521814</c:v>
                </c:pt>
                <c:pt idx="1118" formatCode="0.0%">
                  <c:v>0.34698911695448831</c:v>
                </c:pt>
                <c:pt idx="1119" formatCode="0.0%">
                  <c:v>0.3573590725735315</c:v>
                </c:pt>
                <c:pt idx="1120" formatCode="0.0%">
                  <c:v>0.36152273439980831</c:v>
                </c:pt>
                <c:pt idx="1121" formatCode="0.0%">
                  <c:v>0.36922159712748792</c:v>
                </c:pt>
                <c:pt idx="1122" formatCode="0.0%">
                  <c:v>0.36922159712748792</c:v>
                </c:pt>
                <c:pt idx="1123" formatCode="0.0%">
                  <c:v>0.36922159712748792</c:v>
                </c:pt>
                <c:pt idx="1124" formatCode="0.0%">
                  <c:v>0.37275679802889072</c:v>
                </c:pt>
                <c:pt idx="1125" formatCode="0.0%">
                  <c:v>0.37605631062646749</c:v>
                </c:pt>
                <c:pt idx="1126" formatCode="0.0%">
                  <c:v>0.35979439472374763</c:v>
                </c:pt>
                <c:pt idx="1127" formatCode="0.0%">
                  <c:v>0.36867169897055563</c:v>
                </c:pt>
                <c:pt idx="1128" formatCode="0.0%">
                  <c:v>0.38807600193496883</c:v>
                </c:pt>
                <c:pt idx="1129" formatCode="0.0%">
                  <c:v>0.38807600193496883</c:v>
                </c:pt>
                <c:pt idx="1130" formatCode="0.0%">
                  <c:v>0.38807600193496883</c:v>
                </c:pt>
                <c:pt idx="1131" formatCode="0.0%">
                  <c:v>0.39451790159423894</c:v>
                </c:pt>
                <c:pt idx="1132" formatCode="0.0%">
                  <c:v>0.39844591633535087</c:v>
                </c:pt>
                <c:pt idx="1133" formatCode="0.0%">
                  <c:v>0.40543775537021448</c:v>
                </c:pt>
                <c:pt idx="1134" formatCode="0.0%">
                  <c:v>0.40158830339704421</c:v>
                </c:pt>
                <c:pt idx="1135" formatCode="0.0%">
                  <c:v>0.40473069045873727</c:v>
                </c:pt>
                <c:pt idx="1136" formatCode="0.0%">
                  <c:v>0.40473069045873727</c:v>
                </c:pt>
                <c:pt idx="1137" formatCode="0.0%">
                  <c:v>0.40473069045873727</c:v>
                </c:pt>
                <c:pt idx="1138" formatCode="0.0%">
                  <c:v>0.41156544517637772</c:v>
                </c:pt>
                <c:pt idx="1139" formatCode="0.0%">
                  <c:v>0.40182399170086969</c:v>
                </c:pt>
                <c:pt idx="1140" formatCode="0.0%">
                  <c:v>0.40732317936349832</c:v>
                </c:pt>
                <c:pt idx="1141" formatCode="0.0%">
                  <c:v>0.41352943193760355</c:v>
                </c:pt>
                <c:pt idx="1142" formatCode="0.0%">
                  <c:v>0.41902861960023158</c:v>
                </c:pt>
                <c:pt idx="1143" formatCode="0.0%">
                  <c:v>0.41902861960023158</c:v>
                </c:pt>
                <c:pt idx="1144" formatCode="0.0%">
                  <c:v>0.41902861960023158</c:v>
                </c:pt>
                <c:pt idx="1145" formatCode="0.0%">
                  <c:v>0.41753596822799638</c:v>
                </c:pt>
                <c:pt idx="1146" formatCode="0.0%">
                  <c:v>0.40284526646545371</c:v>
                </c:pt>
                <c:pt idx="1147" formatCode="0.0%">
                  <c:v>0.40158830339704421</c:v>
                </c:pt>
                <c:pt idx="1148" formatCode="0.0%">
                  <c:v>0.42782731986043671</c:v>
                </c:pt>
                <c:pt idx="1149" formatCode="0.0%">
                  <c:v>0.43544766103883548</c:v>
                </c:pt>
                <c:pt idx="1150" formatCode="0.0%">
                  <c:v>0.43544766103883548</c:v>
                </c:pt>
                <c:pt idx="1151" formatCode="0.0%">
                  <c:v>0.43544766103883548</c:v>
                </c:pt>
                <c:pt idx="1152" formatCode="0.0%">
                  <c:v>0.42649183524274664</c:v>
                </c:pt>
                <c:pt idx="1153" formatCode="0.0%">
                  <c:v>0.42515630940639509</c:v>
                </c:pt>
                <c:pt idx="1154" formatCode="0.0%">
                  <c:v>0.42185679680881832</c:v>
                </c:pt>
                <c:pt idx="1155" formatCode="0.0%">
                  <c:v>0.42774879831115586</c:v>
                </c:pt>
                <c:pt idx="1156" formatCode="0.0%">
                  <c:v>0.43466207457807771</c:v>
                </c:pt>
                <c:pt idx="1157" formatCode="0.0%">
                  <c:v>0.43466207457807771</c:v>
                </c:pt>
                <c:pt idx="1158" formatCode="0.0%">
                  <c:v>0.43466207457807771</c:v>
                </c:pt>
                <c:pt idx="1159" formatCode="0.0%">
                  <c:v>0.43419069797042598</c:v>
                </c:pt>
                <c:pt idx="1160" formatCode="0.0%">
                  <c:v>0.42248525773369239</c:v>
                </c:pt>
                <c:pt idx="1161" formatCode="0.0%">
                  <c:v>0.4273559844714464</c:v>
                </c:pt>
                <c:pt idx="1162" formatCode="0.0%">
                  <c:v>0.43913998747612198</c:v>
                </c:pt>
                <c:pt idx="1163" formatCode="0.0%">
                  <c:v>0.44393215144593401</c:v>
                </c:pt>
                <c:pt idx="1164" formatCode="0.0%">
                  <c:v>0.44393215144593401</c:v>
                </c:pt>
                <c:pt idx="1165" formatCode="0.0%">
                  <c:v>0.44393215144593401</c:v>
                </c:pt>
                <c:pt idx="1166" formatCode="0.0%">
                  <c:v>0.42609902140303718</c:v>
                </c:pt>
                <c:pt idx="1167" formatCode="0.0%">
                  <c:v>0.44408923576315684</c:v>
                </c:pt>
                <c:pt idx="1168" formatCode="0.0%">
                  <c:v>0.44133966254117324</c:v>
                </c:pt>
                <c:pt idx="1169" formatCode="0.0%">
                  <c:v>0.44518907329568236</c:v>
                </c:pt>
                <c:pt idx="1170" formatCode="0.0%">
                  <c:v>0.43764733610388673</c:v>
                </c:pt>
                <c:pt idx="1171" formatCode="0.0%">
                  <c:v>0.43764733610388673</c:v>
                </c:pt>
                <c:pt idx="1172" formatCode="0.0%">
                  <c:v>0.43764733610388673</c:v>
                </c:pt>
                <c:pt idx="1173" formatCode="0.0%">
                  <c:v>0.4457390126712758</c:v>
                </c:pt>
                <c:pt idx="1174" formatCode="0.0%">
                  <c:v>0.44581757543921779</c:v>
                </c:pt>
                <c:pt idx="1175" formatCode="0.0%">
                  <c:v>0.45296654000996484</c:v>
                </c:pt>
                <c:pt idx="1176" formatCode="0.0%">
                  <c:v>0.47001404237344302</c:v>
                </c:pt>
                <c:pt idx="1177" formatCode="0.0%">
                  <c:v>0.47229228020643632</c:v>
                </c:pt>
                <c:pt idx="1178" formatCode="0.0%">
                  <c:v>0.47229228020643632</c:v>
                </c:pt>
                <c:pt idx="1179" formatCode="0.0%">
                  <c:v>0.47229228020643632</c:v>
                </c:pt>
                <c:pt idx="1180" formatCode="0.0%">
                  <c:v>0.46498619009980502</c:v>
                </c:pt>
                <c:pt idx="1181" formatCode="0.0%">
                  <c:v>0.46962122853373328</c:v>
                </c:pt>
                <c:pt idx="1182" formatCode="0.0%">
                  <c:v>0.46333645441034721</c:v>
                </c:pt>
                <c:pt idx="1183" formatCode="0.0%">
                  <c:v>0.46333645441034721</c:v>
                </c:pt>
                <c:pt idx="1184" formatCode="0.0%">
                  <c:v>0.46333645441034721</c:v>
                </c:pt>
                <c:pt idx="1185" formatCode="0.0%">
                  <c:v>0.46333645441034721</c:v>
                </c:pt>
                <c:pt idx="1186" formatCode="0.0%">
                  <c:v>0.46962122853373328</c:v>
                </c:pt>
                <c:pt idx="1187" formatCode="0.0%">
                  <c:v>0.46962122853373328</c:v>
                </c:pt>
                <c:pt idx="1188" formatCode="0.0%">
                  <c:v>0.4636506642634538</c:v>
                </c:pt>
                <c:pt idx="1189" formatCode="0.0%">
                  <c:v>0.46812861838015918</c:v>
                </c:pt>
                <c:pt idx="1190" formatCode="0.0%">
                  <c:v>0.46930701868062669</c:v>
                </c:pt>
                <c:pt idx="1191" formatCode="0.0%">
                  <c:v>0.4613724264304605</c:v>
                </c:pt>
                <c:pt idx="1192" formatCode="0.0%">
                  <c:v>0.4613724264304605</c:v>
                </c:pt>
                <c:pt idx="1193" formatCode="0.0%">
                  <c:v>0.4613724264304605</c:v>
                </c:pt>
                <c:pt idx="1194" formatCode="0.0%">
                  <c:v>0.46302220333857946</c:v>
                </c:pt>
                <c:pt idx="1195" formatCode="0.0%">
                  <c:v>0.44848862711192056</c:v>
                </c:pt>
                <c:pt idx="1196" formatCode="0.0%">
                  <c:v>0.4623937424137054</c:v>
                </c:pt>
                <c:pt idx="1197" formatCode="0.0%">
                  <c:v>0.46325789164240516</c:v>
                </c:pt>
                <c:pt idx="1198" formatCode="0.0%">
                  <c:v>0.46938554022990758</c:v>
                </c:pt>
                <c:pt idx="1199" formatCode="0.0%">
                  <c:v>0.46938554022990758</c:v>
                </c:pt>
                <c:pt idx="1200" formatCode="0.0%">
                  <c:v>0.46938554022990758</c:v>
                </c:pt>
                <c:pt idx="1201" formatCode="0.0%">
                  <c:v>0.47197802913466858</c:v>
                </c:pt>
                <c:pt idx="1202" formatCode="0.0%">
                  <c:v>0.4480958132722111</c:v>
                </c:pt>
                <c:pt idx="1203" formatCode="0.0%">
                  <c:v>0.44895996250091086</c:v>
                </c:pt>
                <c:pt idx="1204" formatCode="0.0%">
                  <c:v>0.4455818871353921</c:v>
                </c:pt>
                <c:pt idx="1205" formatCode="0.0%">
                  <c:v>0.43521197273500972</c:v>
                </c:pt>
                <c:pt idx="1206" formatCode="0.0%">
                  <c:v>0.43521197273500972</c:v>
                </c:pt>
                <c:pt idx="1207" formatCode="0.0%">
                  <c:v>0.43521197273500972</c:v>
                </c:pt>
                <c:pt idx="1208" formatCode="0.0%">
                  <c:v>0.43356223704555191</c:v>
                </c:pt>
                <c:pt idx="1209" formatCode="0.0%">
                  <c:v>0.4530451027779071</c:v>
                </c:pt>
                <c:pt idx="1210" formatCode="0.0%">
                  <c:v>0.45005980003343665</c:v>
                </c:pt>
                <c:pt idx="1211" formatCode="0.0%">
                  <c:v>0.43261948383024873</c:v>
                </c:pt>
                <c:pt idx="1212" formatCode="0.0%">
                  <c:v>0.46812861838015918</c:v>
                </c:pt>
                <c:pt idx="1213" formatCode="0.0%">
                  <c:v>0.46812861838015918</c:v>
                </c:pt>
                <c:pt idx="1214" formatCode="0.0%">
                  <c:v>0.46812861838015918</c:v>
                </c:pt>
                <c:pt idx="1215" formatCode="0.0%">
                  <c:v>0.46459341747875671</c:v>
                </c:pt>
                <c:pt idx="1216" formatCode="0.0%">
                  <c:v>0.45218091233054591</c:v>
                </c:pt>
                <c:pt idx="1217" formatCode="0.0%">
                  <c:v>0.44676028743585933</c:v>
                </c:pt>
                <c:pt idx="1218" formatCode="0.0%">
                  <c:v>0.44872427419708516</c:v>
                </c:pt>
                <c:pt idx="1219" formatCode="0.0%">
                  <c:v>0.45775870397977714</c:v>
                </c:pt>
                <c:pt idx="1220" formatCode="0.0%">
                  <c:v>0.45775870397977714</c:v>
                </c:pt>
                <c:pt idx="1221" formatCode="0.0%">
                  <c:v>0.45775870397977714</c:v>
                </c:pt>
                <c:pt idx="1222" formatCode="0.0%">
                  <c:v>0.47056394053037537</c:v>
                </c:pt>
                <c:pt idx="1223" formatCode="0.0%">
                  <c:v>0.47975549584895105</c:v>
                </c:pt>
                <c:pt idx="1224" formatCode="0.0%">
                  <c:v>0.48431197151493732</c:v>
                </c:pt>
                <c:pt idx="1225" formatCode="0.0%">
                  <c:v>0.48431197151493732</c:v>
                </c:pt>
                <c:pt idx="1226" formatCode="0.0%">
                  <c:v>0.48431197151493732</c:v>
                </c:pt>
                <c:pt idx="1227" formatCode="0.0%">
                  <c:v>0.48431197151493732</c:v>
                </c:pt>
                <c:pt idx="1228" formatCode="0.0%">
                  <c:v>0.48431197151493732</c:v>
                </c:pt>
                <c:pt idx="1229" formatCode="0.0%">
                  <c:v>0.49146089486702349</c:v>
                </c:pt>
                <c:pt idx="1230" formatCode="0.0%">
                  <c:v>0.49067530840626572</c:v>
                </c:pt>
                <c:pt idx="1231" formatCode="0.0%">
                  <c:v>0.50395196278317622</c:v>
                </c:pt>
                <c:pt idx="1232" formatCode="0.0%">
                  <c:v>0.50803706184151143</c:v>
                </c:pt>
                <c:pt idx="1233" formatCode="0.0%">
                  <c:v>0.50395196278317622</c:v>
                </c:pt>
                <c:pt idx="1234" formatCode="0.0%">
                  <c:v>0.50395196278317622</c:v>
                </c:pt>
                <c:pt idx="1235" formatCode="0.0%">
                  <c:v>0.50395196278317622</c:v>
                </c:pt>
                <c:pt idx="1236" formatCode="0.0%">
                  <c:v>0.50395196278317622</c:v>
                </c:pt>
                <c:pt idx="1237" formatCode="0.0%">
                  <c:v>0.50866552276638544</c:v>
                </c:pt>
                <c:pt idx="1238" formatCode="0.0%">
                  <c:v>0.50811562460945314</c:v>
                </c:pt>
                <c:pt idx="1239" formatCode="0.0%">
                  <c:v>0.50481611201187604</c:v>
                </c:pt>
                <c:pt idx="1240" formatCode="0.0%">
                  <c:v>0.50481611201187604</c:v>
                </c:pt>
                <c:pt idx="1241" formatCode="0.0%">
                  <c:v>0.50481611201187604</c:v>
                </c:pt>
                <c:pt idx="1242" formatCode="0.0%">
                  <c:v>0.50481611201187604</c:v>
                </c:pt>
                <c:pt idx="1243" formatCode="0.0%">
                  <c:v>0.51110088613526272</c:v>
                </c:pt>
                <c:pt idx="1244" formatCode="0.0%">
                  <c:v>0.5075656852338597</c:v>
                </c:pt>
                <c:pt idx="1245" formatCode="0.0%">
                  <c:v>0.50623020061616952</c:v>
                </c:pt>
                <c:pt idx="1246" formatCode="0.0%">
                  <c:v>0.49711720806553555</c:v>
                </c:pt>
                <c:pt idx="1247" formatCode="0.0%">
                  <c:v>0.50121022110679037</c:v>
                </c:pt>
                <c:pt idx="1248" formatCode="0.0%">
                  <c:v>0.50121022110679037</c:v>
                </c:pt>
                <c:pt idx="1249" formatCode="0.0%">
                  <c:v>0.50121022110679037</c:v>
                </c:pt>
                <c:pt idx="1250" formatCode="0.0%">
                  <c:v>0.49648874714066127</c:v>
                </c:pt>
                <c:pt idx="1251" formatCode="0.0%">
                  <c:v>0.4913823320990815</c:v>
                </c:pt>
                <c:pt idx="1252" formatCode="0.0%">
                  <c:v>0.4913823320990815</c:v>
                </c:pt>
                <c:pt idx="1253" formatCode="0.0%">
                  <c:v>0.51369337504002321</c:v>
                </c:pt>
                <c:pt idx="1254" formatCode="0.0%">
                  <c:v>0.52099946514665418</c:v>
                </c:pt>
                <c:pt idx="1255" formatCode="0.0%">
                  <c:v>0.52099946514665418</c:v>
                </c:pt>
                <c:pt idx="1256" formatCode="0.0%">
                  <c:v>0.52099946514665418</c:v>
                </c:pt>
                <c:pt idx="1257" formatCode="0.0%">
                  <c:v>0.52484887590116358</c:v>
                </c:pt>
                <c:pt idx="1258" formatCode="0.0%">
                  <c:v>0.52524168974087304</c:v>
                </c:pt>
                <c:pt idx="1259" formatCode="0.0%">
                  <c:v>0.53231209154367831</c:v>
                </c:pt>
                <c:pt idx="1260" formatCode="0.0%">
                  <c:v>0.53034810478245276</c:v>
                </c:pt>
                <c:pt idx="1261" formatCode="0.0%">
                  <c:v>0.53828265581395784</c:v>
                </c:pt>
                <c:pt idx="1262" formatCode="0.0%">
                  <c:v>0.53828265581395784</c:v>
                </c:pt>
                <c:pt idx="1263" formatCode="0.0%">
                  <c:v>0.53828265581395784</c:v>
                </c:pt>
                <c:pt idx="1264" formatCode="0.0%">
                  <c:v>0.53443320384078785</c:v>
                </c:pt>
                <c:pt idx="1265" formatCode="0.0%">
                  <c:v>0.548102630838747</c:v>
                </c:pt>
                <c:pt idx="1266" formatCode="0.0%">
                  <c:v>0.55195208281191721</c:v>
                </c:pt>
                <c:pt idx="1267" formatCode="0.0%">
                  <c:v>0.55485878156978485</c:v>
                </c:pt>
                <c:pt idx="1268" formatCode="0.0%">
                  <c:v>0.54676710500239556</c:v>
                </c:pt>
                <c:pt idx="1269" formatCode="0.0%">
                  <c:v>0.54676710500239556</c:v>
                </c:pt>
                <c:pt idx="1270" formatCode="0.0%">
                  <c:v>0.54676710500239556</c:v>
                </c:pt>
                <c:pt idx="1271" formatCode="0.0%">
                  <c:v>0.54213206656846724</c:v>
                </c:pt>
                <c:pt idx="1272" formatCode="0.0%">
                  <c:v>0.54613864407752144</c:v>
                </c:pt>
                <c:pt idx="1273" formatCode="0.0%">
                  <c:v>0.54951671944304026</c:v>
                </c:pt>
                <c:pt idx="1274" formatCode="0.0%">
                  <c:v>0.54959528221098219</c:v>
                </c:pt>
                <c:pt idx="1275" formatCode="0.0%">
                  <c:v>0.55430888341285223</c:v>
                </c:pt>
                <c:pt idx="1276" formatCode="0.0%">
                  <c:v>0.55430888341285223</c:v>
                </c:pt>
                <c:pt idx="1277" formatCode="0.0%">
                  <c:v>0.54001095427135792</c:v>
                </c:pt>
                <c:pt idx="1278" formatCode="0.0%">
                  <c:v>0.53679000444172287</c:v>
                </c:pt>
                <c:pt idx="1279" formatCode="0.0%">
                  <c:v>0.53961818165030939</c:v>
                </c:pt>
                <c:pt idx="1280" formatCode="0.0%">
                  <c:v>0.5437818434765862</c:v>
                </c:pt>
                <c:pt idx="1281" formatCode="0.0%">
                  <c:v>0.54951671944304026</c:v>
                </c:pt>
                <c:pt idx="1282" formatCode="0.0%">
                  <c:v>0.54700279330622126</c:v>
                </c:pt>
                <c:pt idx="1283" formatCode="0.0%">
                  <c:v>0.54700279330622126</c:v>
                </c:pt>
                <c:pt idx="1284" formatCode="0.0%">
                  <c:v>0.54700279330622126</c:v>
                </c:pt>
                <c:pt idx="1285" formatCode="0.0%">
                  <c:v>0.55179495727603356</c:v>
                </c:pt>
                <c:pt idx="1286" formatCode="0.0%">
                  <c:v>0.55650855847790348</c:v>
                </c:pt>
                <c:pt idx="1287" formatCode="0.0%">
                  <c:v>0.55658712124584553</c:v>
                </c:pt>
                <c:pt idx="1288" formatCode="0.0%">
                  <c:v>0.55627287017407778</c:v>
                </c:pt>
                <c:pt idx="1289" formatCode="0.0%">
                  <c:v>0.56287193658789281</c:v>
                </c:pt>
                <c:pt idx="1290" formatCode="0.0%">
                  <c:v>0.56287193658789281</c:v>
                </c:pt>
                <c:pt idx="1291" formatCode="0.0%">
                  <c:v>0.56287193658789281</c:v>
                </c:pt>
                <c:pt idx="1292" formatCode="0.0%">
                  <c:v>0.56302902090511564</c:v>
                </c:pt>
                <c:pt idx="1293" formatCode="0.0%">
                  <c:v>0.56499304888500201</c:v>
                </c:pt>
                <c:pt idx="1294" formatCode="0.0%">
                  <c:v>0.53938249334648358</c:v>
                </c:pt>
                <c:pt idx="1295" formatCode="0.0%">
                  <c:v>0.53922536781060015</c:v>
                </c:pt>
                <c:pt idx="1296" formatCode="0.0%">
                  <c:v>0.52806986694945945</c:v>
                </c:pt>
                <c:pt idx="1297" formatCode="0.0%">
                  <c:v>0.52806986694945945</c:v>
                </c:pt>
                <c:pt idx="1298" formatCode="0.0%">
                  <c:v>0.52806986694945945</c:v>
                </c:pt>
                <c:pt idx="1299" formatCode="0.0%">
                  <c:v>0.53600441798096488</c:v>
                </c:pt>
                <c:pt idx="1300" formatCode="0.0%">
                  <c:v>0.53993239150341599</c:v>
                </c:pt>
                <c:pt idx="1301" formatCode="0.0%">
                  <c:v>0.51715001317348397</c:v>
                </c:pt>
                <c:pt idx="1302" formatCode="0.0%">
                  <c:v>0.50387340001523429</c:v>
                </c:pt>
                <c:pt idx="1303" formatCode="0.0%">
                  <c:v>0.50827275014533679</c:v>
                </c:pt>
                <c:pt idx="1304" formatCode="0.0%">
                  <c:v>0.50827275014533679</c:v>
                </c:pt>
                <c:pt idx="1305" formatCode="0.0%">
                  <c:v>0.50827275014533679</c:v>
                </c:pt>
                <c:pt idx="1306" formatCode="0.0%">
                  <c:v>0.51817128793806777</c:v>
                </c:pt>
                <c:pt idx="1307" formatCode="0.0%">
                  <c:v>0.51392906334384891</c:v>
                </c:pt>
                <c:pt idx="1308" formatCode="0.0%">
                  <c:v>0.53273631400309995</c:v>
                </c:pt>
                <c:pt idx="1309" formatCode="0.0%">
                  <c:v>0.51817128793806777</c:v>
                </c:pt>
                <c:pt idx="1310" formatCode="0.0%">
                  <c:v>0.45123820033390388</c:v>
                </c:pt>
                <c:pt idx="1311" formatCode="0.0%">
                  <c:v>0.45123820033390388</c:v>
                </c:pt>
                <c:pt idx="1312" formatCode="0.0%">
                  <c:v>0.45123820033390388</c:v>
                </c:pt>
                <c:pt idx="1313" formatCode="0.0%">
                  <c:v>0.4118010922615426</c:v>
                </c:pt>
                <c:pt idx="1314" formatCode="0.0%">
                  <c:v>0.44023982500864778</c:v>
                </c:pt>
                <c:pt idx="1315" formatCode="0.0%">
                  <c:v>0.45595180153577419</c:v>
                </c:pt>
                <c:pt idx="1316" formatCode="0.0%">
                  <c:v>0.45650174091136736</c:v>
                </c:pt>
                <c:pt idx="1317" formatCode="0.0%">
                  <c:v>0.4661645904002728</c:v>
                </c:pt>
                <c:pt idx="1318" formatCode="0.0%">
                  <c:v>0.4661645904002728</c:v>
                </c:pt>
                <c:pt idx="1319" formatCode="0.0%">
                  <c:v>0.4661645904002728</c:v>
                </c:pt>
                <c:pt idx="1320" formatCode="0.0%">
                  <c:v>0.47614173217960654</c:v>
                </c:pt>
                <c:pt idx="1321" formatCode="0.0%">
                  <c:v>0.48148379430635091</c:v>
                </c:pt>
                <c:pt idx="1322" formatCode="0.0%">
                  <c:v>0.48046251954176711</c:v>
                </c:pt>
                <c:pt idx="1323" formatCode="0.0%">
                  <c:v>0.50890121107021091</c:v>
                </c:pt>
                <c:pt idx="1324" formatCode="0.0%">
                  <c:v>0.51392906334384891</c:v>
                </c:pt>
                <c:pt idx="1325" formatCode="0.0%">
                  <c:v>0.51392906334384891</c:v>
                </c:pt>
                <c:pt idx="1326" formatCode="0.0%">
                  <c:v>0.51392906334384891</c:v>
                </c:pt>
                <c:pt idx="1327" formatCode="0.0%">
                  <c:v>0.51447896150078154</c:v>
                </c:pt>
                <c:pt idx="1328" formatCode="0.0%">
                  <c:v>0.51337912396825569</c:v>
                </c:pt>
                <c:pt idx="1329" formatCode="0.0%">
                  <c:v>0.51573592456919071</c:v>
                </c:pt>
                <c:pt idx="1330" formatCode="0.0%">
                  <c:v>0.52037096300311902</c:v>
                </c:pt>
                <c:pt idx="1331" formatCode="0.0%">
                  <c:v>0.51110088613526272</c:v>
                </c:pt>
                <c:pt idx="1332" formatCode="0.0%">
                  <c:v>0.51110088613526272</c:v>
                </c:pt>
                <c:pt idx="1333" formatCode="0.0%">
                  <c:v>0.51110088613526272</c:v>
                </c:pt>
                <c:pt idx="1334" formatCode="0.0%">
                  <c:v>0.51589305010507447</c:v>
                </c:pt>
                <c:pt idx="1335" formatCode="0.0%">
                  <c:v>0.52107802791459623</c:v>
                </c:pt>
                <c:pt idx="1336" formatCode="0.0%">
                  <c:v>0.52202073991123821</c:v>
                </c:pt>
                <c:pt idx="1337" formatCode="0.0%">
                  <c:v>0.53592585521302283</c:v>
                </c:pt>
                <c:pt idx="1338" formatCode="0.0%">
                  <c:v>0.5324692170795623</c:v>
                </c:pt>
                <c:pt idx="1339" formatCode="0.0%">
                  <c:v>0.53885613104500518</c:v>
                </c:pt>
                <c:pt idx="1340" formatCode="0.0%">
                  <c:v>0.53885613104500518</c:v>
                </c:pt>
                <c:pt idx="1341" formatCode="0.0%">
                  <c:v>0.53836121858190011</c:v>
                </c:pt>
                <c:pt idx="1342" formatCode="0.0%">
                  <c:v>0.51267210027543941</c:v>
                </c:pt>
                <c:pt idx="1343" formatCode="0.0%">
                  <c:v>0.49947400866647085</c:v>
                </c:pt>
                <c:pt idx="1344" formatCode="0.0%">
                  <c:v>0.49538890960813575</c:v>
                </c:pt>
                <c:pt idx="1345" formatCode="0.0%">
                  <c:v>0.46899276760885927</c:v>
                </c:pt>
                <c:pt idx="1346" formatCode="0.0%">
                  <c:v>0.46899276760885927</c:v>
                </c:pt>
                <c:pt idx="1347" formatCode="0.0%">
                  <c:v>0.46899276760885927</c:v>
                </c:pt>
                <c:pt idx="1348" formatCode="0.0%">
                  <c:v>0.47920555647335761</c:v>
                </c:pt>
                <c:pt idx="1349" formatCode="0.0%">
                  <c:v>0.48376203213934416</c:v>
                </c:pt>
                <c:pt idx="1350" formatCode="0.0%">
                  <c:v>0.47622029494754853</c:v>
                </c:pt>
                <c:pt idx="1351" formatCode="0.0%">
                  <c:v>0.51337912396825569</c:v>
                </c:pt>
                <c:pt idx="1352" formatCode="0.0%">
                  <c:v>0.52272776360405404</c:v>
                </c:pt>
                <c:pt idx="1353" formatCode="0.0%">
                  <c:v>0.52272776360405404</c:v>
                </c:pt>
                <c:pt idx="1354" formatCode="0.0%">
                  <c:v>0.52272776360405404</c:v>
                </c:pt>
                <c:pt idx="1355" formatCode="0.0%">
                  <c:v>0.51471464980460691</c:v>
                </c:pt>
                <c:pt idx="1356" formatCode="0.0%">
                  <c:v>0.52579162911646649</c:v>
                </c:pt>
                <c:pt idx="1357" formatCode="0.0%">
                  <c:v>0.51887835284954487</c:v>
                </c:pt>
                <c:pt idx="1358" formatCode="0.0%">
                  <c:v>0.53875399120294842</c:v>
                </c:pt>
                <c:pt idx="1359" formatCode="0.0%">
                  <c:v>0.5309765657073271</c:v>
                </c:pt>
                <c:pt idx="1360" formatCode="0.0%">
                  <c:v>0.5309765657073271</c:v>
                </c:pt>
                <c:pt idx="1361" formatCode="0.0%">
                  <c:v>0.5309765657073271</c:v>
                </c:pt>
                <c:pt idx="1362" formatCode="0.0%">
                  <c:v>0.53969674441825133</c:v>
                </c:pt>
                <c:pt idx="1363" formatCode="0.0%">
                  <c:v>0.54087514471871889</c:v>
                </c:pt>
                <c:pt idx="1364" formatCode="0.0%">
                  <c:v>0.54606008130957917</c:v>
                </c:pt>
                <c:pt idx="1365" formatCode="0.0%">
                  <c:v>0.55226633388368496</c:v>
                </c:pt>
                <c:pt idx="1366" formatCode="0.0%">
                  <c:v>0.55407319510902653</c:v>
                </c:pt>
                <c:pt idx="1367" formatCode="0.0%">
                  <c:v>0.55407319510902653</c:v>
                </c:pt>
                <c:pt idx="1368" formatCode="0.0%">
                  <c:v>0.55407319510902653</c:v>
                </c:pt>
                <c:pt idx="1369" formatCode="0.0%">
                  <c:v>0.55576225340111651</c:v>
                </c:pt>
                <c:pt idx="1370" formatCode="0.0%">
                  <c:v>0.55116649635115922</c:v>
                </c:pt>
                <c:pt idx="1371" formatCode="0.0%">
                  <c:v>0.56027944768313176</c:v>
                </c:pt>
                <c:pt idx="1372" formatCode="0.0%">
                  <c:v>0.5619291833725899</c:v>
                </c:pt>
                <c:pt idx="1373" formatCode="0.0%">
                  <c:v>0.57324185098827518</c:v>
                </c:pt>
                <c:pt idx="1374" formatCode="0.0%">
                  <c:v>0.57324185098827518</c:v>
                </c:pt>
                <c:pt idx="1375" formatCode="0.0%">
                  <c:v>0.57324185098827518</c:v>
                </c:pt>
                <c:pt idx="1376" formatCode="0.0%">
                  <c:v>0.57842678757913546</c:v>
                </c:pt>
                <c:pt idx="1377" formatCode="0.0%">
                  <c:v>0.57709126174278425</c:v>
                </c:pt>
                <c:pt idx="1378" formatCode="0.0%">
                  <c:v>0.57944806234371926</c:v>
                </c:pt>
                <c:pt idx="1379" formatCode="0.0%">
                  <c:v>0.58863957644363407</c:v>
                </c:pt>
                <c:pt idx="1380" formatCode="0.0%">
                  <c:v>0.59539572717467193</c:v>
                </c:pt>
                <c:pt idx="1381" formatCode="0.0%">
                  <c:v>0.59539572717467193</c:v>
                </c:pt>
                <c:pt idx="1382" formatCode="0.0%">
                  <c:v>0.59539572717467193</c:v>
                </c:pt>
                <c:pt idx="1383" formatCode="0.0%">
                  <c:v>0.61142195477356609</c:v>
                </c:pt>
                <c:pt idx="1384" formatCode="0.0%">
                  <c:v>0.60615845541476376</c:v>
                </c:pt>
                <c:pt idx="1385" formatCode="0.0%">
                  <c:v>0.60513718065017996</c:v>
                </c:pt>
                <c:pt idx="1386" formatCode="0.0%">
                  <c:v>0.62084915717730638</c:v>
                </c:pt>
                <c:pt idx="1387" formatCode="0.0%">
                  <c:v>0.6140144436783268</c:v>
                </c:pt>
                <c:pt idx="1388" formatCode="0.0%">
                  <c:v>0.6140144436783268</c:v>
                </c:pt>
                <c:pt idx="1389" formatCode="0.0%">
                  <c:v>0.6140144436783268</c:v>
                </c:pt>
                <c:pt idx="1390" formatCode="0.0%">
                  <c:v>0.61260035507403388</c:v>
                </c:pt>
                <c:pt idx="1391" formatCode="0.0%">
                  <c:v>0.61173620584533384</c:v>
                </c:pt>
                <c:pt idx="1392" formatCode="0.0%">
                  <c:v>0.61236470798886866</c:v>
                </c:pt>
                <c:pt idx="1393" formatCode="0.0%">
                  <c:v>0.59798821607943242</c:v>
                </c:pt>
                <c:pt idx="1394" formatCode="0.0%">
                  <c:v>0.60364452927794476</c:v>
                </c:pt>
                <c:pt idx="1395" formatCode="0.0%">
                  <c:v>0.60364452927794476</c:v>
                </c:pt>
                <c:pt idx="1396" formatCode="0.0%">
                  <c:v>0.60364452927794476</c:v>
                </c:pt>
                <c:pt idx="1397" formatCode="0.0%">
                  <c:v>0.59853815545502587</c:v>
                </c:pt>
                <c:pt idx="1398" formatCode="0.0%">
                  <c:v>0.60262325451336063</c:v>
                </c:pt>
                <c:pt idx="1399" formatCode="0.0%">
                  <c:v>0.59547428994261364</c:v>
                </c:pt>
                <c:pt idx="1400" formatCode="0.0%">
                  <c:v>0.56765622779344627</c:v>
                </c:pt>
                <c:pt idx="1401" formatCode="0.0%">
                  <c:v>0.58196198848053826</c:v>
                </c:pt>
                <c:pt idx="1402" formatCode="0.0%">
                  <c:v>0.58196198848053826</c:v>
                </c:pt>
                <c:pt idx="1403" formatCode="0.0%">
                  <c:v>0.58196198848053826</c:v>
                </c:pt>
                <c:pt idx="1404" formatCode="0.0%">
                  <c:v>0.57787688942220317</c:v>
                </c:pt>
                <c:pt idx="1405" formatCode="0.0%">
                  <c:v>0.58282613770923808</c:v>
                </c:pt>
                <c:pt idx="1406" formatCode="0.0%">
                  <c:v>0.61919942148784857</c:v>
                </c:pt>
                <c:pt idx="1407" formatCode="0.0%">
                  <c:v>0.63208326202504994</c:v>
                </c:pt>
                <c:pt idx="1408" formatCode="0.0%">
                  <c:v>0.64048914844554528</c:v>
                </c:pt>
                <c:pt idx="1409" formatCode="0.0%">
                  <c:v>0.64048914844554528</c:v>
                </c:pt>
                <c:pt idx="1410" formatCode="0.0%">
                  <c:v>0.64048914844554528</c:v>
                </c:pt>
                <c:pt idx="1411" formatCode="0.0%">
                  <c:v>0.65777233911284894</c:v>
                </c:pt>
                <c:pt idx="1412" formatCode="0.0%">
                  <c:v>0.65400149112628159</c:v>
                </c:pt>
                <c:pt idx="1413" formatCode="0.0%">
                  <c:v>0.65023060192105331</c:v>
                </c:pt>
                <c:pt idx="1414" formatCode="0.0%">
                  <c:v>0.65337298898274643</c:v>
                </c:pt>
                <c:pt idx="1415" formatCode="0.0%">
                  <c:v>0.62933364758440513</c:v>
                </c:pt>
                <c:pt idx="1416" formatCode="0.0%">
                  <c:v>0.62933364758440513</c:v>
                </c:pt>
                <c:pt idx="1417" formatCode="0.0%">
                  <c:v>0.62933364758440513</c:v>
                </c:pt>
                <c:pt idx="1418" formatCode="0.0%">
                  <c:v>0.62634838605859555</c:v>
                </c:pt>
                <c:pt idx="1419" formatCode="0.0%">
                  <c:v>0.62650547037581872</c:v>
                </c:pt>
                <c:pt idx="1420" formatCode="0.0%">
                  <c:v>0.64017493859243868</c:v>
                </c:pt>
                <c:pt idx="1421" formatCode="0.0%">
                  <c:v>0.64653827548376686</c:v>
                </c:pt>
                <c:pt idx="1422" formatCode="0.0%">
                  <c:v>0.67317010578686909</c:v>
                </c:pt>
                <c:pt idx="1423" formatCode="0.0%">
                  <c:v>0.67317010578686909</c:v>
                </c:pt>
                <c:pt idx="1424" formatCode="0.0%">
                  <c:v>0.67317010578686909</c:v>
                </c:pt>
                <c:pt idx="1425" formatCode="0.0%">
                  <c:v>0.66617826675200575</c:v>
                </c:pt>
                <c:pt idx="1426" formatCode="0.0%">
                  <c:v>0.66892788119265023</c:v>
                </c:pt>
                <c:pt idx="1427" formatCode="0.0%">
                  <c:v>0.65690818988414923</c:v>
                </c:pt>
                <c:pt idx="1428" formatCode="0.0%">
                  <c:v>0.66264306585060295</c:v>
                </c:pt>
                <c:pt idx="1429" formatCode="0.0%">
                  <c:v>0.66727810428453149</c:v>
                </c:pt>
                <c:pt idx="1430" formatCode="0.0%">
                  <c:v>0.66744310258467376</c:v>
                </c:pt>
                <c:pt idx="1431" formatCode="0.0%">
                  <c:v>0.66744310258467376</c:v>
                </c:pt>
                <c:pt idx="1432" formatCode="0.0%">
                  <c:v>0.69021760815034694</c:v>
                </c:pt>
                <c:pt idx="1433" formatCode="0.0%">
                  <c:v>0.68935345892164723</c:v>
                </c:pt>
                <c:pt idx="1434" formatCode="0.0%">
                  <c:v>0.6992519967143781</c:v>
                </c:pt>
                <c:pt idx="1435" formatCode="0.0%">
                  <c:v>0.69870209855744581</c:v>
                </c:pt>
                <c:pt idx="1436" formatCode="0.0%">
                  <c:v>0.70192304838708053</c:v>
                </c:pt>
                <c:pt idx="1437" formatCode="0.0%">
                  <c:v>0.70192304838708053</c:v>
                </c:pt>
                <c:pt idx="1438" formatCode="0.0%">
                  <c:v>0.70192304838708053</c:v>
                </c:pt>
                <c:pt idx="1439" formatCode="0.0%">
                  <c:v>0.69131744568287246</c:v>
                </c:pt>
                <c:pt idx="1440" formatCode="0.0%">
                  <c:v>0.69728800995315254</c:v>
                </c:pt>
                <c:pt idx="1441" formatCode="0.0%">
                  <c:v>0.70310144868754831</c:v>
                </c:pt>
                <c:pt idx="1442" formatCode="0.0%">
                  <c:v>0.70506543544877387</c:v>
                </c:pt>
                <c:pt idx="1443" formatCode="0.0%">
                  <c:v>0.69783794932874565</c:v>
                </c:pt>
                <c:pt idx="1444" formatCode="0.0%">
                  <c:v>0.69783794932874565</c:v>
                </c:pt>
                <c:pt idx="1445" formatCode="0.0%">
                  <c:v>0.69783794932874565</c:v>
                </c:pt>
                <c:pt idx="1446" formatCode="0.0%">
                  <c:v>0.70050895978278727</c:v>
                </c:pt>
                <c:pt idx="1447" formatCode="0.0%">
                  <c:v>0.69108179859770813</c:v>
                </c:pt>
                <c:pt idx="1448" formatCode="0.0%">
                  <c:v>0.70121602469426481</c:v>
                </c:pt>
                <c:pt idx="1449" formatCode="0.0%">
                  <c:v>0.6679851691960087</c:v>
                </c:pt>
                <c:pt idx="1450" formatCode="0.0%">
                  <c:v>0.66672820612759898</c:v>
                </c:pt>
                <c:pt idx="1451" formatCode="0.0%">
                  <c:v>0.66672820612759898</c:v>
                </c:pt>
                <c:pt idx="1452" formatCode="0.0%">
                  <c:v>0.66672820612759898</c:v>
                </c:pt>
                <c:pt idx="1453" formatCode="0.0%">
                  <c:v>0.66939921658164081</c:v>
                </c:pt>
                <c:pt idx="1454" formatCode="0.0%">
                  <c:v>0.66939921658164081</c:v>
                </c:pt>
                <c:pt idx="1455" formatCode="0.0%">
                  <c:v>0.66939921658164081</c:v>
                </c:pt>
                <c:pt idx="1456" formatCode="0.0%">
                  <c:v>0.66939921658164081</c:v>
                </c:pt>
                <c:pt idx="1457" formatCode="0.0%">
                  <c:v>0.6737985667117431</c:v>
                </c:pt>
                <c:pt idx="1458" formatCode="0.0%">
                  <c:v>0.6737985667117431</c:v>
                </c:pt>
                <c:pt idx="1459" formatCode="0.0%">
                  <c:v>0.6737985667117431</c:v>
                </c:pt>
                <c:pt idx="1460" formatCode="0.0%">
                  <c:v>0.66704241598070557</c:v>
                </c:pt>
                <c:pt idx="1461" formatCode="0.0%">
                  <c:v>0.66988629749914852</c:v>
                </c:pt>
                <c:pt idx="1462" formatCode="0.0%">
                  <c:v>0.66988629749914852</c:v>
                </c:pt>
                <c:pt idx="1463" formatCode="0.0%">
                  <c:v>0.68990339829724034</c:v>
                </c:pt>
                <c:pt idx="1464" formatCode="0.0%">
                  <c:v>0.69178882229052419</c:v>
                </c:pt>
                <c:pt idx="1465" formatCode="0.0%">
                  <c:v>0.69178882229052419</c:v>
                </c:pt>
                <c:pt idx="1466" formatCode="0.0%">
                  <c:v>0.69178882229052419</c:v>
                </c:pt>
                <c:pt idx="1467" formatCode="0.0%">
                  <c:v>0.7020016111550228</c:v>
                </c:pt>
                <c:pt idx="1468" formatCode="0.0%">
                  <c:v>0.6941456228914592</c:v>
                </c:pt>
                <c:pt idx="1469" formatCode="0.0%">
                  <c:v>0.69548114872781042</c:v>
                </c:pt>
                <c:pt idx="1470" formatCode="0.0%">
                  <c:v>0.6956382742636944</c:v>
                </c:pt>
                <c:pt idx="1471" formatCode="0.0%">
                  <c:v>0.68636819739583788</c:v>
                </c:pt>
                <c:pt idx="1472" formatCode="0.0%">
                  <c:v>0.68636819739583788</c:v>
                </c:pt>
                <c:pt idx="1473" formatCode="0.0%">
                  <c:v>0.68636819739583788</c:v>
                </c:pt>
                <c:pt idx="1474" formatCode="0.0%">
                  <c:v>0.67890498175332314</c:v>
                </c:pt>
                <c:pt idx="1475" formatCode="0.0%">
                  <c:v>0.6788264189853811</c:v>
                </c:pt>
                <c:pt idx="1476" formatCode="0.0%">
                  <c:v>0.700980336390439</c:v>
                </c:pt>
                <c:pt idx="1477" formatCode="0.0%">
                  <c:v>0.70624383574924166</c:v>
                </c:pt>
                <c:pt idx="1478" formatCode="0.0%">
                  <c:v>0.71614241476063312</c:v>
                </c:pt>
                <c:pt idx="1479" formatCode="0.0%">
                  <c:v>0.71614241476063312</c:v>
                </c:pt>
                <c:pt idx="1480" formatCode="0.0%">
                  <c:v>0.71614241476063312</c:v>
                </c:pt>
                <c:pt idx="1481" formatCode="0.0%">
                  <c:v>0.70561537482436731</c:v>
                </c:pt>
                <c:pt idx="1482" formatCode="0.0%">
                  <c:v>0.70647952405306713</c:v>
                </c:pt>
                <c:pt idx="1483" formatCode="0.0%">
                  <c:v>0.7185777781295104</c:v>
                </c:pt>
                <c:pt idx="1484" formatCode="0.0%">
                  <c:v>0.72423409132802219</c:v>
                </c:pt>
                <c:pt idx="1485" formatCode="0.0%">
                  <c:v>0.71417842799940789</c:v>
                </c:pt>
                <c:pt idx="1486" formatCode="0.0%">
                  <c:v>0.71417842799940789</c:v>
                </c:pt>
                <c:pt idx="1487" formatCode="0.0%">
                  <c:v>0.71417842799940789</c:v>
                </c:pt>
                <c:pt idx="1488" formatCode="0.0%">
                  <c:v>0.69084611029388243</c:v>
                </c:pt>
                <c:pt idx="1489" formatCode="0.0%">
                  <c:v>0.71111456248699545</c:v>
                </c:pt>
                <c:pt idx="1490" formatCode="0.0%">
                  <c:v>0.71983474119791968</c:v>
                </c:pt>
                <c:pt idx="1491" formatCode="0.0%">
                  <c:v>0.72179872795914546</c:v>
                </c:pt>
                <c:pt idx="1492" formatCode="0.0%">
                  <c:v>0.72366844764257277</c:v>
                </c:pt>
                <c:pt idx="1493" formatCode="0.0%">
                  <c:v>0.72366844764257277</c:v>
                </c:pt>
                <c:pt idx="1494" formatCode="0.0%">
                  <c:v>0.72366844764257277</c:v>
                </c:pt>
                <c:pt idx="1495" formatCode="0.0%">
                  <c:v>0.72462686394907083</c:v>
                </c:pt>
                <c:pt idx="1496" formatCode="0.0%">
                  <c:v>0.72211297903091287</c:v>
                </c:pt>
                <c:pt idx="1497" formatCode="0.0%">
                  <c:v>0.7212989929126985</c:v>
                </c:pt>
                <c:pt idx="1498" formatCode="0.0%">
                  <c:v>0.74318601948752361</c:v>
                </c:pt>
                <c:pt idx="1499" formatCode="0.0%">
                  <c:v>0.73332783476395036</c:v>
                </c:pt>
                <c:pt idx="1500" formatCode="0.0%">
                  <c:v>0.73332783476395036</c:v>
                </c:pt>
                <c:pt idx="1501" formatCode="0.0%">
                  <c:v>0.73332783476395036</c:v>
                </c:pt>
                <c:pt idx="1502" formatCode="0.0%">
                  <c:v>0.7520493918269</c:v>
                </c:pt>
                <c:pt idx="1503" formatCode="0.0%">
                  <c:v>0.75015007714484594</c:v>
                </c:pt>
                <c:pt idx="1504" formatCode="0.0%">
                  <c:v>0.73513667448502218</c:v>
                </c:pt>
                <c:pt idx="1505" formatCode="0.0%">
                  <c:v>0.7319711637544859</c:v>
                </c:pt>
                <c:pt idx="1506" formatCode="0.0%">
                  <c:v>0.73359913599091475</c:v>
                </c:pt>
                <c:pt idx="1507" formatCode="0.0%">
                  <c:v>0.73359913599091475</c:v>
                </c:pt>
                <c:pt idx="1508" formatCode="0.0%">
                  <c:v>0.73359913599091475</c:v>
                </c:pt>
                <c:pt idx="1509" formatCode="0.0%">
                  <c:v>0.74137717976645179</c:v>
                </c:pt>
                <c:pt idx="1510" formatCode="0.0%">
                  <c:v>0.74571841158448815</c:v>
                </c:pt>
                <c:pt idx="1511" formatCode="0.0%">
                  <c:v>0.74535663539654162</c:v>
                </c:pt>
                <c:pt idx="1512" formatCode="0.0%">
                  <c:v>0.73396091217886128</c:v>
                </c:pt>
                <c:pt idx="1513" formatCode="0.0%">
                  <c:v>0.73567931815761145</c:v>
                </c:pt>
                <c:pt idx="1514" formatCode="0.0%">
                  <c:v>0.73567931815761145</c:v>
                </c:pt>
                <c:pt idx="1515" formatCode="0.0%">
                  <c:v>0.73567931815761145</c:v>
                </c:pt>
                <c:pt idx="1516" formatCode="0.0%">
                  <c:v>0.7124356205733221</c:v>
                </c:pt>
                <c:pt idx="1517" formatCode="0.0%">
                  <c:v>0.70103989735564143</c:v>
                </c:pt>
                <c:pt idx="1518" formatCode="0.0%">
                  <c:v>0.71777174721287651</c:v>
                </c:pt>
                <c:pt idx="1519" formatCode="0.0%">
                  <c:v>0.71704819483698345</c:v>
                </c:pt>
                <c:pt idx="1520" formatCode="0.0%">
                  <c:v>0.70912543234253544</c:v>
                </c:pt>
                <c:pt idx="1521" formatCode="0.0%">
                  <c:v>0.70912543234253544</c:v>
                </c:pt>
                <c:pt idx="1522" formatCode="0.0%">
                  <c:v>0.70912543234253544</c:v>
                </c:pt>
                <c:pt idx="1523" formatCode="0.0%">
                  <c:v>0.69941192511921257</c:v>
                </c:pt>
                <c:pt idx="1524" formatCode="0.0%">
                  <c:v>0.64496561869045332</c:v>
                </c:pt>
                <c:pt idx="1525" formatCode="0.0%">
                  <c:v>0.63067572718786158</c:v>
                </c:pt>
                <c:pt idx="1526" formatCode="0.0%">
                  <c:v>0.6268771390424146</c:v>
                </c:pt>
                <c:pt idx="1527" formatCode="0.0%">
                  <c:v>0.60661808470401868</c:v>
                </c:pt>
                <c:pt idx="1528" formatCode="0.0%">
                  <c:v>0.60661808470401868</c:v>
                </c:pt>
                <c:pt idx="1529" formatCode="0.0%">
                  <c:v>0.60661808470401868</c:v>
                </c:pt>
                <c:pt idx="1530" formatCode="0.0%">
                  <c:v>0.59621721508919567</c:v>
                </c:pt>
                <c:pt idx="1531" formatCode="0.0%">
                  <c:v>0.56944627180508378</c:v>
                </c:pt>
                <c:pt idx="1532" formatCode="0.0%">
                  <c:v>0.56790873331097624</c:v>
                </c:pt>
                <c:pt idx="1533" formatCode="0.0%">
                  <c:v>0.56094467565365358</c:v>
                </c:pt>
                <c:pt idx="1534" formatCode="0.0%">
                  <c:v>0.58445967446490754</c:v>
                </c:pt>
                <c:pt idx="1535" formatCode="0.0%">
                  <c:v>0.58445967446490754</c:v>
                </c:pt>
                <c:pt idx="1536" formatCode="0.0%">
                  <c:v>0.58445967446490754</c:v>
                </c:pt>
                <c:pt idx="1537" formatCode="0.0%">
                  <c:v>0.58681119907722945</c:v>
                </c:pt>
                <c:pt idx="1538" formatCode="0.0%">
                  <c:v>0.57794782673785283</c:v>
                </c:pt>
                <c:pt idx="1539" formatCode="0.0%">
                  <c:v>0.59838783099821369</c:v>
                </c:pt>
                <c:pt idx="1540" formatCode="0.0%">
                  <c:v>0.6084269244250905</c:v>
                </c:pt>
                <c:pt idx="1541" formatCode="0.0%">
                  <c:v>0.592780403131695</c:v>
                </c:pt>
                <c:pt idx="1542" formatCode="0.0%">
                  <c:v>0.592780403131695</c:v>
                </c:pt>
                <c:pt idx="1543" formatCode="0.0%">
                  <c:v>0.592780403131695</c:v>
                </c:pt>
                <c:pt idx="1544" formatCode="0.0%">
                  <c:v>0.62416387946080709</c:v>
                </c:pt>
                <c:pt idx="1545" formatCode="0.0%">
                  <c:v>0.62778160012161155</c:v>
                </c:pt>
                <c:pt idx="1546" formatCode="0.0%">
                  <c:v>0.62389257823384303</c:v>
                </c:pt>
                <c:pt idx="1547" formatCode="0.0%">
                  <c:v>0.6150292058944663</c:v>
                </c:pt>
                <c:pt idx="1548" formatCode="0.0%">
                  <c:v>0.59115243089526581</c:v>
                </c:pt>
                <c:pt idx="1549" formatCode="0.0%">
                  <c:v>0.59115243089526581</c:v>
                </c:pt>
                <c:pt idx="1550" formatCode="0.0%">
                  <c:v>0.59115243089526581</c:v>
                </c:pt>
                <c:pt idx="1551" formatCode="0.0%">
                  <c:v>0.5895425536510337</c:v>
                </c:pt>
                <c:pt idx="1552" formatCode="0.0%">
                  <c:v>0.59377525673455211</c:v>
                </c:pt>
                <c:pt idx="1553" formatCode="0.0%">
                  <c:v>0.59205685075580161</c:v>
                </c:pt>
                <c:pt idx="1554" formatCode="0.0%">
                  <c:v>0.50993518118239511</c:v>
                </c:pt>
                <c:pt idx="1555" formatCode="0.0%">
                  <c:v>0.45114764293559972</c:v>
                </c:pt>
                <c:pt idx="1556" formatCode="0.0%">
                  <c:v>0.45114764293559972</c:v>
                </c:pt>
                <c:pt idx="1557" formatCode="0.0%">
                  <c:v>0.45114764293559972</c:v>
                </c:pt>
                <c:pt idx="1558" formatCode="0.0%">
                  <c:v>0.42338184604863072</c:v>
                </c:pt>
                <c:pt idx="1559" formatCode="0.0%">
                  <c:v>0.46552800939917349</c:v>
                </c:pt>
                <c:pt idx="1560" formatCode="0.0%">
                  <c:v>0.38801887287076736</c:v>
                </c:pt>
                <c:pt idx="1561" formatCode="0.0%">
                  <c:v>0.46001101527497612</c:v>
                </c:pt>
                <c:pt idx="1562" formatCode="0.0%">
                  <c:v>0.44137989195434812</c:v>
                </c:pt>
                <c:pt idx="1563" formatCode="0.0%">
                  <c:v>0.44137989195434812</c:v>
                </c:pt>
                <c:pt idx="1564" formatCode="0.0%">
                  <c:v>0.44137989195434812</c:v>
                </c:pt>
                <c:pt idx="1565" formatCode="0.0%">
                  <c:v>0.48434000020444445</c:v>
                </c:pt>
                <c:pt idx="1566" formatCode="0.0%">
                  <c:v>0.48614883992551627</c:v>
                </c:pt>
                <c:pt idx="1567" formatCode="0.0%">
                  <c:v>0.46317648478685158</c:v>
                </c:pt>
                <c:pt idx="1568" formatCode="0.0%">
                  <c:v>0.46317648478685158</c:v>
                </c:pt>
                <c:pt idx="1569" formatCode="0.0%">
                  <c:v>0.46317648478685158</c:v>
                </c:pt>
                <c:pt idx="1570" formatCode="0.0%">
                  <c:v>0.46317648478685158</c:v>
                </c:pt>
                <c:pt idx="1571" formatCode="0.0%">
                  <c:v>0.46317648478685158</c:v>
                </c:pt>
                <c:pt idx="1572" formatCode="0.0%">
                  <c:v>0.46317648478685158</c:v>
                </c:pt>
                <c:pt idx="1573" formatCode="0.0%">
                  <c:v>0.44246517929952689</c:v>
                </c:pt>
                <c:pt idx="1574" formatCode="0.0%">
                  <c:v>0.49700191947060718</c:v>
                </c:pt>
                <c:pt idx="1575" formatCode="0.0%">
                  <c:v>0.49609749961007166</c:v>
                </c:pt>
                <c:pt idx="1576" formatCode="0.0%">
                  <c:v>0.50197626992221533</c:v>
                </c:pt>
                <c:pt idx="1577" formatCode="0.0%">
                  <c:v>0.50197626992221533</c:v>
                </c:pt>
                <c:pt idx="1578" formatCode="0.0%">
                  <c:v>0.50197626992221533</c:v>
                </c:pt>
                <c:pt idx="1579" formatCode="0.0%">
                  <c:v>0.51156315341882419</c:v>
                </c:pt>
                <c:pt idx="1580" formatCode="0.0%">
                  <c:v>0.51843677733382521</c:v>
                </c:pt>
                <c:pt idx="1581" formatCode="0.0%">
                  <c:v>0.52755335590796959</c:v>
                </c:pt>
                <c:pt idx="1582" formatCode="0.0%">
                  <c:v>0.55036293855418794</c:v>
                </c:pt>
                <c:pt idx="1583" formatCode="0.0%">
                  <c:v>0.55117692467240231</c:v>
                </c:pt>
                <c:pt idx="1584" formatCode="0.0%">
                  <c:v>0.55117692467240231</c:v>
                </c:pt>
                <c:pt idx="1585" formatCode="0.0%">
                  <c:v>0.55117692467240231</c:v>
                </c:pt>
                <c:pt idx="1586" formatCode="0.0%">
                  <c:v>0.56004025579311789</c:v>
                </c:pt>
                <c:pt idx="1587" formatCode="0.0%">
                  <c:v>0.55090558222677688</c:v>
                </c:pt>
                <c:pt idx="1588" formatCode="0.0%">
                  <c:v>0.54710699408133001</c:v>
                </c:pt>
                <c:pt idx="1589" formatCode="0.0%">
                  <c:v>0.55786963988409977</c:v>
                </c:pt>
                <c:pt idx="1590" formatCode="0.0%">
                  <c:v>0.57206909764436997</c:v>
                </c:pt>
                <c:pt idx="1591" formatCode="0.0%">
                  <c:v>0.57206909764436997</c:v>
                </c:pt>
                <c:pt idx="1592" formatCode="0.0%">
                  <c:v>0.57206909764436997</c:v>
                </c:pt>
                <c:pt idx="1593" formatCode="0.0%">
                  <c:v>0.6152101145977702</c:v>
                </c:pt>
                <c:pt idx="1594" formatCode="0.0%">
                  <c:v>0.61991308138509194</c:v>
                </c:pt>
                <c:pt idx="1595" formatCode="0.0%">
                  <c:v>0.62651540407312922</c:v>
                </c:pt>
                <c:pt idx="1596" formatCode="0.0%">
                  <c:v>0.63212283193964791</c:v>
                </c:pt>
                <c:pt idx="1597" formatCode="0.0%">
                  <c:v>0.64523696113607854</c:v>
                </c:pt>
                <c:pt idx="1598" formatCode="0.0%">
                  <c:v>0.64523696113607854</c:v>
                </c:pt>
                <c:pt idx="1599" formatCode="0.0%">
                  <c:v>0.64523696113607854</c:v>
                </c:pt>
                <c:pt idx="1600" formatCode="0.0%">
                  <c:v>0.63646406375768438</c:v>
                </c:pt>
                <c:pt idx="1601" formatCode="0.0%">
                  <c:v>0.64397076508759621</c:v>
                </c:pt>
                <c:pt idx="1602" formatCode="0.0%">
                  <c:v>0.63103750337580833</c:v>
                </c:pt>
                <c:pt idx="1603" formatCode="0.0%">
                  <c:v>0.62443522190643252</c:v>
                </c:pt>
                <c:pt idx="1604" formatCode="0.0%">
                  <c:v>0.60553275614017876</c:v>
                </c:pt>
                <c:pt idx="1605" formatCode="0.0%">
                  <c:v>0.60553275614017876</c:v>
                </c:pt>
                <c:pt idx="1606" formatCode="0.0%">
                  <c:v>0.60553275614017876</c:v>
                </c:pt>
                <c:pt idx="1607" formatCode="0.0%">
                  <c:v>0.61729025554580597</c:v>
                </c:pt>
                <c:pt idx="1608" formatCode="0.0%">
                  <c:v>0.62977130732732578</c:v>
                </c:pt>
                <c:pt idx="1609" formatCode="0.0%">
                  <c:v>0.6327559093545585</c:v>
                </c:pt>
                <c:pt idx="1610" formatCode="0.0%">
                  <c:v>0.6327559093545585</c:v>
                </c:pt>
                <c:pt idx="1611" formatCode="0.0%">
                  <c:v>0.6327559093545585</c:v>
                </c:pt>
                <c:pt idx="1612" formatCode="0.0%">
                  <c:v>0.62979842920629014</c:v>
                </c:pt>
                <c:pt idx="1613" formatCode="0.0%">
                  <c:v>0.62979842920629014</c:v>
                </c:pt>
                <c:pt idx="1614" formatCode="0.0%">
                  <c:v>0.62045576627634236</c:v>
                </c:pt>
                <c:pt idx="1615" formatCode="0.0%">
                  <c:v>0.63691627368795223</c:v>
                </c:pt>
                <c:pt idx="1616" formatCode="0.0%">
                  <c:v>0.64152880673295276</c:v>
                </c:pt>
                <c:pt idx="1617" formatCode="0.0%">
                  <c:v>0.64152880673295276</c:v>
                </c:pt>
                <c:pt idx="1618" formatCode="0.0%">
                  <c:v>0.6533767810995621</c:v>
                </c:pt>
                <c:pt idx="1619" formatCode="0.0%">
                  <c:v>0.6533767810995621</c:v>
                </c:pt>
                <c:pt idx="1620" formatCode="0.0%">
                  <c:v>0.6533767810995621</c:v>
                </c:pt>
                <c:pt idx="1621" formatCode="0.0%">
                  <c:v>0.6533767810995621</c:v>
                </c:pt>
                <c:pt idx="1622" formatCode="0.0%">
                  <c:v>0.64641272344223977</c:v>
                </c:pt>
                <c:pt idx="1623" formatCode="0.0%">
                  <c:v>0.64641272344223977</c:v>
                </c:pt>
                <c:pt idx="1624" formatCode="0.0%">
                  <c:v>0.62922866365473651</c:v>
                </c:pt>
                <c:pt idx="1625" formatCode="0.0%">
                  <c:v>0.62199326355178897</c:v>
                </c:pt>
                <c:pt idx="1626" formatCode="0.0%">
                  <c:v>0.62199326355178897</c:v>
                </c:pt>
                <c:pt idx="1627" formatCode="0.0%">
                  <c:v>0.62199326355178897</c:v>
                </c:pt>
                <c:pt idx="1628" formatCode="0.0%">
                  <c:v>0.63004264977295121</c:v>
                </c:pt>
                <c:pt idx="1629" formatCode="0.0%">
                  <c:v>0.63031395099991527</c:v>
                </c:pt>
                <c:pt idx="1630" formatCode="0.0%">
                  <c:v>0.63429344784866604</c:v>
                </c:pt>
                <c:pt idx="1631" formatCode="0.0%">
                  <c:v>0.62018442383071715</c:v>
                </c:pt>
                <c:pt idx="1632" formatCode="0.0%">
                  <c:v>0.62398301197616435</c:v>
                </c:pt>
                <c:pt idx="1633" formatCode="0.0%">
                  <c:v>0.62398301197616435</c:v>
                </c:pt>
                <c:pt idx="1634" formatCode="0.0%">
                  <c:v>0.62398301197616435</c:v>
                </c:pt>
                <c:pt idx="1635" formatCode="0.0%">
                  <c:v>0.61846601785196664</c:v>
                </c:pt>
                <c:pt idx="1636" formatCode="0.0%">
                  <c:v>0.62805290134857561</c:v>
                </c:pt>
                <c:pt idx="1637" formatCode="0.0%">
                  <c:v>0.6298617410696471</c:v>
                </c:pt>
                <c:pt idx="1638" formatCode="0.0%">
                  <c:v>0.62479699809437872</c:v>
                </c:pt>
                <c:pt idx="1639" formatCode="0.0%">
                  <c:v>0.63474565777893421</c:v>
                </c:pt>
                <c:pt idx="1640" formatCode="0.0%">
                  <c:v>0.63474565777893421</c:v>
                </c:pt>
                <c:pt idx="1641" formatCode="0.0%">
                  <c:v>0.63474565777893421</c:v>
                </c:pt>
                <c:pt idx="1642" formatCode="0.0%">
                  <c:v>0.64189058292089929</c:v>
                </c:pt>
                <c:pt idx="1643" formatCode="0.0%">
                  <c:v>0.63185148949402281</c:v>
                </c:pt>
                <c:pt idx="1644" formatCode="0.0%">
                  <c:v>0.63691627368795223</c:v>
                </c:pt>
                <c:pt idx="1645" formatCode="0.0%">
                  <c:v>0.6533767810995621</c:v>
                </c:pt>
                <c:pt idx="1646" formatCode="0.0%">
                  <c:v>0.64270456903911399</c:v>
                </c:pt>
                <c:pt idx="1647" formatCode="0.0%">
                  <c:v>0.64270456903911399</c:v>
                </c:pt>
                <c:pt idx="1648" formatCode="0.0%">
                  <c:v>0.64270456903911399</c:v>
                </c:pt>
                <c:pt idx="1649" formatCode="0.0%">
                  <c:v>0.64867377309357921</c:v>
                </c:pt>
                <c:pt idx="1650" formatCode="0.0%">
                  <c:v>0.64795022071768582</c:v>
                </c:pt>
                <c:pt idx="1651" formatCode="0.0%">
                  <c:v>0.65111573144822243</c:v>
                </c:pt>
                <c:pt idx="1652" formatCode="0.0%">
                  <c:v>0.65762757917527692</c:v>
                </c:pt>
                <c:pt idx="1653" formatCode="0.0%">
                  <c:v>0.64966862669643632</c:v>
                </c:pt>
                <c:pt idx="1654" formatCode="0.0%">
                  <c:v>0.64966862669643632</c:v>
                </c:pt>
                <c:pt idx="1655" formatCode="0.0%">
                  <c:v>0.64966862669643632</c:v>
                </c:pt>
                <c:pt idx="1656" formatCode="0.0%">
                  <c:v>0.65192967634777599</c:v>
                </c:pt>
                <c:pt idx="1657" formatCode="0.0%">
                  <c:v>0.66151660106304544</c:v>
                </c:pt>
                <c:pt idx="1658" formatCode="0.0%">
                  <c:v>0.65943641889634874</c:v>
                </c:pt>
                <c:pt idx="1659" formatCode="0.0%">
                  <c:v>0.66676225274161793</c:v>
                </c:pt>
                <c:pt idx="1660" formatCode="0.0%">
                  <c:v>0.66413942690233174</c:v>
                </c:pt>
                <c:pt idx="1661" formatCode="0.0%">
                  <c:v>0.66413942690233174</c:v>
                </c:pt>
                <c:pt idx="1662" formatCode="0.0%">
                  <c:v>0.66413942690233174</c:v>
                </c:pt>
                <c:pt idx="1663" formatCode="0.0%">
                  <c:v>0.66576735792009967</c:v>
                </c:pt>
                <c:pt idx="1664" formatCode="0.0%">
                  <c:v>0.65726580298733073</c:v>
                </c:pt>
                <c:pt idx="1665" formatCode="0.0%">
                  <c:v>0.66857109246268975</c:v>
                </c:pt>
                <c:pt idx="1666" formatCode="0.0%">
                  <c:v>0.67164612823224357</c:v>
                </c:pt>
                <c:pt idx="1667" formatCode="0.0%">
                  <c:v>0.67616822753492267</c:v>
                </c:pt>
                <c:pt idx="1668" formatCode="0.0%">
                  <c:v>0.67616822753492267</c:v>
                </c:pt>
                <c:pt idx="1669" formatCode="0.0%">
                  <c:v>0.67616822753492267</c:v>
                </c:pt>
                <c:pt idx="1670" formatCode="0.0%">
                  <c:v>0.68846841183180008</c:v>
                </c:pt>
                <c:pt idx="1671" formatCode="0.0%">
                  <c:v>0.70013547749510563</c:v>
                </c:pt>
                <c:pt idx="1672" formatCode="0.0%">
                  <c:v>0.71171210941608964</c:v>
                </c:pt>
                <c:pt idx="1673" formatCode="0.0%">
                  <c:v>0.70985801160519657</c:v>
                </c:pt>
                <c:pt idx="1674" formatCode="0.0%">
                  <c:v>0.70058768742537358</c:v>
                </c:pt>
                <c:pt idx="1675" formatCode="0.0%">
                  <c:v>0.70058768742537358</c:v>
                </c:pt>
                <c:pt idx="1676" formatCode="0.0%">
                  <c:v>0.70058768742537358</c:v>
                </c:pt>
                <c:pt idx="1677" formatCode="0.0%">
                  <c:v>0.69271920990751512</c:v>
                </c:pt>
                <c:pt idx="1678" formatCode="0.0%">
                  <c:v>0.69235743371956859</c:v>
                </c:pt>
                <c:pt idx="1679" formatCode="0.0%">
                  <c:v>0.69045811903751453</c:v>
                </c:pt>
                <c:pt idx="1680" formatCode="0.0%">
                  <c:v>0.70429580060983821</c:v>
                </c:pt>
                <c:pt idx="1681" formatCode="0.0%">
                  <c:v>0.70800395501296409</c:v>
                </c:pt>
                <c:pt idx="1682" formatCode="0.0%">
                  <c:v>0.70800395501296409</c:v>
                </c:pt>
                <c:pt idx="1683" formatCode="0.0%">
                  <c:v>0.70800395501296409</c:v>
                </c:pt>
                <c:pt idx="1684" formatCode="0.0%">
                  <c:v>0.71704819483698345</c:v>
                </c:pt>
                <c:pt idx="1685" formatCode="0.0%">
                  <c:v>0.71677685239135824</c:v>
                </c:pt>
                <c:pt idx="1686" formatCode="0.0%">
                  <c:v>0.71949015319162668</c:v>
                </c:pt>
                <c:pt idx="1687" formatCode="0.0%">
                  <c:v>0.72880569424261044</c:v>
                </c:pt>
                <c:pt idx="1688" formatCode="0.0%">
                  <c:v>0.71560113130385816</c:v>
                </c:pt>
                <c:pt idx="1689" formatCode="0.0%">
                  <c:v>0.71560113130385816</c:v>
                </c:pt>
                <c:pt idx="1690" formatCode="0.0%">
                  <c:v>0.71560113130385816</c:v>
                </c:pt>
                <c:pt idx="1691" formatCode="0.0%">
                  <c:v>0.72075630802144819</c:v>
                </c:pt>
                <c:pt idx="1692" formatCode="0.0%">
                  <c:v>0.71858569211242984</c:v>
                </c:pt>
                <c:pt idx="1693" formatCode="0.0%">
                  <c:v>0.70456714305546342</c:v>
                </c:pt>
                <c:pt idx="1694" formatCode="0.0%">
                  <c:v>0.71949015319162668</c:v>
                </c:pt>
                <c:pt idx="1695" formatCode="0.0%">
                  <c:v>0.72690642077921719</c:v>
                </c:pt>
                <c:pt idx="1696" formatCode="0.0%">
                  <c:v>0.72690642077921719</c:v>
                </c:pt>
                <c:pt idx="1697" formatCode="0.0%">
                  <c:v>0.72690642077921719</c:v>
                </c:pt>
                <c:pt idx="1698" formatCode="0.0%">
                  <c:v>0.72536888228510976</c:v>
                </c:pt>
                <c:pt idx="1699" formatCode="0.0%">
                  <c:v>0.72500710609716323</c:v>
                </c:pt>
                <c:pt idx="1700" formatCode="0.0%">
                  <c:v>0.73595066060323655</c:v>
                </c:pt>
                <c:pt idx="1701" formatCode="0.0%">
                  <c:v>0.73061453396368192</c:v>
                </c:pt>
                <c:pt idx="1702" formatCode="0.0%">
                  <c:v>0.71759083850957295</c:v>
                </c:pt>
                <c:pt idx="1703" formatCode="0.0%">
                  <c:v>0.71759083850957295</c:v>
                </c:pt>
                <c:pt idx="1704" formatCode="0.0%">
                  <c:v>0.71902887515593017</c:v>
                </c:pt>
                <c:pt idx="1705" formatCode="0.0%">
                  <c:v>0.71885703455805527</c:v>
                </c:pt>
                <c:pt idx="1706" formatCode="0.0%">
                  <c:v>0.70836573120091062</c:v>
                </c:pt>
                <c:pt idx="1707" formatCode="0.0%">
                  <c:v>0.72292696514912735</c:v>
                </c:pt>
                <c:pt idx="1708" formatCode="0.0%">
                  <c:v>0.73368956973323607</c:v>
                </c:pt>
                <c:pt idx="1709" formatCode="0.0%">
                  <c:v>0.72627330214564556</c:v>
                </c:pt>
                <c:pt idx="1710" formatCode="0.0%">
                  <c:v>0.72627330214564556</c:v>
                </c:pt>
                <c:pt idx="1711" formatCode="0.0%">
                  <c:v>0.72627330214564556</c:v>
                </c:pt>
                <c:pt idx="1712" formatCode="0.0%">
                  <c:v>0.73567931815761145</c:v>
                </c:pt>
                <c:pt idx="1713" formatCode="0.0%">
                  <c:v>0.73368956973323607</c:v>
                </c:pt>
                <c:pt idx="1714" formatCode="0.0%">
                  <c:v>0.74255294207261269</c:v>
                </c:pt>
                <c:pt idx="1715" formatCode="0.0%">
                  <c:v>0.7541295739935967</c:v>
                </c:pt>
                <c:pt idx="1716" formatCode="0.0%">
                  <c:v>0.75756638595109738</c:v>
                </c:pt>
                <c:pt idx="1717" formatCode="0.0%">
                  <c:v>0.75756638595109738</c:v>
                </c:pt>
                <c:pt idx="1718" formatCode="0.0%">
                  <c:v>0.75756638595109738</c:v>
                </c:pt>
                <c:pt idx="1719" formatCode="0.0%">
                  <c:v>0.75847080581163306</c:v>
                </c:pt>
                <c:pt idx="1720" formatCode="0.0%">
                  <c:v>0.74137717976645179</c:v>
                </c:pt>
                <c:pt idx="1721" formatCode="0.0%">
                  <c:v>0.7414676135087731</c:v>
                </c:pt>
                <c:pt idx="1722" formatCode="0.0%">
                  <c:v>0.76037007927502631</c:v>
                </c:pt>
                <c:pt idx="1723" formatCode="0.0%">
                  <c:v>0.76163627532350864</c:v>
                </c:pt>
                <c:pt idx="1724" formatCode="0.0%">
                  <c:v>0.76163627532350864</c:v>
                </c:pt>
                <c:pt idx="1725" formatCode="0.0%">
                  <c:v>0.76163627532350864</c:v>
                </c:pt>
                <c:pt idx="1726" formatCode="0.0%">
                  <c:v>0.76254069518404466</c:v>
                </c:pt>
                <c:pt idx="1727" formatCode="0.0%">
                  <c:v>0.76832899053520631</c:v>
                </c:pt>
                <c:pt idx="1728" formatCode="0.0%">
                  <c:v>0.76814812305056335</c:v>
                </c:pt>
                <c:pt idx="1729" formatCode="0.0%">
                  <c:v>0.76498265353868788</c:v>
                </c:pt>
                <c:pt idx="1730" formatCode="0.0%">
                  <c:v>0.76552529721127716</c:v>
                </c:pt>
                <c:pt idx="1731" formatCode="0.0%">
                  <c:v>0.76552529721127716</c:v>
                </c:pt>
                <c:pt idx="1732" formatCode="0.0%">
                  <c:v>0.76552529721127716</c:v>
                </c:pt>
                <c:pt idx="1733" formatCode="0.0%">
                  <c:v>0.77393641840172511</c:v>
                </c:pt>
                <c:pt idx="1734" formatCode="0.0%">
                  <c:v>0.77814199960627917</c:v>
                </c:pt>
                <c:pt idx="1735" formatCode="0.0%">
                  <c:v>0.77854899266538669</c:v>
                </c:pt>
                <c:pt idx="1736" formatCode="0.0%">
                  <c:v>0.78578439276833423</c:v>
                </c:pt>
                <c:pt idx="1737" formatCode="0.0%">
                  <c:v>0.79446685640440706</c:v>
                </c:pt>
                <c:pt idx="1738" formatCode="0.0%">
                  <c:v>0.79446685640440706</c:v>
                </c:pt>
                <c:pt idx="1739" formatCode="0.0%">
                  <c:v>0.79446685640440706</c:v>
                </c:pt>
                <c:pt idx="1740" formatCode="0.0%">
                  <c:v>0.79491906633467491</c:v>
                </c:pt>
                <c:pt idx="1741" formatCode="0.0%">
                  <c:v>0.79790366836190774</c:v>
                </c:pt>
                <c:pt idx="1742" formatCode="0.0%">
                  <c:v>0.80776189430414147</c:v>
                </c:pt>
                <c:pt idx="1743" formatCode="0.0%">
                  <c:v>0.81020381144012388</c:v>
                </c:pt>
                <c:pt idx="1744" formatCode="0.0%">
                  <c:v>0.80857583920369502</c:v>
                </c:pt>
                <c:pt idx="1745" formatCode="0.0%">
                  <c:v>0.80857583920369502</c:v>
                </c:pt>
                <c:pt idx="1746" formatCode="0.0%">
                  <c:v>0.80857583920369502</c:v>
                </c:pt>
                <c:pt idx="1747" formatCode="0.0%">
                  <c:v>0.78478953916547711</c:v>
                </c:pt>
                <c:pt idx="1748" formatCode="0.0%">
                  <c:v>0.77927254504127941</c:v>
                </c:pt>
                <c:pt idx="1749" formatCode="0.0%">
                  <c:v>0.79718011598601468</c:v>
                </c:pt>
                <c:pt idx="1750" formatCode="0.0%">
                  <c:v>0.79130138689253182</c:v>
                </c:pt>
                <c:pt idx="1751" formatCode="0.0%">
                  <c:v>0.77701149538994008</c:v>
                </c:pt>
                <c:pt idx="1752" formatCode="0.0%">
                  <c:v>0.77701149538994008</c:v>
                </c:pt>
                <c:pt idx="1753" formatCode="0.0%">
                  <c:v>0.77701149538994008</c:v>
                </c:pt>
                <c:pt idx="1754" formatCode="0.0%">
                  <c:v>0.80441551608896245</c:v>
                </c:pt>
                <c:pt idx="1755" formatCode="0.0%">
                  <c:v>0.81083693007369562</c:v>
                </c:pt>
                <c:pt idx="1756" formatCode="0.0%">
                  <c:v>0.80396330615869427</c:v>
                </c:pt>
                <c:pt idx="1757" formatCode="0.0%">
                  <c:v>0.80929939157958808</c:v>
                </c:pt>
                <c:pt idx="1758" formatCode="0.0%">
                  <c:v>0.8224135207760187</c:v>
                </c:pt>
                <c:pt idx="1759" formatCode="0.0%">
                  <c:v>0.8224135207760187</c:v>
                </c:pt>
                <c:pt idx="1760" formatCode="0.0%">
                  <c:v>0.8224135207760187</c:v>
                </c:pt>
                <c:pt idx="1761" formatCode="0.0%">
                  <c:v>0.83806008328807513</c:v>
                </c:pt>
                <c:pt idx="1762" formatCode="0.0%">
                  <c:v>0.8364321110516465</c:v>
                </c:pt>
                <c:pt idx="1763" formatCode="0.0%">
                  <c:v>0.84972714895138068</c:v>
                </c:pt>
                <c:pt idx="1764" formatCode="0.0%">
                  <c:v>0.85225949982968441</c:v>
                </c:pt>
                <c:pt idx="1765" formatCode="0.0%">
                  <c:v>0.84648929947071938</c:v>
                </c:pt>
                <c:pt idx="1766" formatCode="0.0%">
                  <c:v>0.84648929947071938</c:v>
                </c:pt>
                <c:pt idx="1767" formatCode="0.0%">
                  <c:v>0.84648929947071938</c:v>
                </c:pt>
                <c:pt idx="1768" formatCode="0.0%">
                  <c:v>0.85443011573870253</c:v>
                </c:pt>
                <c:pt idx="1769" formatCode="0.0%">
                  <c:v>0.84800874297263051</c:v>
                </c:pt>
                <c:pt idx="1770" formatCode="0.0%">
                  <c:v>0.84918446406013037</c:v>
                </c:pt>
                <c:pt idx="1771" formatCode="0.0%">
                  <c:v>0.83290486535182429</c:v>
                </c:pt>
                <c:pt idx="1772" formatCode="0.0%">
                  <c:v>0.8090280903526238</c:v>
                </c:pt>
                <c:pt idx="1773" formatCode="0.0%">
                  <c:v>0.8090280903526238</c:v>
                </c:pt>
                <c:pt idx="1774" formatCode="0.0%">
                  <c:v>0.8090280903526238</c:v>
                </c:pt>
                <c:pt idx="1775" formatCode="0.0%">
                  <c:v>0.84077334286968297</c:v>
                </c:pt>
                <c:pt idx="1776" formatCode="0.0%">
                  <c:v>0.84095421035432538</c:v>
                </c:pt>
                <c:pt idx="1777" formatCode="0.0%">
                  <c:v>0.85443011573870253</c:v>
                </c:pt>
                <c:pt idx="1778" formatCode="0.0%">
                  <c:v>0.83552769119111048</c:v>
                </c:pt>
                <c:pt idx="1779" formatCode="0.0%">
                  <c:v>0.82901584346405566</c:v>
                </c:pt>
                <c:pt idx="1780" formatCode="0.0%">
                  <c:v>0.82901584346405566</c:v>
                </c:pt>
                <c:pt idx="1781" formatCode="0.0%">
                  <c:v>0.82901584346405566</c:v>
                </c:pt>
                <c:pt idx="1782" formatCode="0.0%">
                  <c:v>0.82449370294271551</c:v>
                </c:pt>
                <c:pt idx="1783" formatCode="0.0%">
                  <c:v>0.78623660269860207</c:v>
                </c:pt>
                <c:pt idx="1784" formatCode="0.0%">
                  <c:v>0.80966116776753438</c:v>
                </c:pt>
                <c:pt idx="1785" formatCode="0.0%">
                  <c:v>0.83371885147003899</c:v>
                </c:pt>
                <c:pt idx="1786" formatCode="0.0%">
                  <c:v>0.79030649207101333</c:v>
                </c:pt>
                <c:pt idx="1787" formatCode="0.0%">
                  <c:v>0.79030649207101333</c:v>
                </c:pt>
                <c:pt idx="1788" formatCode="0.0%">
                  <c:v>0.79030649207101333</c:v>
                </c:pt>
                <c:pt idx="1789" formatCode="0.0%">
                  <c:v>0.820785589758251</c:v>
                </c:pt>
                <c:pt idx="1790" formatCode="0.0%">
                  <c:v>0.82395105927012624</c:v>
                </c:pt>
                <c:pt idx="1791" formatCode="0.0%">
                  <c:v>0.84674254692414819</c:v>
                </c:pt>
                <c:pt idx="1792" formatCode="0.0%">
                  <c:v>0.84638077073620166</c:v>
                </c:pt>
                <c:pt idx="1793" formatCode="0.0%">
                  <c:v>0.8507220025542378</c:v>
                </c:pt>
                <c:pt idx="1794" formatCode="0.0%">
                  <c:v>0.8507220025542378</c:v>
                </c:pt>
                <c:pt idx="1795" formatCode="0.0%">
                  <c:v>0.85106568374998803</c:v>
                </c:pt>
                <c:pt idx="1796" formatCode="0.0%">
                  <c:v>0.84457193101512984</c:v>
                </c:pt>
                <c:pt idx="1797" formatCode="0.0%">
                  <c:v>0.85189776486039903</c:v>
                </c:pt>
                <c:pt idx="1798" formatCode="0.0%">
                  <c:v>0.84068290912736132</c:v>
                </c:pt>
                <c:pt idx="1799" formatCode="0.0%">
                  <c:v>0.84185863021486118</c:v>
                </c:pt>
                <c:pt idx="1800" formatCode="0.0%">
                  <c:v>0.85090287003888054</c:v>
                </c:pt>
                <c:pt idx="1801" formatCode="0.0%">
                  <c:v>0.85090287003888054</c:v>
                </c:pt>
                <c:pt idx="1802" formatCode="0.0%">
                  <c:v>0.85090287003888054</c:v>
                </c:pt>
                <c:pt idx="1803" formatCode="0.0%">
                  <c:v>0.84800874297263051</c:v>
                </c:pt>
                <c:pt idx="1804" formatCode="0.0%">
                  <c:v>0.84592856080593382</c:v>
                </c:pt>
                <c:pt idx="1805" formatCode="0.0%">
                  <c:v>0.84185863021486118</c:v>
                </c:pt>
                <c:pt idx="1806" formatCode="0.0%">
                  <c:v>0.83824095077271776</c:v>
                </c:pt>
                <c:pt idx="1807" formatCode="0.0%">
                  <c:v>0.83579899241807454</c:v>
                </c:pt>
                <c:pt idx="1808" formatCode="0.0%">
                  <c:v>0.83579899241807454</c:v>
                </c:pt>
                <c:pt idx="1809" formatCode="0.0%">
                  <c:v>0.83579899241807454</c:v>
                </c:pt>
                <c:pt idx="1810" formatCode="0.0%">
                  <c:v>0.83091511692744857</c:v>
                </c:pt>
                <c:pt idx="1811" formatCode="0.0%">
                  <c:v>0.82060468105494688</c:v>
                </c:pt>
                <c:pt idx="1812" formatCode="0.0%">
                  <c:v>0.81445460951583892</c:v>
                </c:pt>
                <c:pt idx="1813" formatCode="0.0%">
                  <c:v>0.83109602563075269</c:v>
                </c:pt>
                <c:pt idx="1814" formatCode="0.0%">
                  <c:v>0.84466236475745149</c:v>
                </c:pt>
                <c:pt idx="1815" formatCode="0.0%">
                  <c:v>0.84466236475745149</c:v>
                </c:pt>
                <c:pt idx="1816" formatCode="0.0%">
                  <c:v>0.84466236475745149</c:v>
                </c:pt>
                <c:pt idx="1817" formatCode="0.0%">
                  <c:v>0.84475279849977258</c:v>
                </c:pt>
                <c:pt idx="1818" formatCode="0.0%">
                  <c:v>0.85180728989941656</c:v>
                </c:pt>
                <c:pt idx="1819" formatCode="0.0%">
                  <c:v>0.85180728989941656</c:v>
                </c:pt>
                <c:pt idx="1820" formatCode="0.0%">
                  <c:v>0.85180728989941656</c:v>
                </c:pt>
                <c:pt idx="1821" formatCode="0.0%">
                  <c:v>0.85180728989941656</c:v>
                </c:pt>
                <c:pt idx="1822" formatCode="0.0%">
                  <c:v>0.85180728989941656</c:v>
                </c:pt>
                <c:pt idx="1823" formatCode="0.0%">
                  <c:v>0.85180728989941656</c:v>
                </c:pt>
                <c:pt idx="1824" formatCode="0.0%">
                  <c:v>0.85144555493013085</c:v>
                </c:pt>
                <c:pt idx="1825" formatCode="0.0%">
                  <c:v>0.85904269000236411</c:v>
                </c:pt>
                <c:pt idx="1826" formatCode="0.0%">
                  <c:v>0.84771027864804094</c:v>
                </c:pt>
              </c:numCache>
            </c:numRef>
          </c:val>
          <c:smooth val="0"/>
          <c:extLst>
            <c:ext xmlns:c16="http://schemas.microsoft.com/office/drawing/2014/chart" uri="{C3380CC4-5D6E-409C-BE32-E72D297353CC}">
              <c16:uniqueId val="{00000007-3824-4B8F-B311-B8D727625BCA}"/>
            </c:ext>
          </c:extLst>
        </c:ser>
        <c:ser>
          <c:idx val="9"/>
          <c:order val="8"/>
          <c:tx>
            <c:strRef>
              <c:f>Sheet1!$K$1</c:f>
              <c:strCache>
                <c:ptCount val="1"/>
                <c:pt idx="0">
                  <c:v>Peer #9</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K$2:$K$2069</c:f>
              <c:numCache>
                <c:formatCode>0.00%</c:formatCode>
                <c:ptCount val="2068"/>
                <c:pt idx="0">
                  <c:v>0</c:v>
                </c:pt>
                <c:pt idx="1">
                  <c:v>0</c:v>
                </c:pt>
                <c:pt idx="2">
                  <c:v>0</c:v>
                </c:pt>
                <c:pt idx="3">
                  <c:v>0</c:v>
                </c:pt>
                <c:pt idx="4">
                  <c:v>-3.3423447916352701E-3</c:v>
                </c:pt>
                <c:pt idx="5">
                  <c:v>-1.6437459516083664E-4</c:v>
                </c:pt>
                <c:pt idx="6">
                  <c:v>1.2030269222762228E-2</c:v>
                </c:pt>
                <c:pt idx="7">
                  <c:v>2.5312767304291696E-2</c:v>
                </c:pt>
                <c:pt idx="8">
                  <c:v>3.4403068963886056E-2</c:v>
                </c:pt>
                <c:pt idx="9">
                  <c:v>3.4403068963886056E-2</c:v>
                </c:pt>
                <c:pt idx="10">
                  <c:v>3.4403068963886056E-2</c:v>
                </c:pt>
                <c:pt idx="11">
                  <c:v>3.5569153018022631E-2</c:v>
                </c:pt>
                <c:pt idx="12">
                  <c:v>3.2742756703694906E-2</c:v>
                </c:pt>
                <c:pt idx="13">
                  <c:v>3.0553242919329763E-2</c:v>
                </c:pt>
                <c:pt idx="14">
                  <c:v>2.8209110254857991E-2</c:v>
                </c:pt>
                <c:pt idx="15">
                  <c:v>2.4226753741639014E-2</c:v>
                </c:pt>
                <c:pt idx="16">
                  <c:v>2.4226753741639014E-2</c:v>
                </c:pt>
                <c:pt idx="17">
                  <c:v>2.4226753741639014E-2</c:v>
                </c:pt>
                <c:pt idx="18">
                  <c:v>2.6058251190519428E-2</c:v>
                </c:pt>
                <c:pt idx="19">
                  <c:v>3.1105453205424426E-2</c:v>
                </c:pt>
                <c:pt idx="20">
                  <c:v>4.3105903072737421E-2</c:v>
                </c:pt>
                <c:pt idx="21">
                  <c:v>4.3104982722260557E-2</c:v>
                </c:pt>
                <c:pt idx="22">
                  <c:v>3.5698922435254875E-2</c:v>
                </c:pt>
                <c:pt idx="23">
                  <c:v>3.5698922435254875E-2</c:v>
                </c:pt>
                <c:pt idx="24">
                  <c:v>3.5698922435254875E-2</c:v>
                </c:pt>
                <c:pt idx="25">
                  <c:v>4.0119365775442332E-2</c:v>
                </c:pt>
                <c:pt idx="26">
                  <c:v>3.1072320588258578E-2</c:v>
                </c:pt>
                <c:pt idx="27">
                  <c:v>1.4798683457050004E-2</c:v>
                </c:pt>
                <c:pt idx="28">
                  <c:v>2.0970553754634268E-2</c:v>
                </c:pt>
                <c:pt idx="29">
                  <c:v>3.9293443257540162E-3</c:v>
                </c:pt>
                <c:pt idx="30">
                  <c:v>3.9293443257540162E-3</c:v>
                </c:pt>
                <c:pt idx="31">
                  <c:v>3.9294363608017588E-3</c:v>
                </c:pt>
                <c:pt idx="32">
                  <c:v>3.0658162873687757E-2</c:v>
                </c:pt>
                <c:pt idx="33">
                  <c:v>4.6780862526697151E-2</c:v>
                </c:pt>
                <c:pt idx="34">
                  <c:v>4.7232754610817836E-2</c:v>
                </c:pt>
                <c:pt idx="35">
                  <c:v>4.8480749857391599E-2</c:v>
                </c:pt>
                <c:pt idx="36">
                  <c:v>4.6990702435413E-2</c:v>
                </c:pt>
                <c:pt idx="37">
                  <c:v>4.6990702435413E-2</c:v>
                </c:pt>
                <c:pt idx="38">
                  <c:v>4.6990702435413E-2</c:v>
                </c:pt>
                <c:pt idx="39">
                  <c:v>5.226615136857049E-2</c:v>
                </c:pt>
                <c:pt idx="40">
                  <c:v>5.0153026673781798E-2</c:v>
                </c:pt>
                <c:pt idx="41">
                  <c:v>4.8840606893830053E-2</c:v>
                </c:pt>
                <c:pt idx="42">
                  <c:v>5.6401286060942371E-2</c:v>
                </c:pt>
                <c:pt idx="43">
                  <c:v>6.1282824990018837E-2</c:v>
                </c:pt>
                <c:pt idx="44">
                  <c:v>6.1282824990018837E-2</c:v>
                </c:pt>
                <c:pt idx="45">
                  <c:v>6.1282824990018837E-2</c:v>
                </c:pt>
                <c:pt idx="46">
                  <c:v>6.4700086310467808E-2</c:v>
                </c:pt>
                <c:pt idx="47">
                  <c:v>6.6739582967110633E-2</c:v>
                </c:pt>
                <c:pt idx="48">
                  <c:v>6.7994020667022148E-2</c:v>
                </c:pt>
                <c:pt idx="49">
                  <c:v>5.927554060006486E-2</c:v>
                </c:pt>
                <c:pt idx="50">
                  <c:v>5.4625009640671324E-2</c:v>
                </c:pt>
                <c:pt idx="51">
                  <c:v>5.4625009640671324E-2</c:v>
                </c:pt>
                <c:pt idx="52">
                  <c:v>5.4625009640671324E-2</c:v>
                </c:pt>
                <c:pt idx="53">
                  <c:v>4.1734580862269152E-2</c:v>
                </c:pt>
                <c:pt idx="54">
                  <c:v>4.1734120687030724E-2</c:v>
                </c:pt>
                <c:pt idx="55">
                  <c:v>4.1486822513907951E-2</c:v>
                </c:pt>
                <c:pt idx="56">
                  <c:v>2.6815423527802834E-2</c:v>
                </c:pt>
                <c:pt idx="57">
                  <c:v>2.4518965018030626E-2</c:v>
                </c:pt>
                <c:pt idx="58">
                  <c:v>2.4518965018030626E-2</c:v>
                </c:pt>
                <c:pt idx="59">
                  <c:v>2.0076157161256419E-2</c:v>
                </c:pt>
                <c:pt idx="60">
                  <c:v>4.5322475161121221E-2</c:v>
                </c:pt>
                <c:pt idx="61">
                  <c:v>3.8973897571986667E-2</c:v>
                </c:pt>
                <c:pt idx="62">
                  <c:v>2.9771405189267172E-2</c:v>
                </c:pt>
                <c:pt idx="63">
                  <c:v>2.0458470749329223E-2</c:v>
                </c:pt>
                <c:pt idx="64">
                  <c:v>3.988117907204014E-2</c:v>
                </c:pt>
                <c:pt idx="65">
                  <c:v>3.988117907204014E-2</c:v>
                </c:pt>
                <c:pt idx="66">
                  <c:v>3.988117907204014E-2</c:v>
                </c:pt>
                <c:pt idx="67">
                  <c:v>4.403288007299494E-2</c:v>
                </c:pt>
                <c:pt idx="68">
                  <c:v>5.5771306159556104E-2</c:v>
                </c:pt>
                <c:pt idx="69">
                  <c:v>5.6421625806480191E-2</c:v>
                </c:pt>
                <c:pt idx="70">
                  <c:v>6.4034120705437514E-2</c:v>
                </c:pt>
                <c:pt idx="71">
                  <c:v>5.9718505284560595E-2</c:v>
                </c:pt>
                <c:pt idx="72">
                  <c:v>5.9718505284560595E-2</c:v>
                </c:pt>
                <c:pt idx="73">
                  <c:v>5.9718505284560595E-2</c:v>
                </c:pt>
                <c:pt idx="74">
                  <c:v>6.3696075975300068E-2</c:v>
                </c:pt>
                <c:pt idx="75">
                  <c:v>6.525008775541806E-2</c:v>
                </c:pt>
                <c:pt idx="76">
                  <c:v>6.1530399268284554E-2</c:v>
                </c:pt>
                <c:pt idx="77">
                  <c:v>5.9032199933992474E-2</c:v>
                </c:pt>
                <c:pt idx="78">
                  <c:v>5.6879408133652588E-2</c:v>
                </c:pt>
                <c:pt idx="79">
                  <c:v>5.6879408133652588E-2</c:v>
                </c:pt>
                <c:pt idx="80">
                  <c:v>5.6879408133652588E-2</c:v>
                </c:pt>
                <c:pt idx="81">
                  <c:v>5.9242223912803808E-2</c:v>
                </c:pt>
                <c:pt idx="82">
                  <c:v>5.7224907702652532E-2</c:v>
                </c:pt>
                <c:pt idx="83">
                  <c:v>5.4847366315871969E-2</c:v>
                </c:pt>
                <c:pt idx="84">
                  <c:v>6.1583871630987941E-2</c:v>
                </c:pt>
                <c:pt idx="85">
                  <c:v>7.9003989351176931E-2</c:v>
                </c:pt>
                <c:pt idx="86">
                  <c:v>7.9003989351176931E-2</c:v>
                </c:pt>
                <c:pt idx="87">
                  <c:v>7.9003989351176931E-2</c:v>
                </c:pt>
                <c:pt idx="88">
                  <c:v>8.2523777714744007E-2</c:v>
                </c:pt>
                <c:pt idx="89">
                  <c:v>8.3479009474639987E-2</c:v>
                </c:pt>
                <c:pt idx="90">
                  <c:v>8.3928876787711743E-2</c:v>
                </c:pt>
                <c:pt idx="91">
                  <c:v>8.3928876787711743E-2</c:v>
                </c:pt>
                <c:pt idx="92">
                  <c:v>8.3928876787711743E-2</c:v>
                </c:pt>
                <c:pt idx="93">
                  <c:v>8.3928876787711743E-2</c:v>
                </c:pt>
                <c:pt idx="94">
                  <c:v>8.3928876787711743E-2</c:v>
                </c:pt>
                <c:pt idx="95">
                  <c:v>8.392850864752105E-2</c:v>
                </c:pt>
                <c:pt idx="96">
                  <c:v>0.10041456266878086</c:v>
                </c:pt>
                <c:pt idx="97">
                  <c:v>9.1302448702885786E-2</c:v>
                </c:pt>
                <c:pt idx="98">
                  <c:v>0.1012426940278273</c:v>
                </c:pt>
                <c:pt idx="99">
                  <c:v>0.10943556193747028</c:v>
                </c:pt>
                <c:pt idx="100">
                  <c:v>0.10943556193747028</c:v>
                </c:pt>
                <c:pt idx="101">
                  <c:v>0.10943556193747028</c:v>
                </c:pt>
                <c:pt idx="102">
                  <c:v>0.1032739075301788</c:v>
                </c:pt>
                <c:pt idx="103">
                  <c:v>0.10701108267637195</c:v>
                </c:pt>
                <c:pt idx="104">
                  <c:v>0.10169412593670984</c:v>
                </c:pt>
                <c:pt idx="105">
                  <c:v>0.11184807664237013</c:v>
                </c:pt>
                <c:pt idx="106">
                  <c:v>0.11661696467308331</c:v>
                </c:pt>
                <c:pt idx="107">
                  <c:v>0.11661696467308331</c:v>
                </c:pt>
                <c:pt idx="108">
                  <c:v>0.11661696467308331</c:v>
                </c:pt>
                <c:pt idx="109">
                  <c:v>0.1095424146278296</c:v>
                </c:pt>
                <c:pt idx="110">
                  <c:v>9.6381770949431733E-2</c:v>
                </c:pt>
                <c:pt idx="111">
                  <c:v>0.10523692306219744</c:v>
                </c:pt>
                <c:pt idx="112">
                  <c:v>0.11269001325856905</c:v>
                </c:pt>
                <c:pt idx="113">
                  <c:v>0.11836811552533703</c:v>
                </c:pt>
                <c:pt idx="114">
                  <c:v>0.11836811552533703</c:v>
                </c:pt>
                <c:pt idx="115">
                  <c:v>0.11836811552533703</c:v>
                </c:pt>
                <c:pt idx="116">
                  <c:v>0.11786974574213673</c:v>
                </c:pt>
                <c:pt idx="117">
                  <c:v>0.11565713116080317</c:v>
                </c:pt>
                <c:pt idx="118">
                  <c:v>0.11557052618093394</c:v>
                </c:pt>
                <c:pt idx="119">
                  <c:v>0.11221382392186015</c:v>
                </c:pt>
                <c:pt idx="120">
                  <c:v>0.1166593007950172</c:v>
                </c:pt>
                <c:pt idx="121">
                  <c:v>0.1166593007950172</c:v>
                </c:pt>
                <c:pt idx="122">
                  <c:v>0.1166593007950172</c:v>
                </c:pt>
                <c:pt idx="123">
                  <c:v>0.11289819653642681</c:v>
                </c:pt>
                <c:pt idx="124">
                  <c:v>0.10495501971114621</c:v>
                </c:pt>
                <c:pt idx="125">
                  <c:v>0.11566909571700194</c:v>
                </c:pt>
                <c:pt idx="126">
                  <c:v>0.1162263679307189</c:v>
                </c:pt>
                <c:pt idx="127">
                  <c:v>0.12033665316021654</c:v>
                </c:pt>
                <c:pt idx="128">
                  <c:v>0.12033665316021654</c:v>
                </c:pt>
                <c:pt idx="129">
                  <c:v>0.12033665316021654</c:v>
                </c:pt>
                <c:pt idx="130">
                  <c:v>0.11472030641044356</c:v>
                </c:pt>
                <c:pt idx="131">
                  <c:v>9.8024136375324963E-2</c:v>
                </c:pt>
                <c:pt idx="132">
                  <c:v>8.6565772938861307E-2</c:v>
                </c:pt>
                <c:pt idx="133">
                  <c:v>8.6565772938861307E-2</c:v>
                </c:pt>
                <c:pt idx="134">
                  <c:v>8.6565772938861307E-2</c:v>
                </c:pt>
                <c:pt idx="135">
                  <c:v>8.6565772938861307E-2</c:v>
                </c:pt>
                <c:pt idx="136">
                  <c:v>8.6565772938861307E-2</c:v>
                </c:pt>
                <c:pt idx="137">
                  <c:v>0.10475788063901036</c:v>
                </c:pt>
                <c:pt idx="138">
                  <c:v>0.10281787386891253</c:v>
                </c:pt>
                <c:pt idx="139">
                  <c:v>8.9967664406347445E-2</c:v>
                </c:pt>
                <c:pt idx="140">
                  <c:v>0.10038603180399931</c:v>
                </c:pt>
                <c:pt idx="141">
                  <c:v>0.10366542462301993</c:v>
                </c:pt>
                <c:pt idx="142">
                  <c:v>0.10366542462301993</c:v>
                </c:pt>
                <c:pt idx="143">
                  <c:v>0.10366542462301993</c:v>
                </c:pt>
                <c:pt idx="144">
                  <c:v>0.10366542462301993</c:v>
                </c:pt>
                <c:pt idx="145">
                  <c:v>0.10608162072982694</c:v>
                </c:pt>
                <c:pt idx="146">
                  <c:v>0.10874649553547172</c:v>
                </c:pt>
                <c:pt idx="147">
                  <c:v>0.11052065514964625</c:v>
                </c:pt>
                <c:pt idx="148">
                  <c:v>0.11794530651628392</c:v>
                </c:pt>
                <c:pt idx="149">
                  <c:v>0.11794530651628392</c:v>
                </c:pt>
                <c:pt idx="150">
                  <c:v>0.11794530651628392</c:v>
                </c:pt>
                <c:pt idx="151">
                  <c:v>0.11108887953403766</c:v>
                </c:pt>
                <c:pt idx="152">
                  <c:v>0.10982707903031155</c:v>
                </c:pt>
                <c:pt idx="153">
                  <c:v>0.11167578703310838</c:v>
                </c:pt>
                <c:pt idx="154">
                  <c:v>0.11269553536142979</c:v>
                </c:pt>
                <c:pt idx="155">
                  <c:v>0.11804203535139819</c:v>
                </c:pt>
                <c:pt idx="156">
                  <c:v>0.11804203535139819</c:v>
                </c:pt>
                <c:pt idx="157">
                  <c:v>0.11804203535139819</c:v>
                </c:pt>
                <c:pt idx="158">
                  <c:v>0.11096472425471404</c:v>
                </c:pt>
                <c:pt idx="159">
                  <c:v>0.11112587762320601</c:v>
                </c:pt>
                <c:pt idx="160">
                  <c:v>0.11025633049270227</c:v>
                </c:pt>
                <c:pt idx="161">
                  <c:v>0.11662524782737464</c:v>
                </c:pt>
                <c:pt idx="162">
                  <c:v>0.12452700888119807</c:v>
                </c:pt>
                <c:pt idx="163">
                  <c:v>0.12452700888119807</c:v>
                </c:pt>
                <c:pt idx="164">
                  <c:v>0.12452700888119807</c:v>
                </c:pt>
                <c:pt idx="165">
                  <c:v>0.12682990984430817</c:v>
                </c:pt>
                <c:pt idx="166">
                  <c:v>0.12950223948881529</c:v>
                </c:pt>
                <c:pt idx="167">
                  <c:v>0.12695424919372697</c:v>
                </c:pt>
                <c:pt idx="168">
                  <c:v>0.14066949606945925</c:v>
                </c:pt>
                <c:pt idx="169">
                  <c:v>0.13045010844489682</c:v>
                </c:pt>
                <c:pt idx="170">
                  <c:v>0.13045010844489682</c:v>
                </c:pt>
                <c:pt idx="171">
                  <c:v>0.13045010844489682</c:v>
                </c:pt>
                <c:pt idx="172">
                  <c:v>0.1356012180286352</c:v>
                </c:pt>
                <c:pt idx="173">
                  <c:v>0.14177115559021813</c:v>
                </c:pt>
                <c:pt idx="174">
                  <c:v>0.13472890984670102</c:v>
                </c:pt>
                <c:pt idx="175">
                  <c:v>0.14500719990178013</c:v>
                </c:pt>
                <c:pt idx="176">
                  <c:v>0.14584545511607189</c:v>
                </c:pt>
                <c:pt idx="177">
                  <c:v>0.14584545511607189</c:v>
                </c:pt>
                <c:pt idx="178">
                  <c:v>0.14584545511607189</c:v>
                </c:pt>
                <c:pt idx="179">
                  <c:v>0.14859794728711065</c:v>
                </c:pt>
                <c:pt idx="180">
                  <c:v>0.15414793676750477</c:v>
                </c:pt>
                <c:pt idx="181">
                  <c:v>0.15217037969795214</c:v>
                </c:pt>
                <c:pt idx="182">
                  <c:v>0.15707446721371071</c:v>
                </c:pt>
                <c:pt idx="183">
                  <c:v>0.16364696607385668</c:v>
                </c:pt>
                <c:pt idx="184">
                  <c:v>0.16364696607385668</c:v>
                </c:pt>
                <c:pt idx="185">
                  <c:v>0.16364696607385668</c:v>
                </c:pt>
                <c:pt idx="186">
                  <c:v>0.16210961263736934</c:v>
                </c:pt>
                <c:pt idx="187">
                  <c:v>0.16603371096540528</c:v>
                </c:pt>
                <c:pt idx="188">
                  <c:v>0.17672293750838677</c:v>
                </c:pt>
                <c:pt idx="189">
                  <c:v>0.16122156646228164</c:v>
                </c:pt>
                <c:pt idx="190">
                  <c:v>0.1676688056225315</c:v>
                </c:pt>
                <c:pt idx="191">
                  <c:v>0.1676688056225315</c:v>
                </c:pt>
                <c:pt idx="192">
                  <c:v>0.1676688056225315</c:v>
                </c:pt>
                <c:pt idx="193">
                  <c:v>0.17561198244781195</c:v>
                </c:pt>
                <c:pt idx="194">
                  <c:v>0.17984384597529826</c:v>
                </c:pt>
                <c:pt idx="195">
                  <c:v>0.18057248744780011</c:v>
                </c:pt>
                <c:pt idx="196">
                  <c:v>0.17677355678461196</c:v>
                </c:pt>
                <c:pt idx="197">
                  <c:v>0.17395940113162608</c:v>
                </c:pt>
                <c:pt idx="198">
                  <c:v>0.17395940113162608</c:v>
                </c:pt>
                <c:pt idx="199">
                  <c:v>0.17395940113162608</c:v>
                </c:pt>
                <c:pt idx="200">
                  <c:v>0.1578242767471795</c:v>
                </c:pt>
                <c:pt idx="201">
                  <c:v>0.17021118177971117</c:v>
                </c:pt>
                <c:pt idx="202">
                  <c:v>0.17578151100564313</c:v>
                </c:pt>
                <c:pt idx="203">
                  <c:v>0.18204449600043304</c:v>
                </c:pt>
                <c:pt idx="204">
                  <c:v>0.19480810048312874</c:v>
                </c:pt>
                <c:pt idx="205">
                  <c:v>0.19480810048312874</c:v>
                </c:pt>
                <c:pt idx="206">
                  <c:v>0.19480810048312874</c:v>
                </c:pt>
                <c:pt idx="207">
                  <c:v>0.19104147412167749</c:v>
                </c:pt>
                <c:pt idx="208">
                  <c:v>0.18442940019102808</c:v>
                </c:pt>
                <c:pt idx="209">
                  <c:v>0.18811770472690184</c:v>
                </c:pt>
                <c:pt idx="210">
                  <c:v>0.19321451363250744</c:v>
                </c:pt>
                <c:pt idx="211">
                  <c:v>0.19126438300716417</c:v>
                </c:pt>
                <c:pt idx="212">
                  <c:v>0.191263922831926</c:v>
                </c:pt>
                <c:pt idx="213">
                  <c:v>0.191263922831926</c:v>
                </c:pt>
                <c:pt idx="214">
                  <c:v>0.19441759577581222</c:v>
                </c:pt>
                <c:pt idx="215">
                  <c:v>0.20289963780527359</c:v>
                </c:pt>
                <c:pt idx="216">
                  <c:v>0.20999259486006366</c:v>
                </c:pt>
                <c:pt idx="217">
                  <c:v>0.21489594609544099</c:v>
                </c:pt>
                <c:pt idx="218">
                  <c:v>0.21985645109542887</c:v>
                </c:pt>
                <c:pt idx="219">
                  <c:v>0.21985645109542887</c:v>
                </c:pt>
                <c:pt idx="220">
                  <c:v>0.21985645109542887</c:v>
                </c:pt>
                <c:pt idx="221">
                  <c:v>0.22330343973627889</c:v>
                </c:pt>
                <c:pt idx="222">
                  <c:v>0.22615532975881478</c:v>
                </c:pt>
                <c:pt idx="223">
                  <c:v>0.22629080534900339</c:v>
                </c:pt>
                <c:pt idx="224">
                  <c:v>0.22846660591126394</c:v>
                </c:pt>
                <c:pt idx="225">
                  <c:v>0.22883226115570637</c:v>
                </c:pt>
                <c:pt idx="226">
                  <c:v>0.22883226115570637</c:v>
                </c:pt>
                <c:pt idx="227">
                  <c:v>0.22883226115570637</c:v>
                </c:pt>
                <c:pt idx="228">
                  <c:v>0.23279694693977035</c:v>
                </c:pt>
                <c:pt idx="229">
                  <c:v>0.23349705754749067</c:v>
                </c:pt>
                <c:pt idx="230">
                  <c:v>0.22602822935796538</c:v>
                </c:pt>
                <c:pt idx="231">
                  <c:v>0.22711617565661954</c:v>
                </c:pt>
                <c:pt idx="232">
                  <c:v>0.2318794495494241</c:v>
                </c:pt>
                <c:pt idx="233">
                  <c:v>0.2318794495494241</c:v>
                </c:pt>
                <c:pt idx="234">
                  <c:v>0.2318794495494241</c:v>
                </c:pt>
                <c:pt idx="235">
                  <c:v>0.23524636769879068</c:v>
                </c:pt>
                <c:pt idx="236">
                  <c:v>0.23794069371969415</c:v>
                </c:pt>
                <c:pt idx="237">
                  <c:v>0.23823640232789786</c:v>
                </c:pt>
                <c:pt idx="238">
                  <c:v>0.2338157749176149</c:v>
                </c:pt>
                <c:pt idx="239">
                  <c:v>0.23712738000332451</c:v>
                </c:pt>
                <c:pt idx="240">
                  <c:v>0.23712738000332451</c:v>
                </c:pt>
                <c:pt idx="241">
                  <c:v>0.23712738000332451</c:v>
                </c:pt>
                <c:pt idx="242">
                  <c:v>0.24183727356847329</c:v>
                </c:pt>
                <c:pt idx="243">
                  <c:v>0.23884475399307875</c:v>
                </c:pt>
                <c:pt idx="244">
                  <c:v>0.24133338168241167</c:v>
                </c:pt>
                <c:pt idx="245">
                  <c:v>0.24475552086038774</c:v>
                </c:pt>
                <c:pt idx="246">
                  <c:v>0.24404528639742254</c:v>
                </c:pt>
                <c:pt idx="247">
                  <c:v>0.24404528639742254</c:v>
                </c:pt>
                <c:pt idx="248">
                  <c:v>0.24404528639742254</c:v>
                </c:pt>
                <c:pt idx="249">
                  <c:v>0.25032943945317937</c:v>
                </c:pt>
                <c:pt idx="250">
                  <c:v>0.24757151721432735</c:v>
                </c:pt>
                <c:pt idx="251">
                  <c:v>0.24513599374750711</c:v>
                </c:pt>
                <c:pt idx="252">
                  <c:v>0.23931514512178367</c:v>
                </c:pt>
                <c:pt idx="253">
                  <c:v>0.23339112520760821</c:v>
                </c:pt>
                <c:pt idx="254">
                  <c:v>0.23339112520760821</c:v>
                </c:pt>
                <c:pt idx="255">
                  <c:v>0.23339112520760821</c:v>
                </c:pt>
                <c:pt idx="256">
                  <c:v>0.23449554577979725</c:v>
                </c:pt>
                <c:pt idx="257">
                  <c:v>0.23281259289787642</c:v>
                </c:pt>
                <c:pt idx="258">
                  <c:v>0.23248835342489116</c:v>
                </c:pt>
                <c:pt idx="259">
                  <c:v>0.23468440169764165</c:v>
                </c:pt>
                <c:pt idx="260">
                  <c:v>0.22569846778211924</c:v>
                </c:pt>
                <c:pt idx="261">
                  <c:v>0.22569846778211924</c:v>
                </c:pt>
                <c:pt idx="262">
                  <c:v>0.22569846778211924</c:v>
                </c:pt>
                <c:pt idx="263">
                  <c:v>0.20776065291871673</c:v>
                </c:pt>
                <c:pt idx="264">
                  <c:v>0.21190223006442635</c:v>
                </c:pt>
                <c:pt idx="265">
                  <c:v>0.21744853814291318</c:v>
                </c:pt>
                <c:pt idx="266">
                  <c:v>0.22802253680619614</c:v>
                </c:pt>
                <c:pt idx="267">
                  <c:v>0.2262511382434525</c:v>
                </c:pt>
                <c:pt idx="268">
                  <c:v>0.2262511382434525</c:v>
                </c:pt>
                <c:pt idx="269">
                  <c:v>0.2262511382434525</c:v>
                </c:pt>
                <c:pt idx="270">
                  <c:v>0.2179818812442329</c:v>
                </c:pt>
                <c:pt idx="271">
                  <c:v>0.19361799528154705</c:v>
                </c:pt>
                <c:pt idx="272">
                  <c:v>0.20096524517308395</c:v>
                </c:pt>
                <c:pt idx="273">
                  <c:v>0.19428304053610049</c:v>
                </c:pt>
                <c:pt idx="274">
                  <c:v>0.19443324173391829</c:v>
                </c:pt>
                <c:pt idx="275">
                  <c:v>0.19443324173391829</c:v>
                </c:pt>
                <c:pt idx="276">
                  <c:v>0.19443324173391829</c:v>
                </c:pt>
                <c:pt idx="277">
                  <c:v>0.17822899902866213</c:v>
                </c:pt>
                <c:pt idx="278">
                  <c:v>0.191229409689045</c:v>
                </c:pt>
                <c:pt idx="279">
                  <c:v>0.19553214020324661</c:v>
                </c:pt>
                <c:pt idx="280">
                  <c:v>0.20887519734615098</c:v>
                </c:pt>
                <c:pt idx="281">
                  <c:v>0.20452460860715463</c:v>
                </c:pt>
                <c:pt idx="282">
                  <c:v>0.20452460860715463</c:v>
                </c:pt>
                <c:pt idx="283">
                  <c:v>0.20452460860715463</c:v>
                </c:pt>
                <c:pt idx="284">
                  <c:v>0.20126270244719366</c:v>
                </c:pt>
                <c:pt idx="285">
                  <c:v>0.20130605095465198</c:v>
                </c:pt>
                <c:pt idx="286">
                  <c:v>0.20646084194029754</c:v>
                </c:pt>
                <c:pt idx="287">
                  <c:v>0.22595911103715594</c:v>
                </c:pt>
                <c:pt idx="288">
                  <c:v>0.23598145162463041</c:v>
                </c:pt>
                <c:pt idx="289">
                  <c:v>0.23598145162463041</c:v>
                </c:pt>
                <c:pt idx="290">
                  <c:v>0.23598145162463041</c:v>
                </c:pt>
                <c:pt idx="291">
                  <c:v>0.23500864117062689</c:v>
                </c:pt>
                <c:pt idx="292">
                  <c:v>0.24041496394158871</c:v>
                </c:pt>
                <c:pt idx="293">
                  <c:v>0.24349905838942718</c:v>
                </c:pt>
                <c:pt idx="294">
                  <c:v>0.24483476303644253</c:v>
                </c:pt>
                <c:pt idx="295">
                  <c:v>0.24864464587030469</c:v>
                </c:pt>
                <c:pt idx="296">
                  <c:v>0.24864464587030469</c:v>
                </c:pt>
                <c:pt idx="297">
                  <c:v>0.24864464587030469</c:v>
                </c:pt>
                <c:pt idx="298">
                  <c:v>0.2527005383866221</c:v>
                </c:pt>
                <c:pt idx="299">
                  <c:v>0.25747034676781211</c:v>
                </c:pt>
                <c:pt idx="300">
                  <c:v>0.25214418652338183</c:v>
                </c:pt>
                <c:pt idx="301">
                  <c:v>0.25673066108958836</c:v>
                </c:pt>
                <c:pt idx="302">
                  <c:v>0.26872512867880216</c:v>
                </c:pt>
                <c:pt idx="303">
                  <c:v>0.26872512867880216</c:v>
                </c:pt>
                <c:pt idx="304">
                  <c:v>0.26872531274889738</c:v>
                </c:pt>
                <c:pt idx="305">
                  <c:v>0.27069366631368169</c:v>
                </c:pt>
                <c:pt idx="306">
                  <c:v>0.27633394217585233</c:v>
                </c:pt>
                <c:pt idx="307">
                  <c:v>0.26982872093556209</c:v>
                </c:pt>
                <c:pt idx="308">
                  <c:v>0.2783080019135929</c:v>
                </c:pt>
                <c:pt idx="309">
                  <c:v>0.27298552307106988</c:v>
                </c:pt>
                <c:pt idx="310">
                  <c:v>0.27298552307106988</c:v>
                </c:pt>
                <c:pt idx="311">
                  <c:v>0.27298552307106988</c:v>
                </c:pt>
                <c:pt idx="312">
                  <c:v>0.27799480664632936</c:v>
                </c:pt>
                <c:pt idx="313">
                  <c:v>0.27674018487632251</c:v>
                </c:pt>
                <c:pt idx="314">
                  <c:v>0.28115529018374447</c:v>
                </c:pt>
                <c:pt idx="315">
                  <c:v>0.28253710438964819</c:v>
                </c:pt>
                <c:pt idx="316">
                  <c:v>0.2893536801962483</c:v>
                </c:pt>
                <c:pt idx="317">
                  <c:v>0.2893536801962483</c:v>
                </c:pt>
                <c:pt idx="318">
                  <c:v>0.2893536801962483</c:v>
                </c:pt>
                <c:pt idx="319">
                  <c:v>0.29782835942189478</c:v>
                </c:pt>
                <c:pt idx="320">
                  <c:v>0.30685580114392225</c:v>
                </c:pt>
                <c:pt idx="321">
                  <c:v>0.30547407897306555</c:v>
                </c:pt>
                <c:pt idx="322">
                  <c:v>0.30243425338316227</c:v>
                </c:pt>
                <c:pt idx="323">
                  <c:v>0.30676367406119198</c:v>
                </c:pt>
                <c:pt idx="324">
                  <c:v>0.30676367406119198</c:v>
                </c:pt>
                <c:pt idx="325">
                  <c:v>0.30676367406119198</c:v>
                </c:pt>
                <c:pt idx="326">
                  <c:v>0.3098956267338252</c:v>
                </c:pt>
                <c:pt idx="327">
                  <c:v>0.28990635065758114</c:v>
                </c:pt>
                <c:pt idx="328">
                  <c:v>0.29469640674926156</c:v>
                </c:pt>
                <c:pt idx="329">
                  <c:v>0.30049976871592549</c:v>
                </c:pt>
                <c:pt idx="330">
                  <c:v>0.26853535241048077</c:v>
                </c:pt>
                <c:pt idx="331">
                  <c:v>0.26853535241048077</c:v>
                </c:pt>
                <c:pt idx="332">
                  <c:v>0.26853535241048077</c:v>
                </c:pt>
                <c:pt idx="333">
                  <c:v>0.27516776608666804</c:v>
                </c:pt>
                <c:pt idx="334">
                  <c:v>0.26025100166344145</c:v>
                </c:pt>
                <c:pt idx="335">
                  <c:v>0.27424658729441448</c:v>
                </c:pt>
                <c:pt idx="336">
                  <c:v>0.26042908948070687</c:v>
                </c:pt>
                <c:pt idx="337">
                  <c:v>0.25656021218128044</c:v>
                </c:pt>
                <c:pt idx="338">
                  <c:v>0.25656021218128044</c:v>
                </c:pt>
                <c:pt idx="339">
                  <c:v>0.25656021218128044</c:v>
                </c:pt>
                <c:pt idx="340">
                  <c:v>0.27046983707771788</c:v>
                </c:pt>
                <c:pt idx="341">
                  <c:v>0.30538195189033557</c:v>
                </c:pt>
                <c:pt idx="342">
                  <c:v>0.29672301849922861</c:v>
                </c:pt>
                <c:pt idx="343">
                  <c:v>0.30224999921770235</c:v>
                </c:pt>
                <c:pt idx="344">
                  <c:v>0.2985652840486881</c:v>
                </c:pt>
                <c:pt idx="345">
                  <c:v>0.2985652840486881</c:v>
                </c:pt>
                <c:pt idx="346">
                  <c:v>0.2985652840486881</c:v>
                </c:pt>
                <c:pt idx="347">
                  <c:v>0.29957858992367165</c:v>
                </c:pt>
                <c:pt idx="348">
                  <c:v>0.2847478782700284</c:v>
                </c:pt>
                <c:pt idx="349">
                  <c:v>0.28787983094266167</c:v>
                </c:pt>
                <c:pt idx="350">
                  <c:v>0.30952721043795234</c:v>
                </c:pt>
                <c:pt idx="351">
                  <c:v>0.29405160920519846</c:v>
                </c:pt>
                <c:pt idx="352">
                  <c:v>0.29405160920519846</c:v>
                </c:pt>
                <c:pt idx="353">
                  <c:v>0.29405160920519846</c:v>
                </c:pt>
                <c:pt idx="354">
                  <c:v>0.26171877660388093</c:v>
                </c:pt>
                <c:pt idx="355">
                  <c:v>0.27829971875930126</c:v>
                </c:pt>
                <c:pt idx="356">
                  <c:v>0.291656581159358</c:v>
                </c:pt>
                <c:pt idx="357">
                  <c:v>0.30602674943439867</c:v>
                </c:pt>
                <c:pt idx="358">
                  <c:v>0.30602674943439867</c:v>
                </c:pt>
                <c:pt idx="359">
                  <c:v>0.30602674943439867</c:v>
                </c:pt>
                <c:pt idx="360">
                  <c:v>0.30602674943439867</c:v>
                </c:pt>
                <c:pt idx="361">
                  <c:v>0.31173798431833261</c:v>
                </c:pt>
                <c:pt idx="362">
                  <c:v>0.32251556450708874</c:v>
                </c:pt>
                <c:pt idx="363">
                  <c:v>0.31394875819871204</c:v>
                </c:pt>
                <c:pt idx="364">
                  <c:v>0.32131809650169285</c:v>
                </c:pt>
                <c:pt idx="365">
                  <c:v>0.31491015630680297</c:v>
                </c:pt>
                <c:pt idx="366">
                  <c:v>0.31491015630680297</c:v>
                </c:pt>
                <c:pt idx="367">
                  <c:v>0.31491015630680297</c:v>
                </c:pt>
                <c:pt idx="368">
                  <c:v>0.31735709211953578</c:v>
                </c:pt>
                <c:pt idx="369">
                  <c:v>0.31809401674632937</c:v>
                </c:pt>
                <c:pt idx="370">
                  <c:v>0.31238278186239543</c:v>
                </c:pt>
                <c:pt idx="371">
                  <c:v>0.29524916924564226</c:v>
                </c:pt>
                <c:pt idx="372">
                  <c:v>0.27737853996704787</c:v>
                </c:pt>
                <c:pt idx="373">
                  <c:v>0.27737853996704787</c:v>
                </c:pt>
                <c:pt idx="374">
                  <c:v>0.27737853996704787</c:v>
                </c:pt>
                <c:pt idx="375">
                  <c:v>0.25858682393124766</c:v>
                </c:pt>
                <c:pt idx="376">
                  <c:v>0.27010132874679771</c:v>
                </c:pt>
                <c:pt idx="377">
                  <c:v>0.28649810877180526</c:v>
                </c:pt>
                <c:pt idx="378">
                  <c:v>0.28198434189326776</c:v>
                </c:pt>
                <c:pt idx="379">
                  <c:v>0.26743001148781476</c:v>
                </c:pt>
                <c:pt idx="380">
                  <c:v>0.26743001148781476</c:v>
                </c:pt>
                <c:pt idx="381">
                  <c:v>0.26743001148781476</c:v>
                </c:pt>
                <c:pt idx="382">
                  <c:v>0.27332540850216075</c:v>
                </c:pt>
                <c:pt idx="383">
                  <c:v>0.25886311314439042</c:v>
                </c:pt>
                <c:pt idx="384">
                  <c:v>0.26006067318483406</c:v>
                </c:pt>
                <c:pt idx="385">
                  <c:v>0.27010132874679771</c:v>
                </c:pt>
                <c:pt idx="386">
                  <c:v>0.24679584583245998</c:v>
                </c:pt>
                <c:pt idx="387">
                  <c:v>0.24679584583245998</c:v>
                </c:pt>
                <c:pt idx="388">
                  <c:v>0.24679584583245998</c:v>
                </c:pt>
                <c:pt idx="389">
                  <c:v>0.20644887738409906</c:v>
                </c:pt>
                <c:pt idx="390">
                  <c:v>0.20755431034181271</c:v>
                </c:pt>
                <c:pt idx="391">
                  <c:v>0.21759496590377594</c:v>
                </c:pt>
                <c:pt idx="392">
                  <c:v>0.22680666179126363</c:v>
                </c:pt>
                <c:pt idx="393">
                  <c:v>0.20386959517279862</c:v>
                </c:pt>
                <c:pt idx="394">
                  <c:v>0.20386959517279862</c:v>
                </c:pt>
                <c:pt idx="395">
                  <c:v>0.20386959517279862</c:v>
                </c:pt>
                <c:pt idx="396">
                  <c:v>0.23671920456685272</c:v>
                </c:pt>
                <c:pt idx="397">
                  <c:v>0.23307056713653027</c:v>
                </c:pt>
                <c:pt idx="398">
                  <c:v>0.25130961271099722</c:v>
                </c:pt>
                <c:pt idx="399">
                  <c:v>0.23583401147824318</c:v>
                </c:pt>
                <c:pt idx="400">
                  <c:v>0.21123893347577918</c:v>
                </c:pt>
                <c:pt idx="401">
                  <c:v>0.21123893347577918</c:v>
                </c:pt>
                <c:pt idx="402">
                  <c:v>0.21123893347577918</c:v>
                </c:pt>
                <c:pt idx="403">
                  <c:v>0.22026637519780651</c:v>
                </c:pt>
                <c:pt idx="404">
                  <c:v>0.21501568369247551</c:v>
                </c:pt>
                <c:pt idx="405">
                  <c:v>0.23758424198001976</c:v>
                </c:pt>
                <c:pt idx="406">
                  <c:v>0.22625389929488265</c:v>
                </c:pt>
                <c:pt idx="407">
                  <c:v>0.21538419202339612</c:v>
                </c:pt>
                <c:pt idx="408">
                  <c:v>0.21538419202339612</c:v>
                </c:pt>
                <c:pt idx="409">
                  <c:v>0.21538419202339612</c:v>
                </c:pt>
                <c:pt idx="410">
                  <c:v>0.19032847860728169</c:v>
                </c:pt>
                <c:pt idx="411">
                  <c:v>0.20488290104778245</c:v>
                </c:pt>
                <c:pt idx="412">
                  <c:v>0.1944737371548986</c:v>
                </c:pt>
                <c:pt idx="413">
                  <c:v>0.19023644355959918</c:v>
                </c:pt>
                <c:pt idx="414">
                  <c:v>0.18130112892030198</c:v>
                </c:pt>
                <c:pt idx="415">
                  <c:v>0.18130112892030198</c:v>
                </c:pt>
                <c:pt idx="416">
                  <c:v>0.18130112892030198</c:v>
                </c:pt>
                <c:pt idx="417">
                  <c:v>0.1656412735220873</c:v>
                </c:pt>
                <c:pt idx="418">
                  <c:v>0.17061558377922778</c:v>
                </c:pt>
                <c:pt idx="419">
                  <c:v>0.16382026806864275</c:v>
                </c:pt>
                <c:pt idx="420">
                  <c:v>0.13008564965607433</c:v>
                </c:pt>
                <c:pt idx="421">
                  <c:v>0.17191972040488793</c:v>
                </c:pt>
                <c:pt idx="422">
                  <c:v>0.17191972040488793</c:v>
                </c:pt>
                <c:pt idx="423">
                  <c:v>0.17191972040488793</c:v>
                </c:pt>
                <c:pt idx="424">
                  <c:v>0.17518558407189913</c:v>
                </c:pt>
                <c:pt idx="425">
                  <c:v>0.16852012981359407</c:v>
                </c:pt>
                <c:pt idx="426">
                  <c:v>0.17739691016256515</c:v>
                </c:pt>
                <c:pt idx="427">
                  <c:v>0.17484717120157114</c:v>
                </c:pt>
                <c:pt idx="428" formatCode="0.0%">
                  <c:v>0.15832126600466467</c:v>
                </c:pt>
                <c:pt idx="429" formatCode="0.0%">
                  <c:v>0.15832126600466467</c:v>
                </c:pt>
                <c:pt idx="430" formatCode="0.0%">
                  <c:v>0.15832126600466467</c:v>
                </c:pt>
                <c:pt idx="431" formatCode="0.0%">
                  <c:v>0.14783921035401648</c:v>
                </c:pt>
                <c:pt idx="432" formatCode="0.0%">
                  <c:v>0.13169101699279892</c:v>
                </c:pt>
                <c:pt idx="433" formatCode="0.0%">
                  <c:v>0.15227760052850228</c:v>
                </c:pt>
                <c:pt idx="434" formatCode="0.0%">
                  <c:v>0.14377853201521959</c:v>
                </c:pt>
                <c:pt idx="435" formatCode="0.0%">
                  <c:v>0.155677191119796</c:v>
                </c:pt>
                <c:pt idx="436" formatCode="0.0%">
                  <c:v>0.155677191119796</c:v>
                </c:pt>
                <c:pt idx="437" formatCode="0.0%">
                  <c:v>0.155677191119796</c:v>
                </c:pt>
                <c:pt idx="438" formatCode="0.0%">
                  <c:v>0.15237202848742443</c:v>
                </c:pt>
                <c:pt idx="439" formatCode="0.0%">
                  <c:v>0.15558276316087372</c:v>
                </c:pt>
                <c:pt idx="440" formatCode="0.0%">
                  <c:v>0.18674583030614714</c:v>
                </c:pt>
                <c:pt idx="441" formatCode="0.0%">
                  <c:v>0.18684025826506939</c:v>
                </c:pt>
                <c:pt idx="442" formatCode="0.0%">
                  <c:v>0.20723789384788049</c:v>
                </c:pt>
                <c:pt idx="443" formatCode="0.0%">
                  <c:v>0.20723789384788049</c:v>
                </c:pt>
                <c:pt idx="444" formatCode="0.0%">
                  <c:v>0.20723789384788049</c:v>
                </c:pt>
                <c:pt idx="445" formatCode="0.0%">
                  <c:v>0.21224285177589919</c:v>
                </c:pt>
                <c:pt idx="446" formatCode="0.0%">
                  <c:v>0.22140291600163692</c:v>
                </c:pt>
                <c:pt idx="447" formatCode="0.0%">
                  <c:v>0.20352943363656423</c:v>
                </c:pt>
                <c:pt idx="448" formatCode="0.0%">
                  <c:v>0.2053491505993415</c:v>
                </c:pt>
                <c:pt idx="449" formatCode="0.0%">
                  <c:v>0.20327164346800572</c:v>
                </c:pt>
                <c:pt idx="450" formatCode="0.0%">
                  <c:v>0.20327164346800572</c:v>
                </c:pt>
                <c:pt idx="451" formatCode="0.0%">
                  <c:v>0.20327164346800572</c:v>
                </c:pt>
                <c:pt idx="452" formatCode="0.0%">
                  <c:v>0.2129038474883545</c:v>
                </c:pt>
                <c:pt idx="453" formatCode="0.0%">
                  <c:v>0.22810766922530262</c:v>
                </c:pt>
                <c:pt idx="454" formatCode="0.0%">
                  <c:v>0.22225276763193633</c:v>
                </c:pt>
                <c:pt idx="455" formatCode="0.0%">
                  <c:v>0.21181433659388987</c:v>
                </c:pt>
                <c:pt idx="456" formatCode="0.0%">
                  <c:v>0.22357485109189468</c:v>
                </c:pt>
                <c:pt idx="457" formatCode="0.0%">
                  <c:v>0.22357485109189468</c:v>
                </c:pt>
                <c:pt idx="458" formatCode="0.0%">
                  <c:v>0.22357485109189468</c:v>
                </c:pt>
                <c:pt idx="459" formatCode="0.0%">
                  <c:v>0.23452913857220153</c:v>
                </c:pt>
                <c:pt idx="460" formatCode="0.0%">
                  <c:v>0.23556793815539293</c:v>
                </c:pt>
                <c:pt idx="461" formatCode="0.0%">
                  <c:v>0.20903211710244959</c:v>
                </c:pt>
                <c:pt idx="462" formatCode="0.0%">
                  <c:v>0.21224285177589919</c:v>
                </c:pt>
                <c:pt idx="463" formatCode="0.0%">
                  <c:v>0.22631344597073322</c:v>
                </c:pt>
                <c:pt idx="464" formatCode="0.0%">
                  <c:v>0.22631344597073322</c:v>
                </c:pt>
                <c:pt idx="465" formatCode="0.0%">
                  <c:v>0.22631344597073322</c:v>
                </c:pt>
                <c:pt idx="466" formatCode="0.0%">
                  <c:v>0.20950425689706037</c:v>
                </c:pt>
                <c:pt idx="467" formatCode="0.0%">
                  <c:v>0.20563252651115563</c:v>
                </c:pt>
                <c:pt idx="468" formatCode="0.0%">
                  <c:v>0.20006090879455612</c:v>
                </c:pt>
                <c:pt idx="469" formatCode="0.0%">
                  <c:v>0.20006090879455612</c:v>
                </c:pt>
                <c:pt idx="470" formatCode="0.0%">
                  <c:v>0.20006090879455612</c:v>
                </c:pt>
                <c:pt idx="471" formatCode="0.0%">
                  <c:v>0.20006090879455612</c:v>
                </c:pt>
                <c:pt idx="472" formatCode="0.0%">
                  <c:v>0.20006090879455612</c:v>
                </c:pt>
                <c:pt idx="473" formatCode="0.0%">
                  <c:v>0.20006090879455612</c:v>
                </c:pt>
                <c:pt idx="474" formatCode="0.0%">
                  <c:v>0.20667123405929971</c:v>
                </c:pt>
                <c:pt idx="475" formatCode="0.0%">
                  <c:v>0.2188531770406425</c:v>
                </c:pt>
                <c:pt idx="476" formatCode="0.0%">
                  <c:v>0.2210251121309004</c:v>
                </c:pt>
                <c:pt idx="477" formatCode="0.0%">
                  <c:v>0.19080641660989642</c:v>
                </c:pt>
                <c:pt idx="478" formatCode="0.0%">
                  <c:v>0.19080641660989642</c:v>
                </c:pt>
                <c:pt idx="479" formatCode="0.0%">
                  <c:v>0.19080641660989642</c:v>
                </c:pt>
                <c:pt idx="480" formatCode="0.0%">
                  <c:v>0.17314737590592416</c:v>
                </c:pt>
                <c:pt idx="481" formatCode="0.0%">
                  <c:v>0.16984221327355242</c:v>
                </c:pt>
                <c:pt idx="482" formatCode="0.0%">
                  <c:v>0.17711353425075102</c:v>
                </c:pt>
                <c:pt idx="483" formatCode="0.0%">
                  <c:v>0.18429051930407539</c:v>
                </c:pt>
                <c:pt idx="484" formatCode="0.0%">
                  <c:v>0.18976761702670486</c:v>
                </c:pt>
                <c:pt idx="485" formatCode="0.0%">
                  <c:v>0.17478670417524356</c:v>
                </c:pt>
                <c:pt idx="486" formatCode="0.0%">
                  <c:v>0.17478670417524356</c:v>
                </c:pt>
                <c:pt idx="487" formatCode="0.0%">
                  <c:v>0.16785913410113878</c:v>
                </c:pt>
                <c:pt idx="488" formatCode="0.0%">
                  <c:v>0.16748133023040254</c:v>
                </c:pt>
                <c:pt idx="489" formatCode="0.0%">
                  <c:v>0.16228751638453942</c:v>
                </c:pt>
                <c:pt idx="490" formatCode="0.0%">
                  <c:v>0.16398731168018643</c:v>
                </c:pt>
                <c:pt idx="491" formatCode="0.0%">
                  <c:v>0.13858471816935661</c:v>
                </c:pt>
                <c:pt idx="492" formatCode="0.0%">
                  <c:v>0.13858471816935661</c:v>
                </c:pt>
                <c:pt idx="493" formatCode="0.0%">
                  <c:v>0.13858471816935661</c:v>
                </c:pt>
                <c:pt idx="494" formatCode="0.0%">
                  <c:v>0.1177149427919349</c:v>
                </c:pt>
                <c:pt idx="495" formatCode="0.0%">
                  <c:v>0.11478749199525183</c:v>
                </c:pt>
                <c:pt idx="496" formatCode="0.0%">
                  <c:v>0.12706386293551675</c:v>
                </c:pt>
                <c:pt idx="497" formatCode="0.0%">
                  <c:v>0.12687491498262488</c:v>
                </c:pt>
                <c:pt idx="498" formatCode="0.0%">
                  <c:v>0.12687491498262488</c:v>
                </c:pt>
                <c:pt idx="499" formatCode="0.0%">
                  <c:v>0.12687491498262488</c:v>
                </c:pt>
                <c:pt idx="500" formatCode="0.0%">
                  <c:v>0.12687491498262488</c:v>
                </c:pt>
                <c:pt idx="501" formatCode="0.0%">
                  <c:v>0.14151216896603969</c:v>
                </c:pt>
                <c:pt idx="502" formatCode="0.0%">
                  <c:v>0.14547832731086657</c:v>
                </c:pt>
                <c:pt idx="503" formatCode="0.0%">
                  <c:v>0.14132331304819545</c:v>
                </c:pt>
                <c:pt idx="504" formatCode="0.0%">
                  <c:v>0.11327655261744908</c:v>
                </c:pt>
                <c:pt idx="505" formatCode="0.0%">
                  <c:v>0.12489183581021138</c:v>
                </c:pt>
                <c:pt idx="506" formatCode="0.0%">
                  <c:v>0.12489183581021138</c:v>
                </c:pt>
                <c:pt idx="507" formatCode="0.0%">
                  <c:v>0.12489183581021138</c:v>
                </c:pt>
                <c:pt idx="508" formatCode="0.0%">
                  <c:v>0.13018007761499631</c:v>
                </c:pt>
                <c:pt idx="509" formatCode="0.0%">
                  <c:v>0.10959358611434113</c:v>
                </c:pt>
                <c:pt idx="510" formatCode="0.0%">
                  <c:v>0.12356975235025303</c:v>
                </c:pt>
                <c:pt idx="511" formatCode="0.0%">
                  <c:v>0.12356975235025303</c:v>
                </c:pt>
                <c:pt idx="512" formatCode="0.0%">
                  <c:v>0.12356975235025303</c:v>
                </c:pt>
                <c:pt idx="513" formatCode="0.0%">
                  <c:v>0.12356975235025303</c:v>
                </c:pt>
                <c:pt idx="514" formatCode="0.0%">
                  <c:v>0.12356975235025303</c:v>
                </c:pt>
                <c:pt idx="515" formatCode="0.0%">
                  <c:v>0.1711642967335105</c:v>
                </c:pt>
                <c:pt idx="516" formatCode="0.0%">
                  <c:v>0.16126675567069357</c:v>
                </c:pt>
                <c:pt idx="517" formatCode="0.0%">
                  <c:v>0.15633818683225129</c:v>
                </c:pt>
                <c:pt idx="518" formatCode="0.0%">
                  <c:v>0.15416625174199353</c:v>
                </c:pt>
                <c:pt idx="519" formatCode="0.0%">
                  <c:v>0.15614933091440691</c:v>
                </c:pt>
                <c:pt idx="520" formatCode="0.0%">
                  <c:v>0.15614933091440691</c:v>
                </c:pt>
                <c:pt idx="521" formatCode="0.0%">
                  <c:v>0.15614933091440691</c:v>
                </c:pt>
                <c:pt idx="522" formatCode="0.0%">
                  <c:v>0.15614933091440691</c:v>
                </c:pt>
                <c:pt idx="523" formatCode="0.0%">
                  <c:v>0.16455387943371932</c:v>
                </c:pt>
                <c:pt idx="524" formatCode="0.0%">
                  <c:v>0.16266522822022808</c:v>
                </c:pt>
                <c:pt idx="525" formatCode="0.0%">
                  <c:v>0.15511053133121508</c:v>
                </c:pt>
                <c:pt idx="526" formatCode="0.0%">
                  <c:v>0.12876365823116373</c:v>
                </c:pt>
                <c:pt idx="527" formatCode="0.0%">
                  <c:v>0.12876365823116373</c:v>
                </c:pt>
                <c:pt idx="528" formatCode="0.0%">
                  <c:v>0.12876365823116373</c:v>
                </c:pt>
                <c:pt idx="529" formatCode="0.0%">
                  <c:v>9.590079579024334E-2</c:v>
                </c:pt>
                <c:pt idx="530" formatCode="0.0%">
                  <c:v>9.4012052541704347E-2</c:v>
                </c:pt>
                <c:pt idx="531" formatCode="0.0%">
                  <c:v>9.939481434045945E-2</c:v>
                </c:pt>
                <c:pt idx="532" formatCode="0.0%">
                  <c:v>6.3037933349322936E-2</c:v>
                </c:pt>
                <c:pt idx="533" formatCode="0.0%">
                  <c:v>6.5682008234191749E-2</c:v>
                </c:pt>
                <c:pt idx="534" formatCode="0.0%">
                  <c:v>6.5682008234191749E-2</c:v>
                </c:pt>
                <c:pt idx="535" formatCode="0.0%">
                  <c:v>6.5682008234191749E-2</c:v>
                </c:pt>
                <c:pt idx="536" formatCode="0.0%">
                  <c:v>7.1725765745402015E-2</c:v>
                </c:pt>
                <c:pt idx="537" formatCode="0.0%">
                  <c:v>8.4946508309936497E-2</c:v>
                </c:pt>
                <c:pt idx="538" formatCode="0.0%">
                  <c:v>8.456870443920024E-2</c:v>
                </c:pt>
                <c:pt idx="539" formatCode="0.0%">
                  <c:v>9.3256628870326916E-2</c:v>
                </c:pt>
                <c:pt idx="540" formatCode="0.0%">
                  <c:v>0.11601505546124002</c:v>
                </c:pt>
                <c:pt idx="541" formatCode="0.0%">
                  <c:v>0.11601505546124002</c:v>
                </c:pt>
                <c:pt idx="542" formatCode="0.0%">
                  <c:v>0.11601505546124002</c:v>
                </c:pt>
                <c:pt idx="543" formatCode="0.0%">
                  <c:v>0.11884807829900097</c:v>
                </c:pt>
                <c:pt idx="544" formatCode="0.0%">
                  <c:v>0.12054787359464797</c:v>
                </c:pt>
                <c:pt idx="545" formatCode="0.0%">
                  <c:v>0.10902701836080794</c:v>
                </c:pt>
                <c:pt idx="546" formatCode="0.0%">
                  <c:v>0.1010326700490161</c:v>
                </c:pt>
                <c:pt idx="547" formatCode="0.0%">
                  <c:v>0.10185003330748373</c:v>
                </c:pt>
                <c:pt idx="548" formatCode="0.0%">
                  <c:v>0.10185003330748373</c:v>
                </c:pt>
                <c:pt idx="549" formatCode="0.0%">
                  <c:v>0.10185003330748373</c:v>
                </c:pt>
                <c:pt idx="550" formatCode="0.0%">
                  <c:v>0.10647727939981394</c:v>
                </c:pt>
                <c:pt idx="551" formatCode="0.0%">
                  <c:v>0.1056274277695141</c:v>
                </c:pt>
                <c:pt idx="552" formatCode="0.0%">
                  <c:v>0.13216324882245759</c:v>
                </c:pt>
                <c:pt idx="553" formatCode="0.0%">
                  <c:v>0.15038885727996301</c:v>
                </c:pt>
                <c:pt idx="554" formatCode="0.0%">
                  <c:v>0.15728255845652073</c:v>
                </c:pt>
                <c:pt idx="555" formatCode="0.0%">
                  <c:v>0.15728255845652073</c:v>
                </c:pt>
                <c:pt idx="556" formatCode="0.0%">
                  <c:v>0.15728255845652073</c:v>
                </c:pt>
                <c:pt idx="557" formatCode="0.0%">
                  <c:v>0.15492167541337082</c:v>
                </c:pt>
                <c:pt idx="558" formatCode="0.0%">
                  <c:v>0.15633818683225129</c:v>
                </c:pt>
                <c:pt idx="559" formatCode="0.0%">
                  <c:v>0.13556283941375155</c:v>
                </c:pt>
                <c:pt idx="560" formatCode="0.0%">
                  <c:v>0.12271990071995333</c:v>
                </c:pt>
                <c:pt idx="561" formatCode="0.0%">
                  <c:v>0.14831135014862754</c:v>
                </c:pt>
                <c:pt idx="562" formatCode="0.0%">
                  <c:v>0.14831135014862754</c:v>
                </c:pt>
                <c:pt idx="563" formatCode="0.0%">
                  <c:v>0.14831135014862754</c:v>
                </c:pt>
                <c:pt idx="564" formatCode="0.0%">
                  <c:v>0.14519504343410006</c:v>
                </c:pt>
                <c:pt idx="565" formatCode="0.0%">
                  <c:v>0.15322188011772384</c:v>
                </c:pt>
                <c:pt idx="566" formatCode="0.0%">
                  <c:v>0.16700919043579149</c:v>
                </c:pt>
                <c:pt idx="567" formatCode="0.0%">
                  <c:v>0.1750360271194154</c:v>
                </c:pt>
                <c:pt idx="568" formatCode="0.0%">
                  <c:v>0.18362952359161994</c:v>
                </c:pt>
                <c:pt idx="569" formatCode="0.0%">
                  <c:v>0.18362952359161994</c:v>
                </c:pt>
                <c:pt idx="570" formatCode="0.0%">
                  <c:v>0.18362952359161994</c:v>
                </c:pt>
                <c:pt idx="571" formatCode="0.0%">
                  <c:v>0.17975770117066744</c:v>
                </c:pt>
                <c:pt idx="572" formatCode="0.0%">
                  <c:v>0.18334614767980567</c:v>
                </c:pt>
                <c:pt idx="573" formatCode="0.0%">
                  <c:v>0.19458381107192665</c:v>
                </c:pt>
                <c:pt idx="574" formatCode="0.0%">
                  <c:v>0.20950425689706037</c:v>
                </c:pt>
                <c:pt idx="575" formatCode="0.0%">
                  <c:v>0.23254605939978787</c:v>
                </c:pt>
                <c:pt idx="576" formatCode="0.0%">
                  <c:v>0.23254605939978787</c:v>
                </c:pt>
                <c:pt idx="577" formatCode="0.0%">
                  <c:v>0.23329301584677878</c:v>
                </c:pt>
                <c:pt idx="578" formatCode="0.0%">
                  <c:v>0.22895752085560234</c:v>
                </c:pt>
                <c:pt idx="579" formatCode="0.0%">
                  <c:v>0.22565235822323032</c:v>
                </c:pt>
                <c:pt idx="580" formatCode="0.0%">
                  <c:v>0.23188497165228511</c:v>
                </c:pt>
                <c:pt idx="581" formatCode="0.0%">
                  <c:v>0.23160168777551846</c:v>
                </c:pt>
                <c:pt idx="582" formatCode="0.0%">
                  <c:v>0.23339591103008758</c:v>
                </c:pt>
                <c:pt idx="583" formatCode="0.0%">
                  <c:v>0.23339591103008758</c:v>
                </c:pt>
                <c:pt idx="584" formatCode="0.0%">
                  <c:v>0.23339591103008758</c:v>
                </c:pt>
                <c:pt idx="585" formatCode="0.0%">
                  <c:v>0.23849538895207614</c:v>
                </c:pt>
                <c:pt idx="586" formatCode="0.0%">
                  <c:v>0.22508579046969729</c:v>
                </c:pt>
                <c:pt idx="587" formatCode="0.0%">
                  <c:v>0.23358476694793212</c:v>
                </c:pt>
                <c:pt idx="588" formatCode="0.0%">
                  <c:v>0.24482243034005308</c:v>
                </c:pt>
                <c:pt idx="589" formatCode="0.0%">
                  <c:v>0.24935515643841313</c:v>
                </c:pt>
                <c:pt idx="590" formatCode="0.0%">
                  <c:v>0.24935515643841313</c:v>
                </c:pt>
                <c:pt idx="591" formatCode="0.0%">
                  <c:v>0.24935515643841313</c:v>
                </c:pt>
                <c:pt idx="592" formatCode="0.0%">
                  <c:v>0.26295361083863639</c:v>
                </c:pt>
                <c:pt idx="593" formatCode="0.0%">
                  <c:v>0.26097053166622275</c:v>
                </c:pt>
                <c:pt idx="594" formatCode="0.0%">
                  <c:v>0.25700428128634828</c:v>
                </c:pt>
                <c:pt idx="595" formatCode="0.0%">
                  <c:v>0.26002616004195334</c:v>
                </c:pt>
                <c:pt idx="596" formatCode="0.0%">
                  <c:v>0.2591763084116539</c:v>
                </c:pt>
                <c:pt idx="597" formatCode="0.0%">
                  <c:v>0.2591763084116539</c:v>
                </c:pt>
                <c:pt idx="598" formatCode="0.0%">
                  <c:v>0.2591763084116539</c:v>
                </c:pt>
                <c:pt idx="599" formatCode="0.0%">
                  <c:v>0.24321706300332807</c:v>
                </c:pt>
                <c:pt idx="600" formatCode="0.0%">
                  <c:v>0.23519013428465699</c:v>
                </c:pt>
                <c:pt idx="601" formatCode="0.0%">
                  <c:v>0.23858981691099829</c:v>
                </c:pt>
                <c:pt idx="602" formatCode="0.0%">
                  <c:v>0.24680550951246658</c:v>
                </c:pt>
                <c:pt idx="603" formatCode="0.0%">
                  <c:v>0.22848538106099098</c:v>
                </c:pt>
                <c:pt idx="604" formatCode="0.0%">
                  <c:v>0.22848538106099098</c:v>
                </c:pt>
                <c:pt idx="605" formatCode="0.0%">
                  <c:v>0.22848538106099098</c:v>
                </c:pt>
                <c:pt idx="606" formatCode="0.0%">
                  <c:v>0.20572695447007788</c:v>
                </c:pt>
                <c:pt idx="607" formatCode="0.0%">
                  <c:v>0.19637803432649575</c:v>
                </c:pt>
                <c:pt idx="608" formatCode="0.0%">
                  <c:v>0.18459892874885925</c:v>
                </c:pt>
                <c:pt idx="609" formatCode="0.0%">
                  <c:v>0.17862447362855363</c:v>
                </c:pt>
                <c:pt idx="610" formatCode="0.0%">
                  <c:v>0.19760559779248438</c:v>
                </c:pt>
                <c:pt idx="611" formatCode="0.0%">
                  <c:v>0.19760559779248438</c:v>
                </c:pt>
                <c:pt idx="612" formatCode="0.0%">
                  <c:v>0.19760559779248438</c:v>
                </c:pt>
                <c:pt idx="613" formatCode="0.0%">
                  <c:v>0.18665140234722513</c:v>
                </c:pt>
                <c:pt idx="614" formatCode="0.0%">
                  <c:v>0.19127855640450747</c:v>
                </c:pt>
                <c:pt idx="615" formatCode="0.0%">
                  <c:v>0.18684025826506939</c:v>
                </c:pt>
                <c:pt idx="616" formatCode="0.0%">
                  <c:v>0.20298835959123934</c:v>
                </c:pt>
                <c:pt idx="617" formatCode="0.0%">
                  <c:v>0.21941974479417567</c:v>
                </c:pt>
                <c:pt idx="618" formatCode="0.0%">
                  <c:v>0.21941974479417567</c:v>
                </c:pt>
                <c:pt idx="619" formatCode="0.0%">
                  <c:v>0.21941974479417567</c:v>
                </c:pt>
                <c:pt idx="620" formatCode="0.0%">
                  <c:v>0.22574678618215274</c:v>
                </c:pt>
                <c:pt idx="621" formatCode="0.0%">
                  <c:v>0.20412158713335329</c:v>
                </c:pt>
                <c:pt idx="622" formatCode="0.0%">
                  <c:v>0.19562251862007088</c:v>
                </c:pt>
                <c:pt idx="623" formatCode="0.0%">
                  <c:v>0.18514046296942241</c:v>
                </c:pt>
                <c:pt idx="624" formatCode="0.0%">
                  <c:v>0.16408173963910855</c:v>
                </c:pt>
                <c:pt idx="625" formatCode="0.0%">
                  <c:v>0.16408173963910855</c:v>
                </c:pt>
                <c:pt idx="626" formatCode="0.0%">
                  <c:v>0.16408173963910855</c:v>
                </c:pt>
                <c:pt idx="627" formatCode="0.0%">
                  <c:v>0.16360959984449777</c:v>
                </c:pt>
                <c:pt idx="628" formatCode="0.0%">
                  <c:v>0.150597316662964</c:v>
                </c:pt>
                <c:pt idx="629" formatCode="0.0%">
                  <c:v>0.16672590655902497</c:v>
                </c:pt>
                <c:pt idx="630" formatCode="0.0%">
                  <c:v>0.13952899775857858</c:v>
                </c:pt>
                <c:pt idx="631" formatCode="0.0%">
                  <c:v>0.13018007761499631</c:v>
                </c:pt>
                <c:pt idx="632" formatCode="0.0%">
                  <c:v>0.13018007761499631</c:v>
                </c:pt>
                <c:pt idx="633" formatCode="0.0%">
                  <c:v>0.13018007761499631</c:v>
                </c:pt>
                <c:pt idx="634" formatCode="0.0%">
                  <c:v>0.13594055124944021</c:v>
                </c:pt>
                <c:pt idx="635" formatCode="0.0%">
                  <c:v>0.1348073237073264</c:v>
                </c:pt>
                <c:pt idx="636" formatCode="0.0%">
                  <c:v>0.12923579802577478</c:v>
                </c:pt>
                <c:pt idx="637" formatCode="0.0%">
                  <c:v>0.10373877655602286</c:v>
                </c:pt>
                <c:pt idx="638" formatCode="0.0%">
                  <c:v>9.8722590352186904E-2</c:v>
                </c:pt>
                <c:pt idx="639" formatCode="0.0%">
                  <c:v>9.8722590352186904E-2</c:v>
                </c:pt>
                <c:pt idx="640" formatCode="0.0%">
                  <c:v>9.8722590352186904E-2</c:v>
                </c:pt>
                <c:pt idx="641" formatCode="0.0%">
                  <c:v>0.11639285933197656</c:v>
                </c:pt>
                <c:pt idx="642" formatCode="0.0%">
                  <c:v>0.14292868038492018</c:v>
                </c:pt>
                <c:pt idx="643" formatCode="0.0%">
                  <c:v>0.14434519180380051</c:v>
                </c:pt>
                <c:pt idx="644" formatCode="0.0%">
                  <c:v>0.15152208482207682</c:v>
                </c:pt>
                <c:pt idx="645" formatCode="0.0%">
                  <c:v>0.13235210474030196</c:v>
                </c:pt>
                <c:pt idx="646" formatCode="0.0%">
                  <c:v>0.13235210474030196</c:v>
                </c:pt>
                <c:pt idx="647" formatCode="0.0%">
                  <c:v>0.13235210474030196</c:v>
                </c:pt>
                <c:pt idx="648" formatCode="0.0%">
                  <c:v>0.12054787359464797</c:v>
                </c:pt>
                <c:pt idx="649" formatCode="0.0%">
                  <c:v>0.10761050694192748</c:v>
                </c:pt>
                <c:pt idx="650" formatCode="0.0%">
                  <c:v>0.10921587427865248</c:v>
                </c:pt>
                <c:pt idx="651" formatCode="0.0%">
                  <c:v>9.1745689492524318E-2</c:v>
                </c:pt>
                <c:pt idx="652" formatCode="0.0%">
                  <c:v>0.11186004119856889</c:v>
                </c:pt>
                <c:pt idx="653" formatCode="0.0%">
                  <c:v>0.11186004119856889</c:v>
                </c:pt>
                <c:pt idx="654" formatCode="0.0%">
                  <c:v>0.11186004119856889</c:v>
                </c:pt>
                <c:pt idx="655" formatCode="0.0%">
                  <c:v>0.12271990071995333</c:v>
                </c:pt>
                <c:pt idx="656" formatCode="0.0%">
                  <c:v>0.13754591858616494</c:v>
                </c:pt>
                <c:pt idx="657" formatCode="0.0%">
                  <c:v>0.12895251414900799</c:v>
                </c:pt>
                <c:pt idx="658" formatCode="0.0%">
                  <c:v>0.12781928660689432</c:v>
                </c:pt>
                <c:pt idx="659" formatCode="0.0%">
                  <c:v>0.11828151054546794</c:v>
                </c:pt>
                <c:pt idx="660" formatCode="0.0%">
                  <c:v>0.11828151054546794</c:v>
                </c:pt>
                <c:pt idx="661" formatCode="0.0%">
                  <c:v>0.11828151054546794</c:v>
                </c:pt>
                <c:pt idx="662" formatCode="0.0%">
                  <c:v>0.13103002128034377</c:v>
                </c:pt>
                <c:pt idx="663" formatCode="0.0%">
                  <c:v>0.14547832731086657</c:v>
                </c:pt>
                <c:pt idx="664" formatCode="0.0%">
                  <c:v>0.14793363831293888</c:v>
                </c:pt>
                <c:pt idx="665" formatCode="0.0%">
                  <c:v>0.14519504343410006</c:v>
                </c:pt>
                <c:pt idx="666" formatCode="0.0%">
                  <c:v>0.14925572177289695</c:v>
                </c:pt>
                <c:pt idx="667" formatCode="0.0%">
                  <c:v>0.14925572177289695</c:v>
                </c:pt>
                <c:pt idx="668" formatCode="0.0%">
                  <c:v>0.14925572177289695</c:v>
                </c:pt>
                <c:pt idx="669" formatCode="0.0%">
                  <c:v>0.15841532582339624</c:v>
                </c:pt>
                <c:pt idx="670" formatCode="0.0%">
                  <c:v>0.16115428884242561</c:v>
                </c:pt>
                <c:pt idx="671" formatCode="0.0%">
                  <c:v>0.15917120967001225</c:v>
                </c:pt>
                <c:pt idx="672" formatCode="0.0%">
                  <c:v>0.14528947139302217</c:v>
                </c:pt>
                <c:pt idx="673" formatCode="0.0%">
                  <c:v>0.14141774100711757</c:v>
                </c:pt>
                <c:pt idx="674" formatCode="0.0%">
                  <c:v>0.14141774100711757</c:v>
                </c:pt>
                <c:pt idx="675" formatCode="0.0%">
                  <c:v>0.14141774100711757</c:v>
                </c:pt>
                <c:pt idx="676" formatCode="0.0%">
                  <c:v>0.14944457769074135</c:v>
                </c:pt>
                <c:pt idx="677" formatCode="0.0%">
                  <c:v>0.16474282738661158</c:v>
                </c:pt>
                <c:pt idx="678" formatCode="0.0%">
                  <c:v>0.15633818683225129</c:v>
                </c:pt>
                <c:pt idx="679" formatCode="0.0%">
                  <c:v>0.18778453785429122</c:v>
                </c:pt>
                <c:pt idx="680" formatCode="0.0%">
                  <c:v>0.19751116983356212</c:v>
                </c:pt>
                <c:pt idx="681" formatCode="0.0%">
                  <c:v>0.19751116983356212</c:v>
                </c:pt>
                <c:pt idx="682" formatCode="0.0%">
                  <c:v>0.19751116983356212</c:v>
                </c:pt>
                <c:pt idx="683" formatCode="0.0%">
                  <c:v>0.19807782962214304</c:v>
                </c:pt>
                <c:pt idx="684" formatCode="0.0%">
                  <c:v>0.20147742021343659</c:v>
                </c:pt>
                <c:pt idx="685" formatCode="0.0%">
                  <c:v>0.18938990519101623</c:v>
                </c:pt>
                <c:pt idx="686" formatCode="0.0%">
                  <c:v>0.18079650075385928</c:v>
                </c:pt>
                <c:pt idx="687" formatCode="0.0%">
                  <c:v>0.19080641660989642</c:v>
                </c:pt>
                <c:pt idx="688" formatCode="0.0%">
                  <c:v>0.19080641660989642</c:v>
                </c:pt>
                <c:pt idx="689" formatCode="0.0%">
                  <c:v>0.19080641660989642</c:v>
                </c:pt>
                <c:pt idx="690" formatCode="0.0%">
                  <c:v>0.20015533675347855</c:v>
                </c:pt>
                <c:pt idx="691" formatCode="0.0%">
                  <c:v>0.2063879501825332</c:v>
                </c:pt>
                <c:pt idx="692" formatCode="0.0%">
                  <c:v>0.20940982893813853</c:v>
                </c:pt>
                <c:pt idx="693" formatCode="0.0%">
                  <c:v>0.21073191239809647</c:v>
                </c:pt>
                <c:pt idx="694" formatCode="0.0%">
                  <c:v>0.21054305648025234</c:v>
                </c:pt>
                <c:pt idx="695" formatCode="0.0%">
                  <c:v>0.21054305648025234</c:v>
                </c:pt>
                <c:pt idx="696" formatCode="0.0%">
                  <c:v>0.21054305648025234</c:v>
                </c:pt>
                <c:pt idx="697" formatCode="0.0%">
                  <c:v>0.20336607142692814</c:v>
                </c:pt>
                <c:pt idx="698" formatCode="0.0%">
                  <c:v>0.19911653717028671</c:v>
                </c:pt>
                <c:pt idx="699" formatCode="0.0%">
                  <c:v>0.22741050373910809</c:v>
                </c:pt>
                <c:pt idx="700" formatCode="0.0%">
                  <c:v>0.21743666562176231</c:v>
                </c:pt>
                <c:pt idx="701" formatCode="0.0%">
                  <c:v>0.21545358644934878</c:v>
                </c:pt>
                <c:pt idx="702" formatCode="0.0%">
                  <c:v>0.21545358644934878</c:v>
                </c:pt>
                <c:pt idx="703" formatCode="0.0%">
                  <c:v>0.21545358644934878</c:v>
                </c:pt>
                <c:pt idx="704" formatCode="0.0%">
                  <c:v>0.20686008997714425</c:v>
                </c:pt>
                <c:pt idx="705" formatCode="0.0%">
                  <c:v>0.19505595086653757</c:v>
                </c:pt>
                <c:pt idx="706" formatCode="0.0%">
                  <c:v>0.19411157924226813</c:v>
                </c:pt>
                <c:pt idx="707" formatCode="0.0%">
                  <c:v>0.19411157924226813</c:v>
                </c:pt>
                <c:pt idx="708" formatCode="0.0%">
                  <c:v>0.19562251862007088</c:v>
                </c:pt>
                <c:pt idx="709" formatCode="0.0%">
                  <c:v>0.19562251862007088</c:v>
                </c:pt>
                <c:pt idx="710" formatCode="0.0%">
                  <c:v>0.19562251862007088</c:v>
                </c:pt>
                <c:pt idx="711" formatCode="0.0%">
                  <c:v>0.19203407211093235</c:v>
                </c:pt>
                <c:pt idx="712" formatCode="0.0%">
                  <c:v>0.21318713136512102</c:v>
                </c:pt>
                <c:pt idx="713" formatCode="0.0%">
                  <c:v>0.20742674976572473</c:v>
                </c:pt>
                <c:pt idx="714" formatCode="0.0%">
                  <c:v>0.16823684593682756</c:v>
                </c:pt>
                <c:pt idx="715" formatCode="0.0%">
                  <c:v>0.15038885727996301</c:v>
                </c:pt>
                <c:pt idx="716" formatCode="0.0%">
                  <c:v>0.15038885727996301</c:v>
                </c:pt>
                <c:pt idx="717" formatCode="0.0%">
                  <c:v>0.15038885727996301</c:v>
                </c:pt>
                <c:pt idx="718" formatCode="0.0%">
                  <c:v>0.15237202848742443</c:v>
                </c:pt>
                <c:pt idx="719" formatCode="0.0%">
                  <c:v>0.1432119642616867</c:v>
                </c:pt>
                <c:pt idx="720" formatCode="0.0%">
                  <c:v>0.155677191119796</c:v>
                </c:pt>
                <c:pt idx="721" formatCode="0.0%">
                  <c:v>0.14255087651418394</c:v>
                </c:pt>
                <c:pt idx="722" formatCode="0.0%">
                  <c:v>0.14519504343410006</c:v>
                </c:pt>
                <c:pt idx="723" formatCode="0.0%">
                  <c:v>0.14519504343410006</c:v>
                </c:pt>
                <c:pt idx="724" formatCode="0.0%">
                  <c:v>0.14519504343410006</c:v>
                </c:pt>
                <c:pt idx="725" formatCode="0.0%">
                  <c:v>0.14519504343410006</c:v>
                </c:pt>
                <c:pt idx="726" formatCode="0.0%">
                  <c:v>0.14840577810754965</c:v>
                </c:pt>
                <c:pt idx="727" formatCode="0.0%">
                  <c:v>0.14717812260651356</c:v>
                </c:pt>
                <c:pt idx="728" formatCode="0.0%">
                  <c:v>0.15293859624095746</c:v>
                </c:pt>
                <c:pt idx="729" formatCode="0.0%">
                  <c:v>0.1450061875162558</c:v>
                </c:pt>
                <c:pt idx="730" formatCode="0.0%">
                  <c:v>0.14370702078317052</c:v>
                </c:pt>
                <c:pt idx="731" formatCode="0.0%">
                  <c:v>0.14370702078317052</c:v>
                </c:pt>
                <c:pt idx="732" formatCode="0.0%">
                  <c:v>0.14370702078317052</c:v>
                </c:pt>
                <c:pt idx="733" formatCode="0.0%">
                  <c:v>0.16143757271919212</c:v>
                </c:pt>
                <c:pt idx="734" formatCode="0.0%">
                  <c:v>0.16785913410113878</c:v>
                </c:pt>
                <c:pt idx="735" formatCode="0.0%">
                  <c:v>0.16294851209699474</c:v>
                </c:pt>
                <c:pt idx="736" formatCode="0.0%">
                  <c:v>0.16332631596773112</c:v>
                </c:pt>
                <c:pt idx="737" formatCode="0.0%">
                  <c:v>0.16332631596773112</c:v>
                </c:pt>
                <c:pt idx="738" formatCode="0.0%">
                  <c:v>0.16332631596773112</c:v>
                </c:pt>
                <c:pt idx="739" formatCode="0.0%">
                  <c:v>0.1768302503739845</c:v>
                </c:pt>
                <c:pt idx="740" formatCode="0.0%">
                  <c:v>0.17106986877458838</c:v>
                </c:pt>
                <c:pt idx="741" formatCode="0.0%">
                  <c:v>0.18514046296942241</c:v>
                </c:pt>
                <c:pt idx="742" formatCode="0.0%">
                  <c:v>0.19212850006985477</c:v>
                </c:pt>
                <c:pt idx="743" formatCode="0.0%">
                  <c:v>0.19203407211093235</c:v>
                </c:pt>
                <c:pt idx="744" formatCode="0.0%">
                  <c:v>0.19203407211093235</c:v>
                </c:pt>
                <c:pt idx="745" formatCode="0.0%">
                  <c:v>0.19203407211093235</c:v>
                </c:pt>
                <c:pt idx="746" formatCode="0.0%">
                  <c:v>0.19779454574537625</c:v>
                </c:pt>
                <c:pt idx="747" formatCode="0.0%">
                  <c:v>0.19911653717028671</c:v>
                </c:pt>
                <c:pt idx="748" formatCode="0.0%">
                  <c:v>0.19854996941675382</c:v>
                </c:pt>
                <c:pt idx="749" formatCode="0.0%">
                  <c:v>0.17749133812148726</c:v>
                </c:pt>
                <c:pt idx="750" formatCode="0.0%">
                  <c:v>0.18079650075385928</c:v>
                </c:pt>
                <c:pt idx="751" formatCode="0.0%">
                  <c:v>0.18079650075385928</c:v>
                </c:pt>
                <c:pt idx="752" formatCode="0.0%">
                  <c:v>0.18079650075385928</c:v>
                </c:pt>
                <c:pt idx="753" formatCode="0.0%">
                  <c:v>0.19760559779248438</c:v>
                </c:pt>
                <c:pt idx="754" formatCode="0.0%">
                  <c:v>0.19401715128334601</c:v>
                </c:pt>
                <c:pt idx="755" formatCode="0.0%">
                  <c:v>0.17314737590592416</c:v>
                </c:pt>
                <c:pt idx="756" formatCode="0.0%">
                  <c:v>0.18986213702067473</c:v>
                </c:pt>
                <c:pt idx="757" formatCode="0.0%">
                  <c:v>0.19401715128334601</c:v>
                </c:pt>
                <c:pt idx="758" formatCode="0.0%">
                  <c:v>0.19401715128334601</c:v>
                </c:pt>
                <c:pt idx="759" formatCode="0.0%">
                  <c:v>0.19401715128334601</c:v>
                </c:pt>
                <c:pt idx="760" formatCode="0.0%">
                  <c:v>0.19099527252774082</c:v>
                </c:pt>
                <c:pt idx="761" formatCode="0.0%">
                  <c:v>0.20374433547290294</c:v>
                </c:pt>
                <c:pt idx="762" formatCode="0.0%">
                  <c:v>0.19958876899994535</c:v>
                </c:pt>
                <c:pt idx="763" formatCode="0.0%">
                  <c:v>0.22640787392965536</c:v>
                </c:pt>
                <c:pt idx="764" formatCode="0.0%">
                  <c:v>0.23065740818629663</c:v>
                </c:pt>
                <c:pt idx="765" formatCode="0.0%">
                  <c:v>0.23065740818629663</c:v>
                </c:pt>
                <c:pt idx="766" formatCode="0.0%">
                  <c:v>0.23065740818629663</c:v>
                </c:pt>
                <c:pt idx="767" formatCode="0.0%">
                  <c:v>0.22055297233628962</c:v>
                </c:pt>
                <c:pt idx="768" formatCode="0.0%">
                  <c:v>0.22385813496866105</c:v>
                </c:pt>
                <c:pt idx="769" formatCode="0.0%">
                  <c:v>0.23188497165228511</c:v>
                </c:pt>
                <c:pt idx="770" formatCode="0.0%">
                  <c:v>0.22624046217792126</c:v>
                </c:pt>
                <c:pt idx="771" formatCode="0.0%">
                  <c:v>0.21998934970428224</c:v>
                </c:pt>
                <c:pt idx="772" formatCode="0.0%">
                  <c:v>0.21998934970428224</c:v>
                </c:pt>
                <c:pt idx="773" formatCode="0.0%">
                  <c:v>0.21998934970428224</c:v>
                </c:pt>
                <c:pt idx="774" formatCode="0.0%">
                  <c:v>0.23091464614456925</c:v>
                </c:pt>
                <c:pt idx="775" formatCode="0.0%">
                  <c:v>0.22803956329001734</c:v>
                </c:pt>
                <c:pt idx="776" formatCode="0.0%">
                  <c:v>0.22727291134282268</c:v>
                </c:pt>
                <c:pt idx="777" formatCode="0.0%">
                  <c:v>0.23187300709608635</c:v>
                </c:pt>
                <c:pt idx="778" formatCode="0.0%">
                  <c:v>0.21960602373068497</c:v>
                </c:pt>
                <c:pt idx="779" formatCode="0.0%">
                  <c:v>0.21960602373068497</c:v>
                </c:pt>
                <c:pt idx="780" formatCode="0.0%">
                  <c:v>0.21960602373068497</c:v>
                </c:pt>
                <c:pt idx="781" formatCode="0.0%">
                  <c:v>0.22142684511403446</c:v>
                </c:pt>
                <c:pt idx="782" formatCode="0.0%">
                  <c:v>0.20810569231247825</c:v>
                </c:pt>
                <c:pt idx="783" formatCode="0.0%">
                  <c:v>0.20053470522002542</c:v>
                </c:pt>
                <c:pt idx="784" formatCode="0.0%">
                  <c:v>0.21078915819775504</c:v>
                </c:pt>
                <c:pt idx="785" formatCode="0.0%">
                  <c:v>0.19603041795139944</c:v>
                </c:pt>
                <c:pt idx="786" formatCode="0.0%">
                  <c:v>0.19603041795139944</c:v>
                </c:pt>
                <c:pt idx="787" formatCode="0.0%">
                  <c:v>0.19603041795139944</c:v>
                </c:pt>
                <c:pt idx="788" formatCode="0.0%">
                  <c:v>0.20532650997761182</c:v>
                </c:pt>
                <c:pt idx="789" formatCode="0.0%">
                  <c:v>0.20000642404632812</c:v>
                </c:pt>
                <c:pt idx="790" formatCode="0.0%">
                  <c:v>0.19737210487651397</c:v>
                </c:pt>
                <c:pt idx="791" formatCode="0.0%">
                  <c:v>0.19689297041827913</c:v>
                </c:pt>
                <c:pt idx="792" formatCode="0.0%">
                  <c:v>0.21510173646205871</c:v>
                </c:pt>
                <c:pt idx="793" formatCode="0.0%">
                  <c:v>0.21510173646205871</c:v>
                </c:pt>
                <c:pt idx="794" formatCode="0.0%">
                  <c:v>0.21510173646205871</c:v>
                </c:pt>
                <c:pt idx="795" formatCode="0.0%">
                  <c:v>0.2226727235545114</c:v>
                </c:pt>
                <c:pt idx="796" formatCode="0.0%">
                  <c:v>0.21491002745773599</c:v>
                </c:pt>
                <c:pt idx="797" formatCode="0.0%">
                  <c:v>0.21232246209214453</c:v>
                </c:pt>
                <c:pt idx="798" formatCode="0.0%">
                  <c:v>0.21778511031228789</c:v>
                </c:pt>
                <c:pt idx="799" formatCode="0.0%">
                  <c:v>0.17417982507082555</c:v>
                </c:pt>
                <c:pt idx="800" formatCode="0.0%">
                  <c:v>0.17417982507082555</c:v>
                </c:pt>
                <c:pt idx="801" formatCode="0.0%">
                  <c:v>0.17417982507082555</c:v>
                </c:pt>
                <c:pt idx="802" formatCode="0.0%">
                  <c:v>0.16277539417230399</c:v>
                </c:pt>
                <c:pt idx="803" formatCode="0.0%">
                  <c:v>0.17628825597818262</c:v>
                </c:pt>
                <c:pt idx="804" formatCode="0.0%">
                  <c:v>0.16210455070974675</c:v>
                </c:pt>
                <c:pt idx="805" formatCode="0.0%">
                  <c:v>0.17475486004874569</c:v>
                </c:pt>
                <c:pt idx="806" formatCode="0.0%">
                  <c:v>0.16469211607533851</c:v>
                </c:pt>
                <c:pt idx="807" formatCode="0.0%">
                  <c:v>0.16469211607533851</c:v>
                </c:pt>
                <c:pt idx="808" formatCode="0.0%">
                  <c:v>0.16469211607533851</c:v>
                </c:pt>
                <c:pt idx="809" formatCode="0.0%">
                  <c:v>0.17092141624267668</c:v>
                </c:pt>
                <c:pt idx="810" formatCode="0.0%">
                  <c:v>0.17561741251562538</c:v>
                </c:pt>
                <c:pt idx="811" formatCode="0.0%">
                  <c:v>0.185296830515435</c:v>
                </c:pt>
                <c:pt idx="812" formatCode="0.0%">
                  <c:v>0.17973828177560663</c:v>
                </c:pt>
                <c:pt idx="813" formatCode="0.0%">
                  <c:v>0.1694839208329246</c:v>
                </c:pt>
                <c:pt idx="814" formatCode="0.0%">
                  <c:v>0.1694839208329246</c:v>
                </c:pt>
                <c:pt idx="815" formatCode="0.0%">
                  <c:v>0.1694839208329246</c:v>
                </c:pt>
                <c:pt idx="816" formatCode="0.0%">
                  <c:v>0.18280507363448067</c:v>
                </c:pt>
                <c:pt idx="817" formatCode="0.0%">
                  <c:v>0.17532989502666524</c:v>
                </c:pt>
                <c:pt idx="818" formatCode="0.0%">
                  <c:v>0.18826772185462431</c:v>
                </c:pt>
                <c:pt idx="819" formatCode="0.0%">
                  <c:v>0.19660545292931914</c:v>
                </c:pt>
                <c:pt idx="820" formatCode="0.0%">
                  <c:v>0.20993111544821147</c:v>
                </c:pt>
                <c:pt idx="821" formatCode="0.0%">
                  <c:v>0.20993111544821147</c:v>
                </c:pt>
                <c:pt idx="822" formatCode="0.0%">
                  <c:v>0.20993111544821147</c:v>
                </c:pt>
                <c:pt idx="823" formatCode="0.0%">
                  <c:v>0.20532650997761182</c:v>
                </c:pt>
                <c:pt idx="824" formatCode="0.0%">
                  <c:v>0.20034299621570312</c:v>
                </c:pt>
                <c:pt idx="825" formatCode="0.0%">
                  <c:v>0.19085528722021577</c:v>
                </c:pt>
                <c:pt idx="826" formatCode="0.0%">
                  <c:v>0.19085528722021577</c:v>
                </c:pt>
                <c:pt idx="827" formatCode="0.0%">
                  <c:v>0.19085528722021577</c:v>
                </c:pt>
                <c:pt idx="828" formatCode="0.0%">
                  <c:v>0.19085528722021577</c:v>
                </c:pt>
                <c:pt idx="829" formatCode="0.0%">
                  <c:v>0.19085528722021577</c:v>
                </c:pt>
                <c:pt idx="830" formatCode="0.0%">
                  <c:v>0.19085528722021577</c:v>
                </c:pt>
                <c:pt idx="831" formatCode="0.0%">
                  <c:v>0.19775543085011121</c:v>
                </c:pt>
                <c:pt idx="832" formatCode="0.0%">
                  <c:v>0.20139716565185764</c:v>
                </c:pt>
                <c:pt idx="833" formatCode="0.0%">
                  <c:v>0.19756381388083638</c:v>
                </c:pt>
                <c:pt idx="834" formatCode="0.0%">
                  <c:v>0.20733904036528372</c:v>
                </c:pt>
                <c:pt idx="835" formatCode="0.0%">
                  <c:v>0.20733904036528372</c:v>
                </c:pt>
                <c:pt idx="836" formatCode="0.0%">
                  <c:v>0.20733904036528372</c:v>
                </c:pt>
                <c:pt idx="837" formatCode="0.0%">
                  <c:v>0.21174742711422453</c:v>
                </c:pt>
                <c:pt idx="838" formatCode="0.0%">
                  <c:v>0.21117248417135243</c:v>
                </c:pt>
                <c:pt idx="839" formatCode="0.0%">
                  <c:v>0.20781817482351811</c:v>
                </c:pt>
                <c:pt idx="840" formatCode="0.0%">
                  <c:v>0.20494309196896651</c:v>
                </c:pt>
                <c:pt idx="841" formatCode="0.0%">
                  <c:v>0.20887243629472066</c:v>
                </c:pt>
                <c:pt idx="842" formatCode="0.0%">
                  <c:v>0.20887243629472066</c:v>
                </c:pt>
                <c:pt idx="843" formatCode="0.0%">
                  <c:v>0.20887243629472066</c:v>
                </c:pt>
                <c:pt idx="844" formatCode="0.0%">
                  <c:v>0.20753065733455828</c:v>
                </c:pt>
                <c:pt idx="845" formatCode="0.0%">
                  <c:v>0.20542231846224893</c:v>
                </c:pt>
                <c:pt idx="846" formatCode="0.0%">
                  <c:v>0.18855523934358417</c:v>
                </c:pt>
                <c:pt idx="847" formatCode="0.0%">
                  <c:v>0.19890550080595104</c:v>
                </c:pt>
                <c:pt idx="848" formatCode="0.0%">
                  <c:v>0.21529335343133355</c:v>
                </c:pt>
                <c:pt idx="849" formatCode="0.0%">
                  <c:v>0.21529335343133355</c:v>
                </c:pt>
                <c:pt idx="850" formatCode="0.0%">
                  <c:v>0.2139262648330586</c:v>
                </c:pt>
                <c:pt idx="851" formatCode="0.0%">
                  <c:v>0.2139262648330586</c:v>
                </c:pt>
                <c:pt idx="852" formatCode="0.0%">
                  <c:v>0.20455976599536924</c:v>
                </c:pt>
                <c:pt idx="853" formatCode="0.0%">
                  <c:v>0.20666819690272648</c:v>
                </c:pt>
                <c:pt idx="854" formatCode="0.0%">
                  <c:v>0.19603041795139944</c:v>
                </c:pt>
                <c:pt idx="855" formatCode="0.0%">
                  <c:v>0.19603041795139944</c:v>
                </c:pt>
                <c:pt idx="856" formatCode="0.0%">
                  <c:v>0.19603041795139944</c:v>
                </c:pt>
                <c:pt idx="857" formatCode="0.0%">
                  <c:v>0.19603041795139944</c:v>
                </c:pt>
                <c:pt idx="858" formatCode="0.0%">
                  <c:v>0.21615590589821337</c:v>
                </c:pt>
                <c:pt idx="859" formatCode="0.0%">
                  <c:v>0.21289749707006436</c:v>
                </c:pt>
                <c:pt idx="860" formatCode="0.0%">
                  <c:v>0.20781817482351811</c:v>
                </c:pt>
                <c:pt idx="861" formatCode="0.0%">
                  <c:v>0.21203494460318439</c:v>
                </c:pt>
                <c:pt idx="862" formatCode="0.0%">
                  <c:v>0.21941431472636252</c:v>
                </c:pt>
                <c:pt idx="863" formatCode="0.0%">
                  <c:v>0.21941431472636252</c:v>
                </c:pt>
                <c:pt idx="864" formatCode="0.0%">
                  <c:v>0.21941431472636252</c:v>
                </c:pt>
                <c:pt idx="865" formatCode="0.0%">
                  <c:v>0.22343946753675367</c:v>
                </c:pt>
                <c:pt idx="866" formatCode="0.0%">
                  <c:v>0.21826433680557031</c:v>
                </c:pt>
                <c:pt idx="867" formatCode="0.0%">
                  <c:v>0.22334356701706867</c:v>
                </c:pt>
                <c:pt idx="868" formatCode="0.0%">
                  <c:v>0.22334356701706867</c:v>
                </c:pt>
                <c:pt idx="869" formatCode="0.0%">
                  <c:v>0.22334356701706867</c:v>
                </c:pt>
                <c:pt idx="870" formatCode="0.0%">
                  <c:v>0.22334356701706867</c:v>
                </c:pt>
                <c:pt idx="871" formatCode="0.0%">
                  <c:v>0.22334356701706867</c:v>
                </c:pt>
                <c:pt idx="872" formatCode="0.0%">
                  <c:v>0.2469191727963542</c:v>
                </c:pt>
                <c:pt idx="873" formatCode="0.0%">
                  <c:v>0.23396505576495571</c:v>
                </c:pt>
                <c:pt idx="874" formatCode="0.0%">
                  <c:v>0.21721007533436804</c:v>
                </c:pt>
                <c:pt idx="875" formatCode="0.0%">
                  <c:v>0.22890211575689734</c:v>
                </c:pt>
                <c:pt idx="876" formatCode="0.0%">
                  <c:v>0.24596081184483709</c:v>
                </c:pt>
                <c:pt idx="877" formatCode="0.0%">
                  <c:v>0.24596081184483709</c:v>
                </c:pt>
                <c:pt idx="878" formatCode="0.0%">
                  <c:v>0.24596081184483709</c:v>
                </c:pt>
                <c:pt idx="879" formatCode="0.0%">
                  <c:v>0.24596081184483709</c:v>
                </c:pt>
                <c:pt idx="880" formatCode="0.0%">
                  <c:v>0.23877315072598179</c:v>
                </c:pt>
                <c:pt idx="881" formatCode="0.0%">
                  <c:v>0.23308032285158448</c:v>
                </c:pt>
                <c:pt idx="882" formatCode="0.0%">
                  <c:v>0.23570645090215522</c:v>
                </c:pt>
                <c:pt idx="883" formatCode="0.0%">
                  <c:v>0.2607262706496738</c:v>
                </c:pt>
                <c:pt idx="884" formatCode="0.0%">
                  <c:v>0.2607262706496738</c:v>
                </c:pt>
                <c:pt idx="885" formatCode="0.0%">
                  <c:v>0.2607262706496738</c:v>
                </c:pt>
                <c:pt idx="886" formatCode="0.0%">
                  <c:v>0.2607262706496738</c:v>
                </c:pt>
                <c:pt idx="887" formatCode="0.0%">
                  <c:v>0.26574135243293723</c:v>
                </c:pt>
                <c:pt idx="888" formatCode="0.0%">
                  <c:v>0.26040617275383399</c:v>
                </c:pt>
                <c:pt idx="889" formatCode="0.0%">
                  <c:v>0.25601021073633007</c:v>
                </c:pt>
                <c:pt idx="890" formatCode="0.0%">
                  <c:v>0.25859777610192197</c:v>
                </c:pt>
                <c:pt idx="891" formatCode="0.0%">
                  <c:v>0.25859777610192197</c:v>
                </c:pt>
                <c:pt idx="892" formatCode="0.0%">
                  <c:v>0.25859777610192197</c:v>
                </c:pt>
                <c:pt idx="893" formatCode="0.0%">
                  <c:v>0.26207752921974731</c:v>
                </c:pt>
                <c:pt idx="894" formatCode="0.0%">
                  <c:v>0.26678502987365632</c:v>
                </c:pt>
                <c:pt idx="895" formatCode="0.0%">
                  <c:v>0.25979285119607837</c:v>
                </c:pt>
                <c:pt idx="896" formatCode="0.0%">
                  <c:v>0.26400962097574476</c:v>
                </c:pt>
                <c:pt idx="897" formatCode="0.0%">
                  <c:v>0.25767006282128291</c:v>
                </c:pt>
                <c:pt idx="898" formatCode="0.0%">
                  <c:v>0.25767006282128291</c:v>
                </c:pt>
                <c:pt idx="899" formatCode="0.0%">
                  <c:v>0.25767006282128291</c:v>
                </c:pt>
                <c:pt idx="900" formatCode="0.0%">
                  <c:v>0.25440686817065439</c:v>
                </c:pt>
                <c:pt idx="901" formatCode="0.0%">
                  <c:v>0.24696712305619697</c:v>
                </c:pt>
                <c:pt idx="902" formatCode="0.0%">
                  <c:v>0.23892556076494387</c:v>
                </c:pt>
                <c:pt idx="903" formatCode="0.0%">
                  <c:v>0.23816654772670673</c:v>
                </c:pt>
                <c:pt idx="904" formatCode="0.0%">
                  <c:v>0.23589328204895055</c:v>
                </c:pt>
                <c:pt idx="905" formatCode="0.0%">
                  <c:v>0.23589328204895055</c:v>
                </c:pt>
                <c:pt idx="906" formatCode="0.0%">
                  <c:v>0.23589328204895055</c:v>
                </c:pt>
                <c:pt idx="907" formatCode="0.0%">
                  <c:v>0.22959403524537378</c:v>
                </c:pt>
                <c:pt idx="908" formatCode="0.0%">
                  <c:v>0.23387210036679648</c:v>
                </c:pt>
                <c:pt idx="909" formatCode="0.0%">
                  <c:v>0.24205456831605132</c:v>
                </c:pt>
                <c:pt idx="910" formatCode="0.0%">
                  <c:v>0.24873622074274862</c:v>
                </c:pt>
                <c:pt idx="911" formatCode="0.0%">
                  <c:v>0.25990053220186682</c:v>
                </c:pt>
                <c:pt idx="912" formatCode="0.0%">
                  <c:v>0.25990053220186682</c:v>
                </c:pt>
                <c:pt idx="913" formatCode="0.0%">
                  <c:v>0.25990053220186682</c:v>
                </c:pt>
                <c:pt idx="914" formatCode="0.0%">
                  <c:v>0.26117954325950959</c:v>
                </c:pt>
                <c:pt idx="915" formatCode="0.0%">
                  <c:v>0.26068789203478987</c:v>
                </c:pt>
                <c:pt idx="916" formatCode="0.0%">
                  <c:v>0.25729437575664321</c:v>
                </c:pt>
                <c:pt idx="917" formatCode="0.0%">
                  <c:v>0.24193575106949325</c:v>
                </c:pt>
                <c:pt idx="918" formatCode="0.0%">
                  <c:v>0.23249212686184606</c:v>
                </c:pt>
                <c:pt idx="919" formatCode="0.0%">
                  <c:v>0.23249212686184606</c:v>
                </c:pt>
                <c:pt idx="920" formatCode="0.0%">
                  <c:v>0.23249212686184606</c:v>
                </c:pt>
                <c:pt idx="921" formatCode="0.0%">
                  <c:v>0.23438869308943808</c:v>
                </c:pt>
                <c:pt idx="922" formatCode="0.0%">
                  <c:v>0.24175655883165575</c:v>
                </c:pt>
                <c:pt idx="923" formatCode="0.0%">
                  <c:v>0.24428945537892419</c:v>
                </c:pt>
                <c:pt idx="924" formatCode="0.0%">
                  <c:v>0.24982205023530596</c:v>
                </c:pt>
                <c:pt idx="925" formatCode="0.0%">
                  <c:v>0.2495086708979474</c:v>
                </c:pt>
                <c:pt idx="926" formatCode="0.0%">
                  <c:v>0.2495086708979474</c:v>
                </c:pt>
                <c:pt idx="927" formatCode="0.0%">
                  <c:v>0.2495086708979474</c:v>
                </c:pt>
                <c:pt idx="928" formatCode="0.0%">
                  <c:v>0.25031756693202839</c:v>
                </c:pt>
                <c:pt idx="929" formatCode="0.0%">
                  <c:v>0.25782247286024501</c:v>
                </c:pt>
                <c:pt idx="930" formatCode="0.0%">
                  <c:v>0.25924459841703423</c:v>
                </c:pt>
                <c:pt idx="931" formatCode="0.0%">
                  <c:v>0.25838885654368271</c:v>
                </c:pt>
                <c:pt idx="932" formatCode="0.0%">
                  <c:v>0.26622048689117223</c:v>
                </c:pt>
                <c:pt idx="933" formatCode="0.0%">
                  <c:v>0.26622048689117223</c:v>
                </c:pt>
                <c:pt idx="934" formatCode="0.0%">
                  <c:v>0.26622048689117223</c:v>
                </c:pt>
                <c:pt idx="935" formatCode="0.0%">
                  <c:v>0.26859149378956731</c:v>
                </c:pt>
                <c:pt idx="936" formatCode="0.0%">
                  <c:v>0.27813957777633402</c:v>
                </c:pt>
                <c:pt idx="937" formatCode="0.0%">
                  <c:v>0.2725849865435559</c:v>
                </c:pt>
                <c:pt idx="938" formatCode="0.0%">
                  <c:v>0.27755313045250146</c:v>
                </c:pt>
                <c:pt idx="939" formatCode="0.0%">
                  <c:v>0.27653338212418022</c:v>
                </c:pt>
                <c:pt idx="940" formatCode="0.0%">
                  <c:v>0.27653338212418022</c:v>
                </c:pt>
                <c:pt idx="941" formatCode="0.0%">
                  <c:v>0.27653338212418022</c:v>
                </c:pt>
                <c:pt idx="942" formatCode="0.0%">
                  <c:v>0.27808297622200912</c:v>
                </c:pt>
                <c:pt idx="943" formatCode="0.0%">
                  <c:v>0.27673273003746018</c:v>
                </c:pt>
                <c:pt idx="944" formatCode="0.0%">
                  <c:v>0.26508965226029813</c:v>
                </c:pt>
                <c:pt idx="945" formatCode="0.0%">
                  <c:v>0.25160651777482074</c:v>
                </c:pt>
                <c:pt idx="946" formatCode="0.0%">
                  <c:v>0.24365597814572595</c:v>
                </c:pt>
                <c:pt idx="947" formatCode="0.0%">
                  <c:v>0.24365597814572595</c:v>
                </c:pt>
                <c:pt idx="948" formatCode="0.0%">
                  <c:v>0.24365597814572595</c:v>
                </c:pt>
                <c:pt idx="949" formatCode="0.0%">
                  <c:v>0.2549368059752099</c:v>
                </c:pt>
                <c:pt idx="950" formatCode="0.0%">
                  <c:v>0.25609838031200982</c:v>
                </c:pt>
                <c:pt idx="951" formatCode="0.0%">
                  <c:v>0.24723835034171698</c:v>
                </c:pt>
                <c:pt idx="952" formatCode="0.0%">
                  <c:v>0.24762646213779391</c:v>
                </c:pt>
                <c:pt idx="953" formatCode="0.0%">
                  <c:v>0.24427795099796384</c:v>
                </c:pt>
                <c:pt idx="954" formatCode="0.0%">
                  <c:v>0.24427795099796384</c:v>
                </c:pt>
                <c:pt idx="955" formatCode="0.0%">
                  <c:v>0.24427795099796384</c:v>
                </c:pt>
                <c:pt idx="956" formatCode="0.0%">
                  <c:v>0.25228601253186045</c:v>
                </c:pt>
                <c:pt idx="957" formatCode="0.0%">
                  <c:v>0.23708357132062757</c:v>
                </c:pt>
                <c:pt idx="958" formatCode="0.0%">
                  <c:v>0.23494256000639097</c:v>
                </c:pt>
                <c:pt idx="959" formatCode="0.0%">
                  <c:v>0.22527657912354301</c:v>
                </c:pt>
                <c:pt idx="960" formatCode="0.0%">
                  <c:v>0.22364838709499296</c:v>
                </c:pt>
                <c:pt idx="961" formatCode="0.0%">
                  <c:v>0.22364838709499296</c:v>
                </c:pt>
                <c:pt idx="962" formatCode="0.0%">
                  <c:v>0.22364838709499296</c:v>
                </c:pt>
                <c:pt idx="963" formatCode="0.0%">
                  <c:v>0.22308964232051282</c:v>
                </c:pt>
                <c:pt idx="964" formatCode="0.0%">
                  <c:v>0.23110920823536987</c:v>
                </c:pt>
                <c:pt idx="965" formatCode="0.0%">
                  <c:v>0.24688760477499927</c:v>
                </c:pt>
                <c:pt idx="966" formatCode="0.0%">
                  <c:v>0.23670696390551099</c:v>
                </c:pt>
                <c:pt idx="967" formatCode="0.0%">
                  <c:v>0.24524588359443983</c:v>
                </c:pt>
                <c:pt idx="968" formatCode="0.0%">
                  <c:v>0.24524588359443983</c:v>
                </c:pt>
                <c:pt idx="969" formatCode="0.0%">
                  <c:v>0.24524588359443983</c:v>
                </c:pt>
                <c:pt idx="970" formatCode="0.0%">
                  <c:v>0.25521383146873405</c:v>
                </c:pt>
                <c:pt idx="971" formatCode="0.0%">
                  <c:v>0.26563882538981914</c:v>
                </c:pt>
                <c:pt idx="972" formatCode="0.0%">
                  <c:v>0.2553967971435267</c:v>
                </c:pt>
                <c:pt idx="973" formatCode="0.0%">
                  <c:v>0.25446549449602812</c:v>
                </c:pt>
                <c:pt idx="974" formatCode="0.0%">
                  <c:v>0.26265541728414532</c:v>
                </c:pt>
                <c:pt idx="975" formatCode="0.0%">
                  <c:v>0.26265541728414532</c:v>
                </c:pt>
                <c:pt idx="976" formatCode="0.0%">
                  <c:v>0.26265541728414532</c:v>
                </c:pt>
                <c:pt idx="977" formatCode="0.0%">
                  <c:v>0.26455492863326313</c:v>
                </c:pt>
                <c:pt idx="978" formatCode="0.0%">
                  <c:v>0.26248680907679089</c:v>
                </c:pt>
                <c:pt idx="979" formatCode="0.0%">
                  <c:v>0.2602633343598309</c:v>
                </c:pt>
                <c:pt idx="980" formatCode="0.0%">
                  <c:v>0.25768248755272</c:v>
                </c:pt>
                <c:pt idx="981" formatCode="0.0%">
                  <c:v>0.25393058679889791</c:v>
                </c:pt>
                <c:pt idx="982" formatCode="0.0%">
                  <c:v>0.25393058679889791</c:v>
                </c:pt>
                <c:pt idx="983" formatCode="0.0%">
                  <c:v>0.25393058679889791</c:v>
                </c:pt>
                <c:pt idx="984" formatCode="0.0%">
                  <c:v>0.25765183988184176</c:v>
                </c:pt>
                <c:pt idx="985" formatCode="0.0%">
                  <c:v>0.25502120211393486</c:v>
                </c:pt>
                <c:pt idx="986" formatCode="0.0%">
                  <c:v>0.25148963326426427</c:v>
                </c:pt>
                <c:pt idx="987" formatCode="0.0%">
                  <c:v>0.26656745902093504</c:v>
                </c:pt>
                <c:pt idx="988" formatCode="0.0%">
                  <c:v>0.25992694626055185</c:v>
                </c:pt>
                <c:pt idx="989" formatCode="0.0%">
                  <c:v>0.25992694626055185</c:v>
                </c:pt>
                <c:pt idx="990" formatCode="0.0%">
                  <c:v>0.25992694626055185</c:v>
                </c:pt>
                <c:pt idx="991" formatCode="0.0%">
                  <c:v>0.25507191342520769</c:v>
                </c:pt>
                <c:pt idx="992" formatCode="0.0%">
                  <c:v>0.25025617955522422</c:v>
                </c:pt>
                <c:pt idx="993" formatCode="0.0%">
                  <c:v>0.2468655163635553</c:v>
                </c:pt>
                <c:pt idx="994" formatCode="0.0%">
                  <c:v>0.23146565997504381</c:v>
                </c:pt>
                <c:pt idx="995" formatCode="0.0%">
                  <c:v>0.23006645114512778</c:v>
                </c:pt>
                <c:pt idx="996" formatCode="0.0%">
                  <c:v>0.23006645114512778</c:v>
                </c:pt>
                <c:pt idx="997" formatCode="0.0%">
                  <c:v>0.23006645114512778</c:v>
                </c:pt>
                <c:pt idx="998" formatCode="0.0%">
                  <c:v>0.23887862289062581</c:v>
                </c:pt>
                <c:pt idx="999" formatCode="0.0%">
                  <c:v>0.2215169474257152</c:v>
                </c:pt>
                <c:pt idx="1000" formatCode="0.0%">
                  <c:v>0.23091464614456925</c:v>
                </c:pt>
                <c:pt idx="1001" formatCode="0.0%">
                  <c:v>0.23551382154735606</c:v>
                </c:pt>
                <c:pt idx="1002" formatCode="0.0%">
                  <c:v>0.23982732016213659</c:v>
                </c:pt>
                <c:pt idx="1003" formatCode="0.0%">
                  <c:v>0.23183536476158409</c:v>
                </c:pt>
                <c:pt idx="1004" formatCode="0.0%">
                  <c:v>0.23183536476158409</c:v>
                </c:pt>
                <c:pt idx="1005" formatCode="0.0%">
                  <c:v>0.23563070605791253</c:v>
                </c:pt>
                <c:pt idx="1006" formatCode="0.0%">
                  <c:v>0.22038703314531788</c:v>
                </c:pt>
                <c:pt idx="1007" formatCode="0.0%">
                  <c:v>0.2333306581812809</c:v>
                </c:pt>
                <c:pt idx="1008" formatCode="0.0%">
                  <c:v>0.22923463838417391</c:v>
                </c:pt>
                <c:pt idx="1009" formatCode="0.0%">
                  <c:v>0.24120545296613316</c:v>
                </c:pt>
                <c:pt idx="1010" formatCode="0.0%">
                  <c:v>0.24120545296613316</c:v>
                </c:pt>
                <c:pt idx="1011" formatCode="0.0%">
                  <c:v>0.24120545296613316</c:v>
                </c:pt>
                <c:pt idx="1012" formatCode="0.0%">
                  <c:v>0.24038606493661646</c:v>
                </c:pt>
                <c:pt idx="1013" formatCode="0.0%">
                  <c:v>0.24928824695874779</c:v>
                </c:pt>
                <c:pt idx="1014" formatCode="0.0%">
                  <c:v>0.25409440918377241</c:v>
                </c:pt>
                <c:pt idx="1015" formatCode="0.0%">
                  <c:v>0.25331045464761348</c:v>
                </c:pt>
                <c:pt idx="1016" formatCode="0.0%">
                  <c:v>0.24715883206051942</c:v>
                </c:pt>
                <c:pt idx="1017" formatCode="0.0%">
                  <c:v>0.24715883206051942</c:v>
                </c:pt>
                <c:pt idx="1018" formatCode="0.0%">
                  <c:v>0.24715883206051942</c:v>
                </c:pt>
                <c:pt idx="1019" formatCode="0.0%">
                  <c:v>0.2508149243297042</c:v>
                </c:pt>
                <c:pt idx="1020" formatCode="0.0%">
                  <c:v>0.25156721880946037</c:v>
                </c:pt>
                <c:pt idx="1021" formatCode="0.0%">
                  <c:v>0.23598531709663306</c:v>
                </c:pt>
                <c:pt idx="1022" formatCode="0.0%">
                  <c:v>0.22143650879404092</c:v>
                </c:pt>
                <c:pt idx="1023" formatCode="0.0%">
                  <c:v>0.20480899690449333</c:v>
                </c:pt>
                <c:pt idx="1024" formatCode="0.0%">
                  <c:v>0.20480899690449333</c:v>
                </c:pt>
                <c:pt idx="1025" formatCode="0.0%">
                  <c:v>0.20480899690449333</c:v>
                </c:pt>
                <c:pt idx="1026" formatCode="0.0%">
                  <c:v>0.19853174647731264</c:v>
                </c:pt>
                <c:pt idx="1027" formatCode="0.0%">
                  <c:v>0.20671900024904688</c:v>
                </c:pt>
                <c:pt idx="1028" formatCode="0.0%">
                  <c:v>0.20047046475674307</c:v>
                </c:pt>
                <c:pt idx="1029" formatCode="0.0%">
                  <c:v>0.19957441153250685</c:v>
                </c:pt>
                <c:pt idx="1030" formatCode="0.0%">
                  <c:v>0.18684071844030783</c:v>
                </c:pt>
                <c:pt idx="1031" formatCode="0.0%">
                  <c:v>0.18684071844030783</c:v>
                </c:pt>
                <c:pt idx="1032" formatCode="0.0%">
                  <c:v>0.18684071844030783</c:v>
                </c:pt>
                <c:pt idx="1033" formatCode="0.0%">
                  <c:v>0.19019309505214069</c:v>
                </c:pt>
                <c:pt idx="1034" formatCode="0.0%">
                  <c:v>0.2015724003826449</c:v>
                </c:pt>
                <c:pt idx="1035" formatCode="0.0%">
                  <c:v>0.21399096547157953</c:v>
                </c:pt>
                <c:pt idx="1036" formatCode="0.0%">
                  <c:v>0.2270073902302589</c:v>
                </c:pt>
                <c:pt idx="1037" formatCode="0.0%">
                  <c:v>0.23056095545632543</c:v>
                </c:pt>
                <c:pt idx="1038" formatCode="0.0%">
                  <c:v>0.23056095545632543</c:v>
                </c:pt>
                <c:pt idx="1039" formatCode="0.0%">
                  <c:v>0.23056095545632543</c:v>
                </c:pt>
                <c:pt idx="1040" formatCode="0.0%">
                  <c:v>0.22942248191649356</c:v>
                </c:pt>
                <c:pt idx="1041" formatCode="0.0%">
                  <c:v>0.23530103651711401</c:v>
                </c:pt>
                <c:pt idx="1042" formatCode="0.0%">
                  <c:v>0.23719088418622533</c:v>
                </c:pt>
                <c:pt idx="1043" formatCode="0.0%">
                  <c:v>0.23757328980934589</c:v>
                </c:pt>
                <c:pt idx="1044" formatCode="0.0%">
                  <c:v>0.25030606255106802</c:v>
                </c:pt>
                <c:pt idx="1045" formatCode="0.0%">
                  <c:v>0.25030606255106802</c:v>
                </c:pt>
                <c:pt idx="1046" formatCode="0.0%">
                  <c:v>0.25030606255106802</c:v>
                </c:pt>
                <c:pt idx="1047" formatCode="0.0%">
                  <c:v>0.24866535375603319</c:v>
                </c:pt>
                <c:pt idx="1048" formatCode="0.0%">
                  <c:v>0.25853546837464081</c:v>
                </c:pt>
                <c:pt idx="1049" formatCode="0.0%">
                  <c:v>0.26327545740038177</c:v>
                </c:pt>
                <c:pt idx="1050" formatCode="0.0%">
                  <c:v>0.26516346436853921</c:v>
                </c:pt>
                <c:pt idx="1051" formatCode="0.0%">
                  <c:v>0.26817457502356573</c:v>
                </c:pt>
                <c:pt idx="1052" formatCode="0.0%">
                  <c:v>0.26817457502356573</c:v>
                </c:pt>
                <c:pt idx="1053" formatCode="0.0%">
                  <c:v>0.26817457502356573</c:v>
                </c:pt>
                <c:pt idx="1054" formatCode="0.0%">
                  <c:v>0.26917131458996635</c:v>
                </c:pt>
                <c:pt idx="1055" formatCode="0.0%">
                  <c:v>0.27079288009508318</c:v>
                </c:pt>
                <c:pt idx="1056" formatCode="0.0%">
                  <c:v>0.28438526018215982</c:v>
                </c:pt>
                <c:pt idx="1057" formatCode="0.0%">
                  <c:v>0.28078374469625034</c:v>
                </c:pt>
                <c:pt idx="1058" formatCode="0.0%">
                  <c:v>0.27815688036529834</c:v>
                </c:pt>
                <c:pt idx="1059" formatCode="0.0%">
                  <c:v>0.27815688036529834</c:v>
                </c:pt>
                <c:pt idx="1060" formatCode="0.0%">
                  <c:v>0.27815688036529834</c:v>
                </c:pt>
                <c:pt idx="1061" formatCode="0.0%">
                  <c:v>0.27479686484450783</c:v>
                </c:pt>
                <c:pt idx="1062" formatCode="0.0%">
                  <c:v>0.26708018627157387</c:v>
                </c:pt>
                <c:pt idx="1063" formatCode="0.0%">
                  <c:v>0.2733832985471531</c:v>
                </c:pt>
                <c:pt idx="1064" formatCode="0.0%">
                  <c:v>0.28482021781750688</c:v>
                </c:pt>
                <c:pt idx="1065" formatCode="0.0%">
                  <c:v>0.29939884547554785</c:v>
                </c:pt>
                <c:pt idx="1066" formatCode="0.0%">
                  <c:v>0.29939884547554785</c:v>
                </c:pt>
                <c:pt idx="1067" formatCode="0.0%">
                  <c:v>0.29939884547554785</c:v>
                </c:pt>
                <c:pt idx="1068" formatCode="0.0%">
                  <c:v>0.29906346976179321</c:v>
                </c:pt>
                <c:pt idx="1069" formatCode="0.0%">
                  <c:v>0.29649118221411669</c:v>
                </c:pt>
                <c:pt idx="1070" formatCode="0.0%">
                  <c:v>0.30181393716178262</c:v>
                </c:pt>
                <c:pt idx="1071" formatCode="0.0%">
                  <c:v>0.30289396844633615</c:v>
                </c:pt>
                <c:pt idx="1072" formatCode="0.0%">
                  <c:v>0.30374980235473514</c:v>
                </c:pt>
                <c:pt idx="1073" formatCode="0.0%">
                  <c:v>0.30374980235473514</c:v>
                </c:pt>
                <c:pt idx="1074" formatCode="0.0%">
                  <c:v>0.30374980235473514</c:v>
                </c:pt>
                <c:pt idx="1075" formatCode="0.0%">
                  <c:v>0.31640011169373394</c:v>
                </c:pt>
                <c:pt idx="1076" formatCode="0.0%">
                  <c:v>0.31751373577069131</c:v>
                </c:pt>
                <c:pt idx="1077" formatCode="0.0%">
                  <c:v>0.32616098071074245</c:v>
                </c:pt>
                <c:pt idx="1078" formatCode="0.0%">
                  <c:v>0.31318680003894939</c:v>
                </c:pt>
                <c:pt idx="1079" formatCode="0.0%">
                  <c:v>0.32004285888100498</c:v>
                </c:pt>
                <c:pt idx="1080" formatCode="0.0%">
                  <c:v>0.32004285888100498</c:v>
                </c:pt>
                <c:pt idx="1081" formatCode="0.0%">
                  <c:v>0.32004285888100498</c:v>
                </c:pt>
                <c:pt idx="1082" formatCode="0.0%">
                  <c:v>0.32054214901468214</c:v>
                </c:pt>
                <c:pt idx="1083" formatCode="0.0%">
                  <c:v>0.31863794387813243</c:v>
                </c:pt>
                <c:pt idx="1084" formatCode="0.0%">
                  <c:v>0.30886934391711834</c:v>
                </c:pt>
                <c:pt idx="1085" formatCode="0.0%">
                  <c:v>0.31716105746797241</c:v>
                </c:pt>
                <c:pt idx="1086" formatCode="0.0%">
                  <c:v>0.31886793946229092</c:v>
                </c:pt>
                <c:pt idx="1087" formatCode="0.0%">
                  <c:v>0.31886793946229092</c:v>
                </c:pt>
                <c:pt idx="1088" formatCode="0.0%">
                  <c:v>0.31886793946229092</c:v>
                </c:pt>
                <c:pt idx="1089" formatCode="0.0%">
                  <c:v>0.31886793946229092</c:v>
                </c:pt>
                <c:pt idx="1090" formatCode="0.0%">
                  <c:v>0.31886793946229092</c:v>
                </c:pt>
                <c:pt idx="1091" formatCode="0.0%">
                  <c:v>0.31886692707676645</c:v>
                </c:pt>
                <c:pt idx="1092" formatCode="0.0%">
                  <c:v>0.32169792514347817</c:v>
                </c:pt>
                <c:pt idx="1093" formatCode="0.0%">
                  <c:v>0.32377948181691207</c:v>
                </c:pt>
                <c:pt idx="1094" formatCode="0.0%">
                  <c:v>0.32377948181691207</c:v>
                </c:pt>
                <c:pt idx="1095" formatCode="0.0%">
                  <c:v>0.324113016829713</c:v>
                </c:pt>
                <c:pt idx="1096" formatCode="0.0%">
                  <c:v>0.324113016829713</c:v>
                </c:pt>
                <c:pt idx="1097" formatCode="0.0%">
                  <c:v>0.32090439896236034</c:v>
                </c:pt>
                <c:pt idx="1098" formatCode="0.0%">
                  <c:v>0.31193227030398984</c:v>
                </c:pt>
                <c:pt idx="1099" formatCode="0.0%">
                  <c:v>0.30893073129392262</c:v>
                </c:pt>
                <c:pt idx="1100" formatCode="0.0%">
                  <c:v>0.30281923598761806</c:v>
                </c:pt>
                <c:pt idx="1101" formatCode="0.0%">
                  <c:v>0.30281923598761806</c:v>
                </c:pt>
                <c:pt idx="1102" formatCode="0.0%">
                  <c:v>0.30281923598761806</c:v>
                </c:pt>
                <c:pt idx="1103" formatCode="0.0%">
                  <c:v>0.31414700169142007</c:v>
                </c:pt>
                <c:pt idx="1104" formatCode="0.0%">
                  <c:v>0.31820666764469252</c:v>
                </c:pt>
                <c:pt idx="1105" formatCode="0.0%">
                  <c:v>0.31737954867117052</c:v>
                </c:pt>
                <c:pt idx="1106" formatCode="0.0%">
                  <c:v>0.31811269986100854</c:v>
                </c:pt>
                <c:pt idx="1107" formatCode="0.0%">
                  <c:v>0.32123986671116256</c:v>
                </c:pt>
                <c:pt idx="1108" formatCode="0.0%">
                  <c:v>0.32123986671116256</c:v>
                </c:pt>
                <c:pt idx="1109" formatCode="0.0%">
                  <c:v>0.32123986671116256</c:v>
                </c:pt>
                <c:pt idx="1110" formatCode="0.0%">
                  <c:v>0.32058715415299843</c:v>
                </c:pt>
                <c:pt idx="1111" formatCode="0.0%">
                  <c:v>0.32065047426580434</c:v>
                </c:pt>
                <c:pt idx="1112" formatCode="0.0%">
                  <c:v>0.31475940289869897</c:v>
                </c:pt>
                <c:pt idx="1113" formatCode="0.0%">
                  <c:v>0.32632204204418686</c:v>
                </c:pt>
                <c:pt idx="1114" formatCode="0.0%">
                  <c:v>0.33189678895240748</c:v>
                </c:pt>
                <c:pt idx="1115" formatCode="0.0%">
                  <c:v>0.33189678895240748</c:v>
                </c:pt>
                <c:pt idx="1116" formatCode="0.0%">
                  <c:v>0.33189678895240748</c:v>
                </c:pt>
                <c:pt idx="1117" formatCode="0.0%">
                  <c:v>0.34055268518694076</c:v>
                </c:pt>
                <c:pt idx="1118" formatCode="0.0%">
                  <c:v>0.34420785710564872</c:v>
                </c:pt>
                <c:pt idx="1119" formatCode="0.0%">
                  <c:v>0.34218280995149203</c:v>
                </c:pt>
                <c:pt idx="1120" formatCode="0.0%">
                  <c:v>0.35540815426841077</c:v>
                </c:pt>
                <c:pt idx="1121" formatCode="0.0%">
                  <c:v>0.35535256509961044</c:v>
                </c:pt>
                <c:pt idx="1122" formatCode="0.0%">
                  <c:v>0.35535256509961044</c:v>
                </c:pt>
                <c:pt idx="1123" formatCode="0.0%">
                  <c:v>0.35535256509961044</c:v>
                </c:pt>
                <c:pt idx="1124" formatCode="0.0%">
                  <c:v>0.369812283476046</c:v>
                </c:pt>
                <c:pt idx="1125" formatCode="0.0%">
                  <c:v>0.36998862262740573</c:v>
                </c:pt>
                <c:pt idx="1126" formatCode="0.0%">
                  <c:v>0.34809026355708483</c:v>
                </c:pt>
                <c:pt idx="1127" formatCode="0.0%">
                  <c:v>0.36288526561222739</c:v>
                </c:pt>
                <c:pt idx="1128" formatCode="0.0%">
                  <c:v>0.36288508154213217</c:v>
                </c:pt>
                <c:pt idx="1129" formatCode="0.0%">
                  <c:v>0.36288508154213217</c:v>
                </c:pt>
                <c:pt idx="1130" formatCode="0.0%">
                  <c:v>0.36288508154213217</c:v>
                </c:pt>
                <c:pt idx="1131" formatCode="0.0%">
                  <c:v>0.36847731510941228</c:v>
                </c:pt>
                <c:pt idx="1132" formatCode="0.0%">
                  <c:v>0.37168795774781416</c:v>
                </c:pt>
                <c:pt idx="1133" formatCode="0.0%">
                  <c:v>0.38115551106785889</c:v>
                </c:pt>
                <c:pt idx="1134" formatCode="0.0%">
                  <c:v>0.38212169499842902</c:v>
                </c:pt>
                <c:pt idx="1135" formatCode="0.0%">
                  <c:v>0.38634518333657608</c:v>
                </c:pt>
                <c:pt idx="1136" formatCode="0.0%">
                  <c:v>0.38634518333657608</c:v>
                </c:pt>
                <c:pt idx="1137" formatCode="0.0%">
                  <c:v>0.38634518333657608</c:v>
                </c:pt>
                <c:pt idx="1138" formatCode="0.0%">
                  <c:v>0.38602830666740545</c:v>
                </c:pt>
                <c:pt idx="1139" formatCode="0.0%">
                  <c:v>0.3707869346310031</c:v>
                </c:pt>
                <c:pt idx="1140" formatCode="0.0%">
                  <c:v>0.38280312249146958</c:v>
                </c:pt>
                <c:pt idx="1141" formatCode="0.0%">
                  <c:v>0.38921750513969727</c:v>
                </c:pt>
                <c:pt idx="1142" formatCode="0.0%">
                  <c:v>0.38639377784175222</c:v>
                </c:pt>
                <c:pt idx="1143" formatCode="0.0%">
                  <c:v>0.38639377784175222</c:v>
                </c:pt>
                <c:pt idx="1144" formatCode="0.0%">
                  <c:v>0.38639377784175222</c:v>
                </c:pt>
                <c:pt idx="1145" formatCode="0.0%">
                  <c:v>0.38702559844409251</c:v>
                </c:pt>
                <c:pt idx="1146" formatCode="0.0%">
                  <c:v>0.37754249120098932</c:v>
                </c:pt>
                <c:pt idx="1147" formatCode="0.0%">
                  <c:v>0.3805499204541084</c:v>
                </c:pt>
                <c:pt idx="1148" formatCode="0.0%">
                  <c:v>0.39948889256620018</c:v>
                </c:pt>
                <c:pt idx="1149" formatCode="0.0%">
                  <c:v>0.40118997635251474</c:v>
                </c:pt>
                <c:pt idx="1150" formatCode="0.0%">
                  <c:v>0.40118997635251474</c:v>
                </c:pt>
                <c:pt idx="1151" formatCode="0.0%">
                  <c:v>0.40118997635251474</c:v>
                </c:pt>
                <c:pt idx="1152" formatCode="0.0%">
                  <c:v>0.39213069050398958</c:v>
                </c:pt>
                <c:pt idx="1153" formatCode="0.0%">
                  <c:v>0.39388809973948552</c:v>
                </c:pt>
                <c:pt idx="1154" formatCode="0.0%">
                  <c:v>0.39068040222260975</c:v>
                </c:pt>
                <c:pt idx="1155" formatCode="0.0%">
                  <c:v>0.39424040990201403</c:v>
                </c:pt>
                <c:pt idx="1156" formatCode="0.0%">
                  <c:v>0.39806787142998362</c:v>
                </c:pt>
                <c:pt idx="1157" formatCode="0.0%">
                  <c:v>0.39806787142998362</c:v>
                </c:pt>
                <c:pt idx="1158" formatCode="0.0%">
                  <c:v>0.39806787142998362</c:v>
                </c:pt>
                <c:pt idx="1159" formatCode="0.0%">
                  <c:v>0.40446863289115387</c:v>
                </c:pt>
                <c:pt idx="1160" formatCode="0.0%">
                  <c:v>0.3904451606407332</c:v>
                </c:pt>
                <c:pt idx="1161" formatCode="0.0%">
                  <c:v>0.39641344941284418</c:v>
                </c:pt>
                <c:pt idx="1162" formatCode="0.0%">
                  <c:v>0.4130895558075679</c:v>
                </c:pt>
                <c:pt idx="1163" formatCode="0.0%">
                  <c:v>0.40762672351732931</c:v>
                </c:pt>
                <c:pt idx="1164" formatCode="0.0%">
                  <c:v>0.40762672351732931</c:v>
                </c:pt>
                <c:pt idx="1165" formatCode="0.0%">
                  <c:v>0.40762672351732931</c:v>
                </c:pt>
                <c:pt idx="1166" formatCode="0.0%">
                  <c:v>0.40228841464660492</c:v>
                </c:pt>
                <c:pt idx="1167" formatCode="0.0%">
                  <c:v>0.41787777119829456</c:v>
                </c:pt>
                <c:pt idx="1168" formatCode="0.0%">
                  <c:v>0.41588898585292466</c:v>
                </c:pt>
                <c:pt idx="1169" formatCode="0.0%">
                  <c:v>0.41621948370915246</c:v>
                </c:pt>
                <c:pt idx="1170" formatCode="0.0%">
                  <c:v>0.40905170216059644</c:v>
                </c:pt>
                <c:pt idx="1171" formatCode="0.0%">
                  <c:v>0.40905170216059644</c:v>
                </c:pt>
                <c:pt idx="1172" formatCode="0.0%">
                  <c:v>0.40905170216059644</c:v>
                </c:pt>
                <c:pt idx="1173" formatCode="0.0%">
                  <c:v>0.41093262243008238</c:v>
                </c:pt>
                <c:pt idx="1174" formatCode="0.0%">
                  <c:v>0.42002982671825323</c:v>
                </c:pt>
                <c:pt idx="1175" formatCode="0.0%">
                  <c:v>0.42346402248747522</c:v>
                </c:pt>
                <c:pt idx="1176" formatCode="0.0%">
                  <c:v>0.43284994072022587</c:v>
                </c:pt>
                <c:pt idx="1177" formatCode="0.0%">
                  <c:v>0.43124310082273809</c:v>
                </c:pt>
                <c:pt idx="1178" formatCode="0.0%">
                  <c:v>0.43124310082273809</c:v>
                </c:pt>
                <c:pt idx="1179" formatCode="0.0%">
                  <c:v>0.43124310082273809</c:v>
                </c:pt>
                <c:pt idx="1180" formatCode="0.0%">
                  <c:v>0.41931931615014462</c:v>
                </c:pt>
                <c:pt idx="1181" formatCode="0.0%">
                  <c:v>0.42280302677502024</c:v>
                </c:pt>
                <c:pt idx="1182" formatCode="0.0%">
                  <c:v>0.42246571832526397</c:v>
                </c:pt>
                <c:pt idx="1183" formatCode="0.0%">
                  <c:v>0.42246571832526397</c:v>
                </c:pt>
                <c:pt idx="1184" formatCode="0.0%">
                  <c:v>0.42246571832526397</c:v>
                </c:pt>
                <c:pt idx="1185" formatCode="0.0%">
                  <c:v>0.42246571832526397</c:v>
                </c:pt>
                <c:pt idx="1186" formatCode="0.0%">
                  <c:v>0.42930162149187706</c:v>
                </c:pt>
                <c:pt idx="1187" formatCode="0.0%">
                  <c:v>0.42930162149187706</c:v>
                </c:pt>
                <c:pt idx="1188" formatCode="0.0%">
                  <c:v>0.41689115548713884</c:v>
                </c:pt>
                <c:pt idx="1189" formatCode="0.0%">
                  <c:v>0.41335783797156239</c:v>
                </c:pt>
                <c:pt idx="1190" formatCode="0.0%">
                  <c:v>0.40056791146522952</c:v>
                </c:pt>
                <c:pt idx="1191" formatCode="0.0%">
                  <c:v>0.41335001499250923</c:v>
                </c:pt>
                <c:pt idx="1192" formatCode="0.0%">
                  <c:v>0.41335001499250923</c:v>
                </c:pt>
                <c:pt idx="1193" formatCode="0.0%">
                  <c:v>0.41335001499250923</c:v>
                </c:pt>
                <c:pt idx="1194" formatCode="0.0%">
                  <c:v>0.41669963055291193</c:v>
                </c:pt>
                <c:pt idx="1195" formatCode="0.0%">
                  <c:v>0.41858055082239759</c:v>
                </c:pt>
                <c:pt idx="1196" formatCode="0.0%">
                  <c:v>0.41573059353586328</c:v>
                </c:pt>
                <c:pt idx="1197" formatCode="0.0%">
                  <c:v>0.41759780058324453</c:v>
                </c:pt>
                <c:pt idx="1198" formatCode="0.0%">
                  <c:v>0.40935698241375917</c:v>
                </c:pt>
                <c:pt idx="1199" formatCode="0.0%">
                  <c:v>0.40935698241375917</c:v>
                </c:pt>
                <c:pt idx="1200" formatCode="0.0%">
                  <c:v>0.40935698241375917</c:v>
                </c:pt>
                <c:pt idx="1201" formatCode="0.0%">
                  <c:v>0.3991807592265596</c:v>
                </c:pt>
                <c:pt idx="1202" formatCode="0.0%">
                  <c:v>0.39347403405996262</c:v>
                </c:pt>
                <c:pt idx="1203" formatCode="0.0%">
                  <c:v>0.3902507826200281</c:v>
                </c:pt>
                <c:pt idx="1204" formatCode="0.0%">
                  <c:v>0.38653661623575547</c:v>
                </c:pt>
                <c:pt idx="1205" formatCode="0.0%">
                  <c:v>0.38036621849893437</c:v>
                </c:pt>
                <c:pt idx="1206" formatCode="0.0%">
                  <c:v>0.38036621849893437</c:v>
                </c:pt>
                <c:pt idx="1207" formatCode="0.0%">
                  <c:v>0.38036621849893437</c:v>
                </c:pt>
                <c:pt idx="1208" formatCode="0.0%">
                  <c:v>0.39144438515342161</c:v>
                </c:pt>
                <c:pt idx="1209" formatCode="0.0%">
                  <c:v>0.40821289473601863</c:v>
                </c:pt>
                <c:pt idx="1210" formatCode="0.0%">
                  <c:v>0.41282127364357363</c:v>
                </c:pt>
                <c:pt idx="1211" formatCode="0.0%">
                  <c:v>0.40803600337437301</c:v>
                </c:pt>
                <c:pt idx="1212" formatCode="0.0%">
                  <c:v>0.42993288988393091</c:v>
                </c:pt>
                <c:pt idx="1213" formatCode="0.0%">
                  <c:v>0.42993288988393091</c:v>
                </c:pt>
                <c:pt idx="1214" formatCode="0.0%">
                  <c:v>0.42993288988393091</c:v>
                </c:pt>
                <c:pt idx="1215" formatCode="0.0%">
                  <c:v>0.42798588845020902</c:v>
                </c:pt>
                <c:pt idx="1216" formatCode="0.0%">
                  <c:v>0.41854143592713255</c:v>
                </c:pt>
                <c:pt idx="1217" formatCode="0.0%">
                  <c:v>0.41804978470241283</c:v>
                </c:pt>
                <c:pt idx="1218" formatCode="0.0%">
                  <c:v>0.41896350865580445</c:v>
                </c:pt>
                <c:pt idx="1219" formatCode="0.0%">
                  <c:v>0.42369926406935177</c:v>
                </c:pt>
                <c:pt idx="1220" formatCode="0.0%">
                  <c:v>0.42369926406935177</c:v>
                </c:pt>
                <c:pt idx="1221" formatCode="0.0%">
                  <c:v>0.42369926406935177</c:v>
                </c:pt>
                <c:pt idx="1222" formatCode="0.0%">
                  <c:v>0.43578061274357766</c:v>
                </c:pt>
                <c:pt idx="1223" formatCode="0.0%">
                  <c:v>0.44677327883876816</c:v>
                </c:pt>
                <c:pt idx="1224" formatCode="0.0%">
                  <c:v>0.45194831753490405</c:v>
                </c:pt>
                <c:pt idx="1225" formatCode="0.0%">
                  <c:v>0.45194831753490405</c:v>
                </c:pt>
                <c:pt idx="1226" formatCode="0.0%">
                  <c:v>0.45194831753490405</c:v>
                </c:pt>
                <c:pt idx="1227" formatCode="0.0%">
                  <c:v>0.45194831753490405</c:v>
                </c:pt>
                <c:pt idx="1228" formatCode="0.0%">
                  <c:v>0.45194831753490405</c:v>
                </c:pt>
                <c:pt idx="1229" formatCode="0.0%">
                  <c:v>0.46470621584464339</c:v>
                </c:pt>
                <c:pt idx="1230" formatCode="0.0%">
                  <c:v>0.46699724428660233</c:v>
                </c:pt>
                <c:pt idx="1231" formatCode="0.0%">
                  <c:v>0.47714429236368633</c:v>
                </c:pt>
                <c:pt idx="1232" formatCode="0.0%">
                  <c:v>0.4740084742190504</c:v>
                </c:pt>
                <c:pt idx="1233" formatCode="0.0%">
                  <c:v>0.47509135859008211</c:v>
                </c:pt>
                <c:pt idx="1234" formatCode="0.0%">
                  <c:v>0.47509135859008211</c:v>
                </c:pt>
                <c:pt idx="1235" formatCode="0.0%">
                  <c:v>0.47509135859008211</c:v>
                </c:pt>
                <c:pt idx="1236" formatCode="0.0%">
                  <c:v>0.47509135859008211</c:v>
                </c:pt>
                <c:pt idx="1237" formatCode="0.0%">
                  <c:v>0.48079035281267407</c:v>
                </c:pt>
                <c:pt idx="1238" formatCode="0.0%">
                  <c:v>0.481383242589844</c:v>
                </c:pt>
                <c:pt idx="1239" formatCode="0.0%">
                  <c:v>0.47417855498716788</c:v>
                </c:pt>
                <c:pt idx="1240" formatCode="0.0%">
                  <c:v>0.47547045095148605</c:v>
                </c:pt>
                <c:pt idx="1241" formatCode="0.0%">
                  <c:v>0.47547045095148605</c:v>
                </c:pt>
                <c:pt idx="1242" formatCode="0.0%">
                  <c:v>0.47547045095148605</c:v>
                </c:pt>
                <c:pt idx="1243" formatCode="0.0%">
                  <c:v>0.47614690855195191</c:v>
                </c:pt>
                <c:pt idx="1244" formatCode="0.0%">
                  <c:v>0.46201465087517052</c:v>
                </c:pt>
                <c:pt idx="1245" formatCode="0.0%">
                  <c:v>0.44731269625323478</c:v>
                </c:pt>
                <c:pt idx="1246" formatCode="0.0%">
                  <c:v>0.43895425729281129</c:v>
                </c:pt>
                <c:pt idx="1247" formatCode="0.0%">
                  <c:v>0.44653279125917378</c:v>
                </c:pt>
                <c:pt idx="1248" formatCode="0.0%">
                  <c:v>0.44653279125917378</c:v>
                </c:pt>
                <c:pt idx="1249" formatCode="0.0%">
                  <c:v>0.44653279125917378</c:v>
                </c:pt>
                <c:pt idx="1250" formatCode="0.0%">
                  <c:v>0.44702204957265368</c:v>
                </c:pt>
                <c:pt idx="1251" formatCode="0.0%">
                  <c:v>0.44279957362003131</c:v>
                </c:pt>
                <c:pt idx="1252" formatCode="0.0%">
                  <c:v>0.44279957362003131</c:v>
                </c:pt>
                <c:pt idx="1253" formatCode="0.0%">
                  <c:v>0.46550425174309795</c:v>
                </c:pt>
                <c:pt idx="1254" formatCode="0.0%">
                  <c:v>0.46961297237678506</c:v>
                </c:pt>
                <c:pt idx="1255" formatCode="0.0%">
                  <c:v>0.46961297237678506</c:v>
                </c:pt>
                <c:pt idx="1256" formatCode="0.0%">
                  <c:v>0.46961297237678506</c:v>
                </c:pt>
                <c:pt idx="1257" formatCode="0.0%">
                  <c:v>0.47652406817735454</c:v>
                </c:pt>
                <c:pt idx="1258" formatCode="0.0%">
                  <c:v>0.47265150947602053</c:v>
                </c:pt>
                <c:pt idx="1259" formatCode="0.0%">
                  <c:v>0.47891136527918943</c:v>
                </c:pt>
                <c:pt idx="1260" formatCode="0.0%">
                  <c:v>0.47447601226127717</c:v>
                </c:pt>
                <c:pt idx="1261" formatCode="0.0%">
                  <c:v>0.47177285087579635</c:v>
                </c:pt>
                <c:pt idx="1262" formatCode="0.0%">
                  <c:v>0.47177285087579635</c:v>
                </c:pt>
                <c:pt idx="1263" formatCode="0.0%">
                  <c:v>0.47177285087579635</c:v>
                </c:pt>
                <c:pt idx="1264" formatCode="0.0%">
                  <c:v>0.47433317386727397</c:v>
                </c:pt>
                <c:pt idx="1265" formatCode="0.0%">
                  <c:v>0.47776442451497075</c:v>
                </c:pt>
                <c:pt idx="1266" formatCode="0.0%">
                  <c:v>0.47534988503902215</c:v>
                </c:pt>
                <c:pt idx="1267" formatCode="0.0%">
                  <c:v>0.48345854088003565</c:v>
                </c:pt>
                <c:pt idx="1268" formatCode="0.0%">
                  <c:v>0.48428087403107811</c:v>
                </c:pt>
                <c:pt idx="1269" formatCode="0.0%">
                  <c:v>0.48428087403107811</c:v>
                </c:pt>
                <c:pt idx="1270" formatCode="0.0%">
                  <c:v>0.48428087403107811</c:v>
                </c:pt>
                <c:pt idx="1271" formatCode="0.0%">
                  <c:v>0.48570391993834394</c:v>
                </c:pt>
                <c:pt idx="1272" formatCode="0.0%">
                  <c:v>0.48798620505077311</c:v>
                </c:pt>
                <c:pt idx="1273" formatCode="0.0%">
                  <c:v>0.48637467136585372</c:v>
                </c:pt>
                <c:pt idx="1274" formatCode="0.0%">
                  <c:v>0.4794956037618775</c:v>
                </c:pt>
                <c:pt idx="1275" formatCode="0.0%">
                  <c:v>0.48312031207980255</c:v>
                </c:pt>
                <c:pt idx="1276" formatCode="0.0%">
                  <c:v>0.48312031207980255</c:v>
                </c:pt>
                <c:pt idx="1277" formatCode="0.0%">
                  <c:v>0.4757928497235176</c:v>
                </c:pt>
                <c:pt idx="1278" formatCode="0.0%">
                  <c:v>0.46789154884493256</c:v>
                </c:pt>
                <c:pt idx="1279" formatCode="0.0%">
                  <c:v>0.47321237105659747</c:v>
                </c:pt>
                <c:pt idx="1280" formatCode="0.0%">
                  <c:v>0.47495036089703235</c:v>
                </c:pt>
                <c:pt idx="1281" formatCode="0.0%">
                  <c:v>0.47546262797243288</c:v>
                </c:pt>
                <c:pt idx="1282" formatCode="0.0%">
                  <c:v>0.47642982428852776</c:v>
                </c:pt>
                <c:pt idx="1283" formatCode="0.0%">
                  <c:v>0.47642982428852776</c:v>
                </c:pt>
                <c:pt idx="1284" formatCode="0.0%">
                  <c:v>0.47642982428852776</c:v>
                </c:pt>
                <c:pt idx="1285" formatCode="0.0%">
                  <c:v>0.4752623597086762</c:v>
                </c:pt>
                <c:pt idx="1286" formatCode="0.0%">
                  <c:v>0.46942927042161076</c:v>
                </c:pt>
                <c:pt idx="1287" formatCode="0.0%">
                  <c:v>0.48368310639638085</c:v>
                </c:pt>
                <c:pt idx="1288" formatCode="0.0%">
                  <c:v>0.48564952722516352</c:v>
                </c:pt>
                <c:pt idx="1289" formatCode="0.0%">
                  <c:v>0.49814494157891287</c:v>
                </c:pt>
                <c:pt idx="1290" formatCode="0.0%">
                  <c:v>0.49814494157891287</c:v>
                </c:pt>
                <c:pt idx="1291" formatCode="0.0%">
                  <c:v>0.49814494157891287</c:v>
                </c:pt>
                <c:pt idx="1292" formatCode="0.0%">
                  <c:v>0.49379996697782474</c:v>
                </c:pt>
                <c:pt idx="1293" formatCode="0.0%">
                  <c:v>0.51111470456841746</c:v>
                </c:pt>
                <c:pt idx="1294" formatCode="0.0%">
                  <c:v>0.4856864332792844</c:v>
                </c:pt>
                <c:pt idx="1295" formatCode="0.0%">
                  <c:v>0.47104770673510643</c:v>
                </c:pt>
                <c:pt idx="1296" formatCode="0.0%">
                  <c:v>0.46323742851867933</c:v>
                </c:pt>
                <c:pt idx="1297" formatCode="0.0%">
                  <c:v>0.46323742851867933</c:v>
                </c:pt>
                <c:pt idx="1298" formatCode="0.0%">
                  <c:v>0.46323742851867933</c:v>
                </c:pt>
                <c:pt idx="1299" formatCode="0.0%">
                  <c:v>0.48029649274681019</c:v>
                </c:pt>
                <c:pt idx="1300" formatCode="0.0%">
                  <c:v>0.48625217271738819</c:v>
                </c:pt>
                <c:pt idx="1301" formatCode="0.0%">
                  <c:v>0.46420554518525109</c:v>
                </c:pt>
                <c:pt idx="1302" formatCode="0.0%">
                  <c:v>0.4543599118893269</c:v>
                </c:pt>
                <c:pt idx="1303" formatCode="0.0%">
                  <c:v>0.47482988701961631</c:v>
                </c:pt>
                <c:pt idx="1304" formatCode="0.0%">
                  <c:v>0.47482988701961631</c:v>
                </c:pt>
                <c:pt idx="1305" formatCode="0.0%">
                  <c:v>0.47482988701961631</c:v>
                </c:pt>
                <c:pt idx="1306" formatCode="0.0%">
                  <c:v>0.48271204460828332</c:v>
                </c:pt>
                <c:pt idx="1307" formatCode="0.0%">
                  <c:v>0.4868936569997348</c:v>
                </c:pt>
                <c:pt idx="1308" formatCode="0.0%">
                  <c:v>0.49381855805745689</c:v>
                </c:pt>
                <c:pt idx="1309" formatCode="0.0%">
                  <c:v>0.47898821454400431</c:v>
                </c:pt>
                <c:pt idx="1310" formatCode="0.0%">
                  <c:v>0.4417993367218182</c:v>
                </c:pt>
                <c:pt idx="1311" formatCode="0.0%">
                  <c:v>0.4417993367218182</c:v>
                </c:pt>
                <c:pt idx="1312" formatCode="0.0%">
                  <c:v>0.4417993367218182</c:v>
                </c:pt>
                <c:pt idx="1313" formatCode="0.0%">
                  <c:v>0.40283077718259735</c:v>
                </c:pt>
                <c:pt idx="1314" formatCode="0.0%">
                  <c:v>0.43199162186553963</c:v>
                </c:pt>
                <c:pt idx="1315" formatCode="0.0%">
                  <c:v>0.4211359959563481</c:v>
                </c:pt>
                <c:pt idx="1316" formatCode="0.0%">
                  <c:v>0.44221146966534036</c:v>
                </c:pt>
                <c:pt idx="1317" formatCode="0.0%">
                  <c:v>0.44691418449677001</c:v>
                </c:pt>
                <c:pt idx="1318" formatCode="0.0%">
                  <c:v>0.44691418449677001</c:v>
                </c:pt>
                <c:pt idx="1319" formatCode="0.0%">
                  <c:v>0.44691418449677001</c:v>
                </c:pt>
                <c:pt idx="1320" formatCode="0.0%">
                  <c:v>0.43839827356976147</c:v>
                </c:pt>
                <c:pt idx="1321" formatCode="0.0%">
                  <c:v>0.45300681261829967</c:v>
                </c:pt>
                <c:pt idx="1322" formatCode="0.0%">
                  <c:v>0.44978070809188692</c:v>
                </c:pt>
                <c:pt idx="1323" formatCode="0.0%">
                  <c:v>0.47092419570111671</c:v>
                </c:pt>
                <c:pt idx="1324" formatCode="0.0%">
                  <c:v>0.47142679909651036</c:v>
                </c:pt>
                <c:pt idx="1325" formatCode="0.0%">
                  <c:v>0.47142679909651036</c:v>
                </c:pt>
                <c:pt idx="1326" formatCode="0.0%">
                  <c:v>0.47142679909651036</c:v>
                </c:pt>
                <c:pt idx="1327" formatCode="0.0%">
                  <c:v>0.47295191187165614</c:v>
                </c:pt>
                <c:pt idx="1328" formatCode="0.0%">
                  <c:v>0.46749782291094732</c:v>
                </c:pt>
                <c:pt idx="1329" formatCode="0.0%">
                  <c:v>0.47042656219829782</c:v>
                </c:pt>
                <c:pt idx="1330" formatCode="0.0%">
                  <c:v>0.46927860904855495</c:v>
                </c:pt>
                <c:pt idx="1331" formatCode="0.0%">
                  <c:v>0.47298881792577674</c:v>
                </c:pt>
                <c:pt idx="1332" formatCode="0.0%">
                  <c:v>0.47298881792577674</c:v>
                </c:pt>
                <c:pt idx="1333" formatCode="0.0%">
                  <c:v>0.47298881792577674</c:v>
                </c:pt>
                <c:pt idx="1334" formatCode="0.0%">
                  <c:v>0.46997163295760347</c:v>
                </c:pt>
                <c:pt idx="1335" formatCode="0.0%">
                  <c:v>0.47418343284469472</c:v>
                </c:pt>
                <c:pt idx="1336" formatCode="0.0%">
                  <c:v>0.47609058310277047</c:v>
                </c:pt>
                <c:pt idx="1337" formatCode="0.0%">
                  <c:v>0.49082751104282524</c:v>
                </c:pt>
                <c:pt idx="1338" formatCode="0.0%">
                  <c:v>0.49672870626517551</c:v>
                </c:pt>
                <c:pt idx="1339" formatCode="0.0%">
                  <c:v>0.50138485136247768</c:v>
                </c:pt>
                <c:pt idx="1340" formatCode="0.0%">
                  <c:v>0.50138485136247768</c:v>
                </c:pt>
                <c:pt idx="1341" formatCode="0.0%">
                  <c:v>0.5007528466900425</c:v>
                </c:pt>
                <c:pt idx="1342" formatCode="0.0%">
                  <c:v>0.48349158146215332</c:v>
                </c:pt>
                <c:pt idx="1343" formatCode="0.0%">
                  <c:v>0.47143747516204171</c:v>
                </c:pt>
                <c:pt idx="1344" formatCode="0.0%">
                  <c:v>0.46587846624697477</c:v>
                </c:pt>
                <c:pt idx="1345" formatCode="0.0%">
                  <c:v>0.4448913461837577</c:v>
                </c:pt>
                <c:pt idx="1346" formatCode="0.0%">
                  <c:v>0.4448913461837577</c:v>
                </c:pt>
                <c:pt idx="1347" formatCode="0.0%">
                  <c:v>0.4448913461837577</c:v>
                </c:pt>
                <c:pt idx="1348" formatCode="0.0%">
                  <c:v>0.46482862245806106</c:v>
                </c:pt>
                <c:pt idx="1349" formatCode="0.0%">
                  <c:v>0.47026034690218294</c:v>
                </c:pt>
                <c:pt idx="1350" formatCode="0.0%">
                  <c:v>0.47752531746109184</c:v>
                </c:pt>
                <c:pt idx="1351" formatCode="0.0%">
                  <c:v>0.49204053297127986</c:v>
                </c:pt>
                <c:pt idx="1352" formatCode="0.0%">
                  <c:v>0.49914122097007518</c:v>
                </c:pt>
                <c:pt idx="1353" formatCode="0.0%">
                  <c:v>0.49914122097007518</c:v>
                </c:pt>
                <c:pt idx="1354" formatCode="0.0%">
                  <c:v>0.49914122097007518</c:v>
                </c:pt>
                <c:pt idx="1355" formatCode="0.0%">
                  <c:v>0.49786598334938731</c:v>
                </c:pt>
                <c:pt idx="1356" formatCode="0.0%">
                  <c:v>0.49742467529575007</c:v>
                </c:pt>
                <c:pt idx="1357" formatCode="0.0%">
                  <c:v>0.49413331792053072</c:v>
                </c:pt>
                <c:pt idx="1358" formatCode="0.0%">
                  <c:v>0.51609435285832317</c:v>
                </c:pt>
                <c:pt idx="1359" formatCode="0.0%">
                  <c:v>0.50002871493487699</c:v>
                </c:pt>
                <c:pt idx="1360" formatCode="0.0%">
                  <c:v>0.50002871493487699</c:v>
                </c:pt>
                <c:pt idx="1361" formatCode="0.0%">
                  <c:v>0.50002871493487699</c:v>
                </c:pt>
                <c:pt idx="1362" formatCode="0.0%">
                  <c:v>0.5062545177704032</c:v>
                </c:pt>
                <c:pt idx="1363" formatCode="0.0%">
                  <c:v>0.5032713857698724</c:v>
                </c:pt>
                <c:pt idx="1364" formatCode="0.0%">
                  <c:v>0.49711746230658604</c:v>
                </c:pt>
                <c:pt idx="1365" formatCode="0.0%">
                  <c:v>0.51574351525655804</c:v>
                </c:pt>
                <c:pt idx="1366" formatCode="0.0%">
                  <c:v>0.51699546801018215</c:v>
                </c:pt>
                <c:pt idx="1367" formatCode="0.0%">
                  <c:v>0.51699546801018215</c:v>
                </c:pt>
                <c:pt idx="1368" formatCode="0.0%">
                  <c:v>0.51699546801018215</c:v>
                </c:pt>
                <c:pt idx="1369" formatCode="0.0%">
                  <c:v>0.51219353939735102</c:v>
                </c:pt>
                <c:pt idx="1370" formatCode="0.0%">
                  <c:v>0.51290322165002999</c:v>
                </c:pt>
                <c:pt idx="1371" formatCode="0.0%">
                  <c:v>0.5201399374493002</c:v>
                </c:pt>
                <c:pt idx="1372" formatCode="0.0%">
                  <c:v>0.51349132560472099</c:v>
                </c:pt>
                <c:pt idx="1373" formatCode="0.0%">
                  <c:v>0.52328937678099319</c:v>
                </c:pt>
                <c:pt idx="1374" formatCode="0.0%">
                  <c:v>0.52328937678099319</c:v>
                </c:pt>
                <c:pt idx="1375" formatCode="0.0%">
                  <c:v>0.52328937678099319</c:v>
                </c:pt>
                <c:pt idx="1376" formatCode="0.0%">
                  <c:v>0.51376641836224368</c:v>
                </c:pt>
                <c:pt idx="1377" formatCode="0.0%">
                  <c:v>0.51500281719280994</c:v>
                </c:pt>
                <c:pt idx="1378" formatCode="0.0%">
                  <c:v>0.52720270700845051</c:v>
                </c:pt>
                <c:pt idx="1379" formatCode="0.0%">
                  <c:v>0.52347887694417128</c:v>
                </c:pt>
                <c:pt idx="1380" formatCode="0.0%">
                  <c:v>0.53160501944424476</c:v>
                </c:pt>
                <c:pt idx="1381" formatCode="0.0%">
                  <c:v>0.53160501944424476</c:v>
                </c:pt>
                <c:pt idx="1382" formatCode="0.0%">
                  <c:v>0.53160501944424476</c:v>
                </c:pt>
                <c:pt idx="1383" formatCode="0.0%">
                  <c:v>0.54729644286381418</c:v>
                </c:pt>
                <c:pt idx="1384" formatCode="0.0%">
                  <c:v>0.52746905643644337</c:v>
                </c:pt>
                <c:pt idx="1385" formatCode="0.0%">
                  <c:v>0.53023737863568354</c:v>
                </c:pt>
                <c:pt idx="1386" formatCode="0.0%">
                  <c:v>0.53927724508914821</c:v>
                </c:pt>
                <c:pt idx="1387" formatCode="0.0%">
                  <c:v>0.54125820745546493</c:v>
                </c:pt>
                <c:pt idx="1388" formatCode="0.0%">
                  <c:v>0.54125820745546493</c:v>
                </c:pt>
                <c:pt idx="1389" formatCode="0.0%">
                  <c:v>0.54125820745546493</c:v>
                </c:pt>
                <c:pt idx="1390" formatCode="0.0%">
                  <c:v>0.53456486657771196</c:v>
                </c:pt>
                <c:pt idx="1391" formatCode="0.0%">
                  <c:v>0.53180040985047439</c:v>
                </c:pt>
                <c:pt idx="1392" formatCode="0.0%">
                  <c:v>0.52830593112501989</c:v>
                </c:pt>
                <c:pt idx="1393" formatCode="0.0%">
                  <c:v>0.51659888898971873</c:v>
                </c:pt>
                <c:pt idx="1394" formatCode="0.0%">
                  <c:v>0.51219657655392437</c:v>
                </c:pt>
                <c:pt idx="1395" formatCode="0.0%">
                  <c:v>0.51219657655392437</c:v>
                </c:pt>
                <c:pt idx="1396" formatCode="0.0%">
                  <c:v>0.51219657655392437</c:v>
                </c:pt>
                <c:pt idx="1397" formatCode="0.0%">
                  <c:v>0.51666690288995565</c:v>
                </c:pt>
                <c:pt idx="1398" formatCode="0.0%">
                  <c:v>0.51542755893786418</c:v>
                </c:pt>
                <c:pt idx="1399" formatCode="0.0%">
                  <c:v>0.50250740283906026</c:v>
                </c:pt>
                <c:pt idx="1400" formatCode="0.0%">
                  <c:v>0.48206319752212212</c:v>
                </c:pt>
                <c:pt idx="1401" formatCode="0.0%">
                  <c:v>0.491693560841517</c:v>
                </c:pt>
                <c:pt idx="1402" formatCode="0.0%">
                  <c:v>0.491693560841517</c:v>
                </c:pt>
                <c:pt idx="1403" formatCode="0.0%">
                  <c:v>0.491693560841517</c:v>
                </c:pt>
                <c:pt idx="1404" formatCode="0.0%">
                  <c:v>0.48050062648256953</c:v>
                </c:pt>
                <c:pt idx="1405" formatCode="0.0%">
                  <c:v>0.49275500104643866</c:v>
                </c:pt>
                <c:pt idx="1406" formatCode="0.0%">
                  <c:v>0.52310954029782186</c:v>
                </c:pt>
                <c:pt idx="1407" formatCode="0.0%">
                  <c:v>0.52277416458406722</c:v>
                </c:pt>
                <c:pt idx="1408" formatCode="0.0%">
                  <c:v>0.53037736394320856</c:v>
                </c:pt>
                <c:pt idx="1409" formatCode="0.0%">
                  <c:v>0.53037736394320856</c:v>
                </c:pt>
                <c:pt idx="1410" formatCode="0.0%">
                  <c:v>0.53037736394320856</c:v>
                </c:pt>
                <c:pt idx="1411" formatCode="0.0%">
                  <c:v>0.54827726036696589</c:v>
                </c:pt>
                <c:pt idx="1412" formatCode="0.0%">
                  <c:v>0.53661678796579171</c:v>
                </c:pt>
                <c:pt idx="1413" formatCode="0.0%">
                  <c:v>0.5371815150183713</c:v>
                </c:pt>
                <c:pt idx="1414" formatCode="0.0%">
                  <c:v>0.53289783575903982</c:v>
                </c:pt>
                <c:pt idx="1415" formatCode="0.0%">
                  <c:v>0.51968795333013162</c:v>
                </c:pt>
                <c:pt idx="1416" formatCode="0.0%">
                  <c:v>0.51968795333013162</c:v>
                </c:pt>
                <c:pt idx="1417" formatCode="0.0%">
                  <c:v>0.51968795333013162</c:v>
                </c:pt>
                <c:pt idx="1418" formatCode="0.0%">
                  <c:v>0.51677384761536305</c:v>
                </c:pt>
                <c:pt idx="1419" formatCode="0.0%">
                  <c:v>0.51874901177367572</c:v>
                </c:pt>
                <c:pt idx="1420" formatCode="0.0%">
                  <c:v>0.52717067881185697</c:v>
                </c:pt>
                <c:pt idx="1421" formatCode="0.0%">
                  <c:v>0.53408370734842803</c:v>
                </c:pt>
                <c:pt idx="1422" formatCode="0.0%">
                  <c:v>0.55250268144111425</c:v>
                </c:pt>
                <c:pt idx="1423" formatCode="0.0%">
                  <c:v>0.55250268144111425</c:v>
                </c:pt>
                <c:pt idx="1424" formatCode="0.0%">
                  <c:v>0.55250268144111425</c:v>
                </c:pt>
                <c:pt idx="1425" formatCode="0.0%">
                  <c:v>0.55372840420614888</c:v>
                </c:pt>
                <c:pt idx="1426" formatCode="0.0%">
                  <c:v>0.55233839888100134</c:v>
                </c:pt>
                <c:pt idx="1427" formatCode="0.0%">
                  <c:v>0.5387980185958654</c:v>
                </c:pt>
                <c:pt idx="1428" formatCode="0.0%">
                  <c:v>0.54362709754776317</c:v>
                </c:pt>
                <c:pt idx="1429" formatCode="0.0%">
                  <c:v>0.55213426514524144</c:v>
                </c:pt>
                <c:pt idx="1430" formatCode="0.0%">
                  <c:v>0.55074895360752552</c:v>
                </c:pt>
                <c:pt idx="1431" formatCode="0.0%">
                  <c:v>0.55074895360752552</c:v>
                </c:pt>
                <c:pt idx="1432" formatCode="0.0%">
                  <c:v>0.56545781085803726</c:v>
                </c:pt>
                <c:pt idx="1433" formatCode="0.0%">
                  <c:v>0.55822404018029315</c:v>
                </c:pt>
                <c:pt idx="1434" formatCode="0.0%">
                  <c:v>0.56094570061035798</c:v>
                </c:pt>
                <c:pt idx="1435" formatCode="0.0%">
                  <c:v>0.54718176719440181</c:v>
                </c:pt>
                <c:pt idx="1436" formatCode="0.0%">
                  <c:v>0.55011243921775366</c:v>
                </c:pt>
                <c:pt idx="1437" formatCode="0.0%">
                  <c:v>0.55011243921775366</c:v>
                </c:pt>
                <c:pt idx="1438" formatCode="0.0%">
                  <c:v>0.55011243921775366</c:v>
                </c:pt>
                <c:pt idx="1439" formatCode="0.0%">
                  <c:v>0.54399348907258682</c:v>
                </c:pt>
                <c:pt idx="1440" formatCode="0.0%">
                  <c:v>0.54950592825352629</c:v>
                </c:pt>
                <c:pt idx="1441" formatCode="0.0%">
                  <c:v>0.5595168564950882</c:v>
                </c:pt>
                <c:pt idx="1442" formatCode="0.0%">
                  <c:v>0.55114663704856126</c:v>
                </c:pt>
                <c:pt idx="1443" formatCode="0.0%">
                  <c:v>0.5421340129692106</c:v>
                </c:pt>
                <c:pt idx="1444" formatCode="0.0%">
                  <c:v>0.5421340129692106</c:v>
                </c:pt>
                <c:pt idx="1445" formatCode="0.0%">
                  <c:v>0.5421340129692106</c:v>
                </c:pt>
                <c:pt idx="1446" formatCode="0.0%">
                  <c:v>0.53780947014870861</c:v>
                </c:pt>
                <c:pt idx="1447" formatCode="0.0%">
                  <c:v>0.53063883551367441</c:v>
                </c:pt>
                <c:pt idx="1448" formatCode="0.0%">
                  <c:v>0.51071416804090353</c:v>
                </c:pt>
                <c:pt idx="1449" formatCode="0.0%">
                  <c:v>0.51213334847616665</c:v>
                </c:pt>
                <c:pt idx="1450" formatCode="0.0%">
                  <c:v>0.50801588451294977</c:v>
                </c:pt>
                <c:pt idx="1451" formatCode="0.0%">
                  <c:v>0.50801588451294977</c:v>
                </c:pt>
                <c:pt idx="1452" formatCode="0.0%">
                  <c:v>0.50801588451294977</c:v>
                </c:pt>
                <c:pt idx="1453" formatCode="0.0%">
                  <c:v>0.52012732864776778</c:v>
                </c:pt>
                <c:pt idx="1454" formatCode="0.0%">
                  <c:v>0.52012732864776778</c:v>
                </c:pt>
                <c:pt idx="1455" formatCode="0.0%">
                  <c:v>0.52012732864776778</c:v>
                </c:pt>
                <c:pt idx="1456" formatCode="0.0%">
                  <c:v>0.52012732864776778</c:v>
                </c:pt>
                <c:pt idx="1457" formatCode="0.0%">
                  <c:v>0.51784504353533889</c:v>
                </c:pt>
                <c:pt idx="1458" formatCode="0.0%">
                  <c:v>0.51784504353533889</c:v>
                </c:pt>
                <c:pt idx="1459" formatCode="0.0%">
                  <c:v>0.51784504353533889</c:v>
                </c:pt>
                <c:pt idx="1460" formatCode="0.0%">
                  <c:v>0.50363004635069075</c:v>
                </c:pt>
                <c:pt idx="1461" formatCode="0.0%">
                  <c:v>0.50823244298014625</c:v>
                </c:pt>
                <c:pt idx="1462" formatCode="0.0%">
                  <c:v>0.50823244298014625</c:v>
                </c:pt>
                <c:pt idx="1463" formatCode="0.0%">
                  <c:v>0.5212403084793914</c:v>
                </c:pt>
                <c:pt idx="1464" formatCode="0.0%">
                  <c:v>0.53097807669943164</c:v>
                </c:pt>
                <c:pt idx="1465" formatCode="0.0%">
                  <c:v>0.53097807669943164</c:v>
                </c:pt>
                <c:pt idx="1466" formatCode="0.0%">
                  <c:v>0.53097807669943164</c:v>
                </c:pt>
                <c:pt idx="1467" formatCode="0.0%">
                  <c:v>0.53089929469861574</c:v>
                </c:pt>
                <c:pt idx="1468" formatCode="0.0%">
                  <c:v>0.5233603358027562</c:v>
                </c:pt>
                <c:pt idx="1469" formatCode="0.0%">
                  <c:v>0.53002937942792128</c:v>
                </c:pt>
                <c:pt idx="1470" formatCode="0.0%">
                  <c:v>0.53073988999602961</c:v>
                </c:pt>
                <c:pt idx="1471" formatCode="0.0%">
                  <c:v>0.51467425207258344</c:v>
                </c:pt>
                <c:pt idx="1472" formatCode="0.0%">
                  <c:v>0.51467425207258344</c:v>
                </c:pt>
                <c:pt idx="1473" formatCode="0.0%">
                  <c:v>0.51467425207258344</c:v>
                </c:pt>
                <c:pt idx="1474" formatCode="0.0%">
                  <c:v>0.52077277043716463</c:v>
                </c:pt>
                <c:pt idx="1475" formatCode="0.0%">
                  <c:v>0.51447398380882647</c:v>
                </c:pt>
                <c:pt idx="1476" formatCode="0.0%">
                  <c:v>0.53189953159682835</c:v>
                </c:pt>
                <c:pt idx="1477" formatCode="0.0%">
                  <c:v>0.54137104242392353</c:v>
                </c:pt>
                <c:pt idx="1478" formatCode="0.0%">
                  <c:v>0.54582673518737324</c:v>
                </c:pt>
                <c:pt idx="1479" formatCode="0.0%">
                  <c:v>0.54582673518737324</c:v>
                </c:pt>
                <c:pt idx="1480" formatCode="0.0%">
                  <c:v>0.54582673518737324</c:v>
                </c:pt>
                <c:pt idx="1481" formatCode="0.0%">
                  <c:v>0.53490705288499496</c:v>
                </c:pt>
                <c:pt idx="1482" formatCode="0.0%">
                  <c:v>0.55192525355195476</c:v>
                </c:pt>
                <c:pt idx="1483" formatCode="0.0%">
                  <c:v>0.56002617844896296</c:v>
                </c:pt>
                <c:pt idx="1484" formatCode="0.0%">
                  <c:v>0.56748064917104957</c:v>
                </c:pt>
                <c:pt idx="1485" formatCode="0.0%">
                  <c:v>0.55596209481340197</c:v>
                </c:pt>
                <c:pt idx="1486" formatCode="0.0%">
                  <c:v>0.55596209481340197</c:v>
                </c:pt>
                <c:pt idx="1487" formatCode="0.0%">
                  <c:v>0.55596209481340197</c:v>
                </c:pt>
                <c:pt idx="1488" formatCode="0.0%">
                  <c:v>0.5304473105794475</c:v>
                </c:pt>
                <c:pt idx="1489" formatCode="0.0%">
                  <c:v>0.54433954085187286</c:v>
                </c:pt>
                <c:pt idx="1490" formatCode="0.0%">
                  <c:v>0.53816619799352539</c:v>
                </c:pt>
                <c:pt idx="1491" formatCode="0.0%">
                  <c:v>0.54812273352190688</c:v>
                </c:pt>
                <c:pt idx="1492" formatCode="0.0%">
                  <c:v>0.55019968844295675</c:v>
                </c:pt>
                <c:pt idx="1493" formatCode="0.0%">
                  <c:v>0.55019968844295675</c:v>
                </c:pt>
                <c:pt idx="1494" formatCode="0.0%">
                  <c:v>0.55019968844295675</c:v>
                </c:pt>
                <c:pt idx="1495" formatCode="0.0%">
                  <c:v>0.54123197746687535</c:v>
                </c:pt>
                <c:pt idx="1496" formatCode="0.0%">
                  <c:v>0.54069541313888692</c:v>
                </c:pt>
                <c:pt idx="1497" formatCode="0.0%">
                  <c:v>0.54069578127907758</c:v>
                </c:pt>
                <c:pt idx="1498" formatCode="0.0%">
                  <c:v>0.56133049914471822</c:v>
                </c:pt>
                <c:pt idx="1499" formatCode="0.0%">
                  <c:v>0.55202014168611524</c:v>
                </c:pt>
                <c:pt idx="1500" formatCode="0.0%">
                  <c:v>0.55202014168611524</c:v>
                </c:pt>
                <c:pt idx="1501" formatCode="0.0%">
                  <c:v>0.55202014168611524</c:v>
                </c:pt>
                <c:pt idx="1502" formatCode="0.0%">
                  <c:v>0.56178174698350547</c:v>
                </c:pt>
                <c:pt idx="1503" formatCode="0.0%">
                  <c:v>0.5607730428609059</c:v>
                </c:pt>
                <c:pt idx="1504" formatCode="0.0%">
                  <c:v>0.54789439456860689</c:v>
                </c:pt>
                <c:pt idx="1505" formatCode="0.0%">
                  <c:v>0.55708216134369704</c:v>
                </c:pt>
                <c:pt idx="1506" formatCode="0.0%">
                  <c:v>0.54619137804629136</c:v>
                </c:pt>
                <c:pt idx="1507" formatCode="0.0%">
                  <c:v>0.54619137804629136</c:v>
                </c:pt>
                <c:pt idx="1508" formatCode="0.0%">
                  <c:v>0.54619137804629136</c:v>
                </c:pt>
                <c:pt idx="1509" formatCode="0.0%">
                  <c:v>0.54996693180736766</c:v>
                </c:pt>
                <c:pt idx="1510" formatCode="0.0%">
                  <c:v>0.55242859322772997</c:v>
                </c:pt>
                <c:pt idx="1511" formatCode="0.0%">
                  <c:v>0.55970101862550081</c:v>
                </c:pt>
                <c:pt idx="1512" formatCode="0.0%">
                  <c:v>0.55198949401523689</c:v>
                </c:pt>
                <c:pt idx="1513" formatCode="0.0%">
                  <c:v>0.54484775838517518</c:v>
                </c:pt>
                <c:pt idx="1514" formatCode="0.0%">
                  <c:v>0.54484775838517518</c:v>
                </c:pt>
                <c:pt idx="1515" formatCode="0.0%">
                  <c:v>0.54484775838517518</c:v>
                </c:pt>
                <c:pt idx="1516" formatCode="0.0%">
                  <c:v>0.53527399662010511</c:v>
                </c:pt>
                <c:pt idx="1517" formatCode="0.0%">
                  <c:v>0.52945544887057361</c:v>
                </c:pt>
                <c:pt idx="1518" formatCode="0.0%">
                  <c:v>0.52957389797694077</c:v>
                </c:pt>
                <c:pt idx="1519" formatCode="0.0%">
                  <c:v>0.51854211698648556</c:v>
                </c:pt>
                <c:pt idx="1520" formatCode="0.0%">
                  <c:v>0.52900171608549929</c:v>
                </c:pt>
                <c:pt idx="1521" formatCode="0.0%">
                  <c:v>0.52900171608549929</c:v>
                </c:pt>
                <c:pt idx="1522" formatCode="0.0%">
                  <c:v>0.52900171608549929</c:v>
                </c:pt>
                <c:pt idx="1523" formatCode="0.0%">
                  <c:v>0.50404420406526185</c:v>
                </c:pt>
                <c:pt idx="1524" formatCode="0.0%">
                  <c:v>0.47942519695040031</c:v>
                </c:pt>
                <c:pt idx="1525" formatCode="0.0%">
                  <c:v>0.48055851652756187</c:v>
                </c:pt>
                <c:pt idx="1526" formatCode="0.0%">
                  <c:v>0.4644219195823524</c:v>
                </c:pt>
                <c:pt idx="1527" formatCode="0.0%">
                  <c:v>0.46106797837470881</c:v>
                </c:pt>
                <c:pt idx="1528" formatCode="0.0%">
                  <c:v>0.46106797837470881</c:v>
                </c:pt>
                <c:pt idx="1529" formatCode="0.0%">
                  <c:v>0.46106797837470881</c:v>
                </c:pt>
                <c:pt idx="1530" formatCode="0.0%">
                  <c:v>0.43610798140818419</c:v>
                </c:pt>
                <c:pt idx="1531" formatCode="0.0%">
                  <c:v>0.41520645393931177</c:v>
                </c:pt>
                <c:pt idx="1532" formatCode="0.0%">
                  <c:v>0.42020009155646532</c:v>
                </c:pt>
                <c:pt idx="1533" formatCode="0.0%">
                  <c:v>0.41477968742320825</c:v>
                </c:pt>
                <c:pt idx="1534" formatCode="0.0%">
                  <c:v>0.43876153590296441</c:v>
                </c:pt>
                <c:pt idx="1535" formatCode="0.0%">
                  <c:v>0.43876153590296441</c:v>
                </c:pt>
                <c:pt idx="1536" formatCode="0.0%">
                  <c:v>0.43876153590296441</c:v>
                </c:pt>
                <c:pt idx="1537" formatCode="0.0%">
                  <c:v>0.44643827126520391</c:v>
                </c:pt>
                <c:pt idx="1538" formatCode="0.0%">
                  <c:v>0.44396952314617011</c:v>
                </c:pt>
                <c:pt idx="1539" formatCode="0.0%">
                  <c:v>0.4566930923831245</c:v>
                </c:pt>
                <c:pt idx="1540" formatCode="0.0%">
                  <c:v>0.45385878105469601</c:v>
                </c:pt>
                <c:pt idx="1541" formatCode="0.0%">
                  <c:v>0.44979635404999302</c:v>
                </c:pt>
                <c:pt idx="1542" formatCode="0.0%">
                  <c:v>0.44979635404999302</c:v>
                </c:pt>
                <c:pt idx="1543" formatCode="0.0%">
                  <c:v>0.44979635404999302</c:v>
                </c:pt>
                <c:pt idx="1544" formatCode="0.0%">
                  <c:v>0.46535708770185352</c:v>
                </c:pt>
                <c:pt idx="1545" formatCode="0.0%">
                  <c:v>0.46788298958549801</c:v>
                </c:pt>
                <c:pt idx="1546" formatCode="0.0%">
                  <c:v>0.45293281643996297</c:v>
                </c:pt>
                <c:pt idx="1547" formatCode="0.0%">
                  <c:v>0.44314663778484176</c:v>
                </c:pt>
                <c:pt idx="1548" formatCode="0.0%">
                  <c:v>0.41752104335347751</c:v>
                </c:pt>
                <c:pt idx="1549" formatCode="0.0%">
                  <c:v>0.41752104335347751</c:v>
                </c:pt>
                <c:pt idx="1550" formatCode="0.0%">
                  <c:v>0.41752104335347751</c:v>
                </c:pt>
                <c:pt idx="1551" formatCode="0.0%">
                  <c:v>0.41253964639766566</c:v>
                </c:pt>
                <c:pt idx="1552" formatCode="0.0%">
                  <c:v>0.41980397271124048</c:v>
                </c:pt>
                <c:pt idx="1553" formatCode="0.0%">
                  <c:v>0.41965690070504363</c:v>
                </c:pt>
                <c:pt idx="1554" formatCode="0.0%">
                  <c:v>0.35089171837349026</c:v>
                </c:pt>
                <c:pt idx="1555" formatCode="0.0%">
                  <c:v>0.29382492688275647</c:v>
                </c:pt>
                <c:pt idx="1556" formatCode="0.0%">
                  <c:v>0.29382492688275647</c:v>
                </c:pt>
                <c:pt idx="1557" formatCode="0.0%">
                  <c:v>0.29382492688275647</c:v>
                </c:pt>
                <c:pt idx="1558" formatCode="0.0%">
                  <c:v>0.27771382364575503</c:v>
                </c:pt>
                <c:pt idx="1559" formatCode="0.0%">
                  <c:v>0.31502556825659667</c:v>
                </c:pt>
                <c:pt idx="1560" formatCode="0.0%">
                  <c:v>0.32125256754774284</c:v>
                </c:pt>
                <c:pt idx="1561" formatCode="0.0%">
                  <c:v>0.31155428236315802</c:v>
                </c:pt>
                <c:pt idx="1562" formatCode="0.0%">
                  <c:v>0.2892968025367807</c:v>
                </c:pt>
                <c:pt idx="1563" formatCode="0.0%">
                  <c:v>0.2892968025367807</c:v>
                </c:pt>
                <c:pt idx="1564" formatCode="0.0%">
                  <c:v>0.2892968025367807</c:v>
                </c:pt>
                <c:pt idx="1565" formatCode="0.0%">
                  <c:v>0.32768581738074543</c:v>
                </c:pt>
                <c:pt idx="1566" formatCode="0.0%">
                  <c:v>0.32743152454399849</c:v>
                </c:pt>
                <c:pt idx="1567" formatCode="0.0%">
                  <c:v>0.3096143676281079</c:v>
                </c:pt>
                <c:pt idx="1568" formatCode="0.0%">
                  <c:v>0.3096143676281079</c:v>
                </c:pt>
                <c:pt idx="1569" formatCode="0.0%">
                  <c:v>0.3096143676281079</c:v>
                </c:pt>
                <c:pt idx="1570" formatCode="0.0%">
                  <c:v>0.3096143676281079</c:v>
                </c:pt>
                <c:pt idx="1571" formatCode="0.0%">
                  <c:v>0.3096143676281079</c:v>
                </c:pt>
                <c:pt idx="1572" formatCode="0.0%">
                  <c:v>0.3096143676281079</c:v>
                </c:pt>
                <c:pt idx="1573" formatCode="0.0%">
                  <c:v>0.27112337795131097</c:v>
                </c:pt>
                <c:pt idx="1574" formatCode="0.0%">
                  <c:v>0.3242144394522592</c:v>
                </c:pt>
                <c:pt idx="1575" formatCode="0.0%">
                  <c:v>0.31145212346023043</c:v>
                </c:pt>
                <c:pt idx="1576" formatCode="0.0%">
                  <c:v>0.31635289771427294</c:v>
                </c:pt>
                <c:pt idx="1577" formatCode="0.0%">
                  <c:v>0.31635289771427294</c:v>
                </c:pt>
                <c:pt idx="1578" formatCode="0.0%">
                  <c:v>0.31635289771427294</c:v>
                </c:pt>
                <c:pt idx="1579" formatCode="0.0%">
                  <c:v>0.3242144394522592</c:v>
                </c:pt>
                <c:pt idx="1580" formatCode="0.0%">
                  <c:v>0.32298926889751045</c:v>
                </c:pt>
                <c:pt idx="1581" formatCode="0.0%">
                  <c:v>0.33918228332694922</c:v>
                </c:pt>
                <c:pt idx="1582" formatCode="0.0%">
                  <c:v>0.35896052303885739</c:v>
                </c:pt>
                <c:pt idx="1583" formatCode="0.0%">
                  <c:v>0.37873489727876292</c:v>
                </c:pt>
                <c:pt idx="1584" formatCode="0.0%">
                  <c:v>0.37873489727876292</c:v>
                </c:pt>
                <c:pt idx="1585" formatCode="0.0%">
                  <c:v>0.37873489727876292</c:v>
                </c:pt>
                <c:pt idx="1586" formatCode="0.0%">
                  <c:v>0.38236144629764168</c:v>
                </c:pt>
                <c:pt idx="1587" formatCode="0.0%">
                  <c:v>0.3777139524948217</c:v>
                </c:pt>
                <c:pt idx="1588" formatCode="0.0%">
                  <c:v>0.37301740401158695</c:v>
                </c:pt>
                <c:pt idx="1589" formatCode="0.0%">
                  <c:v>0.38629014637806192</c:v>
                </c:pt>
                <c:pt idx="1590" formatCode="0.0%">
                  <c:v>0.39302867646422696</c:v>
                </c:pt>
                <c:pt idx="1591" formatCode="0.0%">
                  <c:v>0.39302867646422696</c:v>
                </c:pt>
                <c:pt idx="1592" formatCode="0.0%">
                  <c:v>0.39302867646422696</c:v>
                </c:pt>
                <c:pt idx="1593" formatCode="0.0%">
                  <c:v>0.43366380664688192</c:v>
                </c:pt>
                <c:pt idx="1594" formatCode="0.0%">
                  <c:v>0.43948336678193756</c:v>
                </c:pt>
                <c:pt idx="1595" formatCode="0.0%">
                  <c:v>0.4327152934454665</c:v>
                </c:pt>
                <c:pt idx="1596" formatCode="0.0%">
                  <c:v>0.43591295914214501</c:v>
                </c:pt>
                <c:pt idx="1597" formatCode="0.0%">
                  <c:v>0.44796062298891909</c:v>
                </c:pt>
                <c:pt idx="1598" formatCode="0.0%">
                  <c:v>0.44796062298891909</c:v>
                </c:pt>
                <c:pt idx="1599" formatCode="0.0%">
                  <c:v>0.44796062298891909</c:v>
                </c:pt>
                <c:pt idx="1600" formatCode="0.0%">
                  <c:v>0.44455458994428765</c:v>
                </c:pt>
                <c:pt idx="1601" formatCode="0.0%">
                  <c:v>0.44297720126205831</c:v>
                </c:pt>
                <c:pt idx="1602" formatCode="0.0%">
                  <c:v>0.41812037558398546</c:v>
                </c:pt>
                <c:pt idx="1603" formatCode="0.0%">
                  <c:v>0.41506149873921205</c:v>
                </c:pt>
                <c:pt idx="1604" formatCode="0.0%">
                  <c:v>0.40094433481025049</c:v>
                </c:pt>
                <c:pt idx="1605" formatCode="0.0%">
                  <c:v>0.40094433481025049</c:v>
                </c:pt>
                <c:pt idx="1606" formatCode="0.0%">
                  <c:v>0.40094433481025049</c:v>
                </c:pt>
                <c:pt idx="1607" formatCode="0.0%">
                  <c:v>0.4028259913601181</c:v>
                </c:pt>
                <c:pt idx="1608" formatCode="0.0%">
                  <c:v>0.42716015000240193</c:v>
                </c:pt>
                <c:pt idx="1609" formatCode="0.0%">
                  <c:v>0.42263717961909636</c:v>
                </c:pt>
                <c:pt idx="1610" formatCode="0.0%">
                  <c:v>0.42263717961909636</c:v>
                </c:pt>
                <c:pt idx="1611" formatCode="0.0%">
                  <c:v>0.42263717961909636</c:v>
                </c:pt>
                <c:pt idx="1612" formatCode="0.0%">
                  <c:v>0.41774146729267697</c:v>
                </c:pt>
                <c:pt idx="1613" formatCode="0.0%">
                  <c:v>0.41774146729267697</c:v>
                </c:pt>
                <c:pt idx="1614" formatCode="0.0%">
                  <c:v>0.40987486362706815</c:v>
                </c:pt>
                <c:pt idx="1615" formatCode="0.0%">
                  <c:v>0.42187246040790316</c:v>
                </c:pt>
                <c:pt idx="1616" formatCode="0.0%">
                  <c:v>0.42512939667528937</c:v>
                </c:pt>
                <c:pt idx="1617" formatCode="0.0%">
                  <c:v>0.42512939667528937</c:v>
                </c:pt>
                <c:pt idx="1618" formatCode="0.0%">
                  <c:v>0.43815300016768788</c:v>
                </c:pt>
                <c:pt idx="1619" formatCode="0.0%">
                  <c:v>0.43815300016768788</c:v>
                </c:pt>
                <c:pt idx="1620" formatCode="0.0%">
                  <c:v>0.43815300016768788</c:v>
                </c:pt>
                <c:pt idx="1621" formatCode="0.0%">
                  <c:v>0.43815300016768788</c:v>
                </c:pt>
                <c:pt idx="1622" formatCode="0.0%">
                  <c:v>0.44550816507332514</c:v>
                </c:pt>
                <c:pt idx="1623" formatCode="0.0%">
                  <c:v>0.43398335233243529</c:v>
                </c:pt>
                <c:pt idx="1624" formatCode="0.0%">
                  <c:v>0.42298636059000361</c:v>
                </c:pt>
                <c:pt idx="1625" formatCode="0.0%">
                  <c:v>0.40229412081956128</c:v>
                </c:pt>
                <c:pt idx="1626" formatCode="0.0%">
                  <c:v>0.40229412081956128</c:v>
                </c:pt>
                <c:pt idx="1627" formatCode="0.0%">
                  <c:v>0.40229412081956128</c:v>
                </c:pt>
                <c:pt idx="1628" formatCode="0.0%">
                  <c:v>0.40587667708564767</c:v>
                </c:pt>
                <c:pt idx="1629" formatCode="0.0%">
                  <c:v>0.39946183426218196</c:v>
                </c:pt>
                <c:pt idx="1630" formatCode="0.0%">
                  <c:v>0.3927550562674671</c:v>
                </c:pt>
                <c:pt idx="1631" formatCode="0.0%">
                  <c:v>0.38751531693281038</c:v>
                </c:pt>
                <c:pt idx="1632" formatCode="0.0%">
                  <c:v>0.40201332188908195</c:v>
                </c:pt>
                <c:pt idx="1633" formatCode="0.0%">
                  <c:v>0.40201332188908195</c:v>
                </c:pt>
                <c:pt idx="1634" formatCode="0.0%">
                  <c:v>0.40201332188908195</c:v>
                </c:pt>
                <c:pt idx="1635" formatCode="0.0%">
                  <c:v>0.39308279307226457</c:v>
                </c:pt>
                <c:pt idx="1636" formatCode="0.0%">
                  <c:v>0.40381021416003393</c:v>
                </c:pt>
                <c:pt idx="1637" formatCode="0.0%">
                  <c:v>0.39918821406542176</c:v>
                </c:pt>
                <c:pt idx="1638" formatCode="0.0%">
                  <c:v>0.39557399774293261</c:v>
                </c:pt>
                <c:pt idx="1639" formatCode="0.0%">
                  <c:v>0.40780941308697893</c:v>
                </c:pt>
                <c:pt idx="1640" formatCode="0.0%">
                  <c:v>0.40780941308697893</c:v>
                </c:pt>
                <c:pt idx="1641" formatCode="0.0%">
                  <c:v>0.40780941308697893</c:v>
                </c:pt>
                <c:pt idx="1642" formatCode="0.0%">
                  <c:v>0.40650122691922064</c:v>
                </c:pt>
                <c:pt idx="1643" formatCode="0.0%">
                  <c:v>0.40671594468546374</c:v>
                </c:pt>
                <c:pt idx="1644" formatCode="0.0%">
                  <c:v>0.41018115626575535</c:v>
                </c:pt>
                <c:pt idx="1645" formatCode="0.0%">
                  <c:v>0.42111077835328331</c:v>
                </c:pt>
                <c:pt idx="1646" formatCode="0.0%">
                  <c:v>0.41581903921668611</c:v>
                </c:pt>
                <c:pt idx="1647" formatCode="0.0%">
                  <c:v>0.41581903921668611</c:v>
                </c:pt>
                <c:pt idx="1648" formatCode="0.0%">
                  <c:v>0.41581903921668611</c:v>
                </c:pt>
                <c:pt idx="1649" formatCode="0.0%">
                  <c:v>0.41054874424619897</c:v>
                </c:pt>
                <c:pt idx="1650" formatCode="0.0%">
                  <c:v>0.41894629810188777</c:v>
                </c:pt>
                <c:pt idx="1651" formatCode="0.0%">
                  <c:v>0.42420030286893506</c:v>
                </c:pt>
                <c:pt idx="1652" formatCode="0.0%">
                  <c:v>0.43118383025203089</c:v>
                </c:pt>
                <c:pt idx="1653" formatCode="0.0%">
                  <c:v>0.41821323894709705</c:v>
                </c:pt>
                <c:pt idx="1654" formatCode="0.0%">
                  <c:v>0.41821323894709705</c:v>
                </c:pt>
                <c:pt idx="1655" formatCode="0.0%">
                  <c:v>0.41821323894709705</c:v>
                </c:pt>
                <c:pt idx="1656" formatCode="0.0%">
                  <c:v>0.41549746876008359</c:v>
                </c:pt>
                <c:pt idx="1657" formatCode="0.0%">
                  <c:v>0.41659397431817241</c:v>
                </c:pt>
                <c:pt idx="1658" formatCode="0.0%">
                  <c:v>0.41645003150359711</c:v>
                </c:pt>
                <c:pt idx="1659" formatCode="0.0%">
                  <c:v>0.42795036292180383</c:v>
                </c:pt>
                <c:pt idx="1660" formatCode="0.0%">
                  <c:v>0.41549746876008359</c:v>
                </c:pt>
                <c:pt idx="1661" formatCode="0.0%">
                  <c:v>0.41549746876008359</c:v>
                </c:pt>
                <c:pt idx="1662" formatCode="0.0%">
                  <c:v>0.41549746876008359</c:v>
                </c:pt>
                <c:pt idx="1663" formatCode="0.0%">
                  <c:v>0.4086364400254533</c:v>
                </c:pt>
                <c:pt idx="1664" formatCode="0.0%">
                  <c:v>0.40538254091464071</c:v>
                </c:pt>
                <c:pt idx="1665" formatCode="0.0%">
                  <c:v>0.41482662529752645</c:v>
                </c:pt>
                <c:pt idx="1666" formatCode="0.0%">
                  <c:v>0.41111025007210972</c:v>
                </c:pt>
                <c:pt idx="1667" formatCode="0.0%">
                  <c:v>0.42131804128066419</c:v>
                </c:pt>
                <c:pt idx="1668" formatCode="0.0%">
                  <c:v>0.42131804128066419</c:v>
                </c:pt>
                <c:pt idx="1669" formatCode="0.0%">
                  <c:v>0.42131804128066419</c:v>
                </c:pt>
                <c:pt idx="1670" formatCode="0.0%">
                  <c:v>0.42944409174568959</c:v>
                </c:pt>
                <c:pt idx="1671" formatCode="0.0%">
                  <c:v>0.43236510008903478</c:v>
                </c:pt>
                <c:pt idx="1672" formatCode="0.0%">
                  <c:v>0.42762161373148189</c:v>
                </c:pt>
                <c:pt idx="1673" formatCode="0.0%">
                  <c:v>0.41382859724045801</c:v>
                </c:pt>
                <c:pt idx="1674" formatCode="0.0%">
                  <c:v>0.3818304961075617</c:v>
                </c:pt>
                <c:pt idx="1675" formatCode="0.0%">
                  <c:v>0.3818304961075617</c:v>
                </c:pt>
                <c:pt idx="1676" formatCode="0.0%">
                  <c:v>0.3818304961075617</c:v>
                </c:pt>
                <c:pt idx="1677" formatCode="0.0%">
                  <c:v>0.39427934072718385</c:v>
                </c:pt>
                <c:pt idx="1678" formatCode="0.0%">
                  <c:v>0.38259217816218155</c:v>
                </c:pt>
                <c:pt idx="1679" formatCode="0.0%">
                  <c:v>0.3716778338925687</c:v>
                </c:pt>
                <c:pt idx="1680" formatCode="0.0%">
                  <c:v>0.38391536604271209</c:v>
                </c:pt>
                <c:pt idx="1681" formatCode="0.0%">
                  <c:v>0.38459946255213567</c:v>
                </c:pt>
                <c:pt idx="1682" formatCode="0.0%">
                  <c:v>0.38459946255213567</c:v>
                </c:pt>
                <c:pt idx="1683" formatCode="0.0%">
                  <c:v>0.38459946255213567</c:v>
                </c:pt>
                <c:pt idx="1684" formatCode="0.0%">
                  <c:v>0.38307103651527313</c:v>
                </c:pt>
                <c:pt idx="1685" formatCode="0.0%">
                  <c:v>0.38732038670181906</c:v>
                </c:pt>
                <c:pt idx="1686" formatCode="0.0%">
                  <c:v>0.3952186504238307</c:v>
                </c:pt>
                <c:pt idx="1687" formatCode="0.0%">
                  <c:v>0.39781808831057364</c:v>
                </c:pt>
                <c:pt idx="1688" formatCode="0.0%">
                  <c:v>0.393577941628796</c:v>
                </c:pt>
                <c:pt idx="1689" formatCode="0.0%">
                  <c:v>0.393577941628796</c:v>
                </c:pt>
                <c:pt idx="1690" formatCode="0.0%">
                  <c:v>0.393577941628796</c:v>
                </c:pt>
                <c:pt idx="1691" formatCode="0.0%">
                  <c:v>0.39916474512826283</c:v>
                </c:pt>
                <c:pt idx="1692" formatCode="0.0%">
                  <c:v>0.40488223839543908</c:v>
                </c:pt>
                <c:pt idx="1693" formatCode="0.0%">
                  <c:v>0.40169985051667567</c:v>
                </c:pt>
                <c:pt idx="1694" formatCode="0.0%">
                  <c:v>0.39999683399435981</c:v>
                </c:pt>
                <c:pt idx="1695" formatCode="0.0%">
                  <c:v>0.40606350823244297</c:v>
                </c:pt>
                <c:pt idx="1696" formatCode="0.0%">
                  <c:v>0.40606350823244297</c:v>
                </c:pt>
                <c:pt idx="1697" formatCode="0.0%">
                  <c:v>0.40606350823244297</c:v>
                </c:pt>
                <c:pt idx="1698" formatCode="0.0%">
                  <c:v>0.39808452977361386</c:v>
                </c:pt>
                <c:pt idx="1699" formatCode="0.0%">
                  <c:v>0.39959353641541528</c:v>
                </c:pt>
                <c:pt idx="1700" formatCode="0.0%">
                  <c:v>0.40891107260773796</c:v>
                </c:pt>
                <c:pt idx="1701" formatCode="0.0%">
                  <c:v>0.39948226604276726</c:v>
                </c:pt>
                <c:pt idx="1702" formatCode="0.0%">
                  <c:v>0.38843419484887193</c:v>
                </c:pt>
                <c:pt idx="1703" formatCode="0.0%">
                  <c:v>0.38843419484887193</c:v>
                </c:pt>
                <c:pt idx="1704" formatCode="0.0%">
                  <c:v>0.38812909866580469</c:v>
                </c:pt>
                <c:pt idx="1705" formatCode="0.0%">
                  <c:v>0.38829025203429668</c:v>
                </c:pt>
                <c:pt idx="1706" formatCode="0.0%">
                  <c:v>0.37230275186633266</c:v>
                </c:pt>
                <c:pt idx="1707" formatCode="0.0%">
                  <c:v>0.37348807124543498</c:v>
                </c:pt>
                <c:pt idx="1708" formatCode="0.0%">
                  <c:v>0.37900952986104758</c:v>
                </c:pt>
                <c:pt idx="1709" formatCode="0.0%">
                  <c:v>0.37287953551015873</c:v>
                </c:pt>
                <c:pt idx="1710" formatCode="0.0%">
                  <c:v>0.37287953551015873</c:v>
                </c:pt>
                <c:pt idx="1711" formatCode="0.0%">
                  <c:v>0.37287953551015873</c:v>
                </c:pt>
                <c:pt idx="1712" formatCode="0.0%">
                  <c:v>0.3781896816562923</c:v>
                </c:pt>
                <c:pt idx="1713" formatCode="0.0%">
                  <c:v>0.37549738040643804</c:v>
                </c:pt>
                <c:pt idx="1714" formatCode="0.0%">
                  <c:v>0.37142464547639464</c:v>
                </c:pt>
                <c:pt idx="1715" formatCode="0.0%">
                  <c:v>0.3854049532894524</c:v>
                </c:pt>
                <c:pt idx="1716" formatCode="0.0%">
                  <c:v>0.37657446656946547</c:v>
                </c:pt>
                <c:pt idx="1717" formatCode="0.0%">
                  <c:v>0.37657446656946547</c:v>
                </c:pt>
                <c:pt idx="1718" formatCode="0.0%">
                  <c:v>0.37657446656946547</c:v>
                </c:pt>
                <c:pt idx="1719" formatCode="0.0%">
                  <c:v>0.36981357196671383</c:v>
                </c:pt>
                <c:pt idx="1720" formatCode="0.0%">
                  <c:v>0.35725244458891919</c:v>
                </c:pt>
                <c:pt idx="1721" formatCode="0.0%">
                  <c:v>0.35877672904863545</c:v>
                </c:pt>
                <c:pt idx="1722" formatCode="0.0%">
                  <c:v>0.37823560714508575</c:v>
                </c:pt>
                <c:pt idx="1723" formatCode="0.0%">
                  <c:v>0.37604765795653122</c:v>
                </c:pt>
                <c:pt idx="1724" formatCode="0.0%">
                  <c:v>0.37604765795653122</c:v>
                </c:pt>
                <c:pt idx="1725" formatCode="0.0%">
                  <c:v>0.37604765795653122</c:v>
                </c:pt>
                <c:pt idx="1726" formatCode="0.0%">
                  <c:v>0.38056446199164212</c:v>
                </c:pt>
                <c:pt idx="1727" formatCode="0.0%">
                  <c:v>0.37410268129385826</c:v>
                </c:pt>
                <c:pt idx="1728" formatCode="0.0%">
                  <c:v>0.37287143642596277</c:v>
                </c:pt>
                <c:pt idx="1729" formatCode="0.0%">
                  <c:v>0.36504146270933147</c:v>
                </c:pt>
                <c:pt idx="1730" formatCode="0.0%">
                  <c:v>0.37087133076972778</c:v>
                </c:pt>
                <c:pt idx="1731" formatCode="0.0%">
                  <c:v>0.37087133076972778</c:v>
                </c:pt>
                <c:pt idx="1732" formatCode="0.0%">
                  <c:v>0.37087133076972778</c:v>
                </c:pt>
                <c:pt idx="1733" formatCode="0.0%">
                  <c:v>0.37507981739510254</c:v>
                </c:pt>
                <c:pt idx="1734" formatCode="0.0%">
                  <c:v>0.38514881975175203</c:v>
                </c:pt>
                <c:pt idx="1735" formatCode="0.0%">
                  <c:v>0.39093662779535776</c:v>
                </c:pt>
                <c:pt idx="1736" formatCode="0.0%">
                  <c:v>0.40342836074719968</c:v>
                </c:pt>
                <c:pt idx="1737" formatCode="0.0%">
                  <c:v>0.40951859595748968</c:v>
                </c:pt>
                <c:pt idx="1738" formatCode="0.0%">
                  <c:v>0.40951859595748968</c:v>
                </c:pt>
                <c:pt idx="1739" formatCode="0.0%">
                  <c:v>0.40951859595748968</c:v>
                </c:pt>
                <c:pt idx="1740" formatCode="0.0%">
                  <c:v>0.41302660383495321</c:v>
                </c:pt>
                <c:pt idx="1741" formatCode="0.0%">
                  <c:v>0.41279384719936446</c:v>
                </c:pt>
                <c:pt idx="1742" formatCode="0.0%">
                  <c:v>0.42208791445452759</c:v>
                </c:pt>
                <c:pt idx="1743" formatCode="0.0%">
                  <c:v>0.41725763904701041</c:v>
                </c:pt>
                <c:pt idx="1744" formatCode="0.0%">
                  <c:v>0.39224251308692376</c:v>
                </c:pt>
                <c:pt idx="1745" formatCode="0.0%">
                  <c:v>0.39224251308692376</c:v>
                </c:pt>
                <c:pt idx="1746" formatCode="0.0%">
                  <c:v>0.39224251308692376</c:v>
                </c:pt>
                <c:pt idx="1747" formatCode="0.0%">
                  <c:v>0.40121289307938779</c:v>
                </c:pt>
                <c:pt idx="1748" formatCode="0.0%">
                  <c:v>0.39251815805473256</c:v>
                </c:pt>
                <c:pt idx="1749" formatCode="0.0%">
                  <c:v>0.39436106784952557</c:v>
                </c:pt>
                <c:pt idx="1750" formatCode="0.0%">
                  <c:v>0.38826880786818663</c:v>
                </c:pt>
                <c:pt idx="1751" formatCode="0.0%">
                  <c:v>0.38823825223235614</c:v>
                </c:pt>
                <c:pt idx="1752" formatCode="0.0%">
                  <c:v>0.38823825223235614</c:v>
                </c:pt>
                <c:pt idx="1753" formatCode="0.0%">
                  <c:v>0.38823825223235614</c:v>
                </c:pt>
                <c:pt idx="1754" formatCode="0.0%">
                  <c:v>0.40535088085823789</c:v>
                </c:pt>
                <c:pt idx="1755" formatCode="0.0%">
                  <c:v>0.42185000385626836</c:v>
                </c:pt>
                <c:pt idx="1756" formatCode="0.0%">
                  <c:v>0.40528967755152906</c:v>
                </c:pt>
                <c:pt idx="1757" formatCode="0.0%">
                  <c:v>0.40984320357066567</c:v>
                </c:pt>
                <c:pt idx="1758" formatCode="0.0%">
                  <c:v>0.41418550915537028</c:v>
                </c:pt>
                <c:pt idx="1759" formatCode="0.0%">
                  <c:v>0.41418550915537028</c:v>
                </c:pt>
                <c:pt idx="1760" formatCode="0.0%">
                  <c:v>0.41418550915537028</c:v>
                </c:pt>
                <c:pt idx="1761" formatCode="0.0%">
                  <c:v>0.42613092206416925</c:v>
                </c:pt>
                <c:pt idx="1762" formatCode="0.0%">
                  <c:v>0.41777726892622524</c:v>
                </c:pt>
                <c:pt idx="1763" formatCode="0.0%">
                  <c:v>0.39249873865967144</c:v>
                </c:pt>
                <c:pt idx="1764" formatCode="0.0%">
                  <c:v>0.3953370995301978</c:v>
                </c:pt>
                <c:pt idx="1765" formatCode="0.0%">
                  <c:v>0.39584632944902493</c:v>
                </c:pt>
                <c:pt idx="1766" formatCode="0.0%">
                  <c:v>0.39584632944902493</c:v>
                </c:pt>
                <c:pt idx="1767" formatCode="0.0%">
                  <c:v>0.39584632944902493</c:v>
                </c:pt>
                <c:pt idx="1768" formatCode="0.0%">
                  <c:v>0.39638160528634614</c:v>
                </c:pt>
                <c:pt idx="1769" formatCode="0.0%">
                  <c:v>0.38498435312154383</c:v>
                </c:pt>
                <c:pt idx="1770" formatCode="0.0%">
                  <c:v>0.38264933192679251</c:v>
                </c:pt>
                <c:pt idx="1771" formatCode="0.0%">
                  <c:v>0.35932599421320449</c:v>
                </c:pt>
                <c:pt idx="1772" formatCode="0.0%">
                  <c:v>0.35546263901663877</c:v>
                </c:pt>
                <c:pt idx="1773" formatCode="0.0%">
                  <c:v>0.35546263901663877</c:v>
                </c:pt>
                <c:pt idx="1774" formatCode="0.0%">
                  <c:v>0.35546263901663877</c:v>
                </c:pt>
                <c:pt idx="1775" formatCode="0.0%">
                  <c:v>0.36829131227804596</c:v>
                </c:pt>
                <c:pt idx="1776" formatCode="0.0%">
                  <c:v>0.37073962861649418</c:v>
                </c:pt>
                <c:pt idx="1777" formatCode="0.0%">
                  <c:v>0.38128426809956667</c:v>
                </c:pt>
                <c:pt idx="1778" formatCode="0.0%">
                  <c:v>0.3629597219658024</c:v>
                </c:pt>
                <c:pt idx="1779" formatCode="0.0%">
                  <c:v>0.35623757411812479</c:v>
                </c:pt>
                <c:pt idx="1780" formatCode="0.0%">
                  <c:v>0.35623757411812479</c:v>
                </c:pt>
                <c:pt idx="1781" formatCode="0.0%">
                  <c:v>0.35623757411812479</c:v>
                </c:pt>
                <c:pt idx="1782" formatCode="0.0%">
                  <c:v>0.34254413954869334</c:v>
                </c:pt>
                <c:pt idx="1783" formatCode="0.0%">
                  <c:v>0.3278011372954916</c:v>
                </c:pt>
                <c:pt idx="1784" formatCode="0.0%">
                  <c:v>0.33253643253380061</c:v>
                </c:pt>
                <c:pt idx="1785" formatCode="0.0%">
                  <c:v>0.32662290461506077</c:v>
                </c:pt>
                <c:pt idx="1786" formatCode="0.0%">
                  <c:v>0.33713901323335166</c:v>
                </c:pt>
                <c:pt idx="1787" formatCode="0.0%">
                  <c:v>0.33713901323335166</c:v>
                </c:pt>
                <c:pt idx="1788" formatCode="0.0%">
                  <c:v>0.33713901323335166</c:v>
                </c:pt>
                <c:pt idx="1789" formatCode="0.0%">
                  <c:v>0.34177942033749986</c:v>
                </c:pt>
                <c:pt idx="1790" formatCode="0.0%">
                  <c:v>0.34968385040770611</c:v>
                </c:pt>
                <c:pt idx="1791" formatCode="0.0%">
                  <c:v>0.35855004672619373</c:v>
                </c:pt>
                <c:pt idx="1792" formatCode="0.0%">
                  <c:v>0.35927399441126395</c:v>
                </c:pt>
                <c:pt idx="1793" formatCode="0.0%">
                  <c:v>0.36454327699622641</c:v>
                </c:pt>
                <c:pt idx="1794" formatCode="0.0%">
                  <c:v>0.36454327699622641</c:v>
                </c:pt>
                <c:pt idx="1795" formatCode="0.0%">
                  <c:v>0.36268858671532966</c:v>
                </c:pt>
                <c:pt idx="1796" formatCode="0.0%">
                  <c:v>0.35302555095400778</c:v>
                </c:pt>
                <c:pt idx="1797" formatCode="0.0%">
                  <c:v>0.35670824135197277</c:v>
                </c:pt>
                <c:pt idx="1798" formatCode="0.0%">
                  <c:v>0.35846325767622916</c:v>
                </c:pt>
                <c:pt idx="1799" formatCode="0.0%">
                  <c:v>0.36279019340797136</c:v>
                </c:pt>
                <c:pt idx="1800" formatCode="0.0%">
                  <c:v>0.36662805489632888</c:v>
                </c:pt>
                <c:pt idx="1801" formatCode="0.0%">
                  <c:v>0.36662805489632888</c:v>
                </c:pt>
                <c:pt idx="1802" formatCode="0.0%">
                  <c:v>0.36662805489632888</c:v>
                </c:pt>
                <c:pt idx="1803" formatCode="0.0%">
                  <c:v>0.36627178722675013</c:v>
                </c:pt>
                <c:pt idx="1804" formatCode="0.0%">
                  <c:v>0.36368155284477582</c:v>
                </c:pt>
                <c:pt idx="1805" formatCode="0.0%">
                  <c:v>0.37189328793919374</c:v>
                </c:pt>
                <c:pt idx="1806" formatCode="0.0%">
                  <c:v>0.37401902143551496</c:v>
                </c:pt>
                <c:pt idx="1807" formatCode="0.0%">
                  <c:v>0.36251049889806436</c:v>
                </c:pt>
                <c:pt idx="1808" formatCode="0.0%">
                  <c:v>0.36251049889806436</c:v>
                </c:pt>
                <c:pt idx="1809" formatCode="0.0%">
                  <c:v>0.36251049889806436</c:v>
                </c:pt>
                <c:pt idx="1810" formatCode="0.0%">
                  <c:v>0.3604767084143779</c:v>
                </c:pt>
                <c:pt idx="1811" formatCode="0.0%">
                  <c:v>0.3525711739235996</c:v>
                </c:pt>
                <c:pt idx="1812" formatCode="0.0%">
                  <c:v>0.34220719923912812</c:v>
                </c:pt>
                <c:pt idx="1813" formatCode="0.0%">
                  <c:v>0.35150430365086466</c:v>
                </c:pt>
                <c:pt idx="1814" formatCode="0.0%">
                  <c:v>0.35952000409371893</c:v>
                </c:pt>
                <c:pt idx="1815" formatCode="0.0%">
                  <c:v>0.35952000409371893</c:v>
                </c:pt>
                <c:pt idx="1816" formatCode="0.0%">
                  <c:v>0.35952000409371893</c:v>
                </c:pt>
                <c:pt idx="1817" formatCode="0.0%">
                  <c:v>0.36333540903044226</c:v>
                </c:pt>
                <c:pt idx="1818" formatCode="0.0%">
                  <c:v>0.36912027195252167</c:v>
                </c:pt>
                <c:pt idx="1819" formatCode="0.0%">
                  <c:v>0.36912027195252167</c:v>
                </c:pt>
                <c:pt idx="1820" formatCode="0.0%">
                  <c:v>0.36912027195252167</c:v>
                </c:pt>
                <c:pt idx="1821" formatCode="0.0%">
                  <c:v>0.36912027195252167</c:v>
                </c:pt>
                <c:pt idx="1822" formatCode="0.0%">
                  <c:v>0.36912027195252167</c:v>
                </c:pt>
                <c:pt idx="1823" formatCode="0.0%">
                  <c:v>0.36912027195252167</c:v>
                </c:pt>
                <c:pt idx="1824" formatCode="0.0%">
                  <c:v>0.37298473156965967</c:v>
                </c:pt>
                <c:pt idx="1825" formatCode="0.0%">
                  <c:v>0.3745488672050229</c:v>
                </c:pt>
                <c:pt idx="1826" formatCode="0.0%">
                  <c:v>0.367091727466553</c:v>
                </c:pt>
              </c:numCache>
            </c:numRef>
          </c:val>
          <c:smooth val="0"/>
          <c:extLst>
            <c:ext xmlns:c16="http://schemas.microsoft.com/office/drawing/2014/chart" uri="{C3380CC4-5D6E-409C-BE32-E72D297353CC}">
              <c16:uniqueId val="{00000008-3824-4B8F-B311-B8D727625BCA}"/>
            </c:ext>
          </c:extLst>
        </c:ser>
        <c:ser>
          <c:idx val="10"/>
          <c:order val="9"/>
          <c:tx>
            <c:strRef>
              <c:f>Sheet1!$L$1</c:f>
              <c:strCache>
                <c:ptCount val="1"/>
                <c:pt idx="0">
                  <c:v>Peer #10</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L$2:$L$2069</c:f>
              <c:numCache>
                <c:formatCode>General</c:formatCode>
                <c:ptCount val="2068"/>
                <c:pt idx="88" formatCode="0.00%">
                  <c:v>0</c:v>
                </c:pt>
                <c:pt idx="89" formatCode="0.00%">
                  <c:v>9.2027608282485573E-3</c:v>
                </c:pt>
                <c:pt idx="90" formatCode="0.00%">
                  <c:v>6.1028308492548436E-3</c:v>
                </c:pt>
                <c:pt idx="91" formatCode="0.00%">
                  <c:v>6.1028308492548436E-3</c:v>
                </c:pt>
                <c:pt idx="92" formatCode="0.00%">
                  <c:v>6.1028308492548436E-3</c:v>
                </c:pt>
                <c:pt idx="93" formatCode="0.00%">
                  <c:v>6.1028308492548436E-3</c:v>
                </c:pt>
                <c:pt idx="94" formatCode="0.00%">
                  <c:v>6.1028308492548436E-3</c:v>
                </c:pt>
                <c:pt idx="95" formatCode="0.00%">
                  <c:v>6.1028308492548436E-3</c:v>
                </c:pt>
                <c:pt idx="96" formatCode="0.00%">
                  <c:v>2.3407022106632099E-2</c:v>
                </c:pt>
                <c:pt idx="97" formatCode="0.00%">
                  <c:v>1.6504951485445646E-2</c:v>
                </c:pt>
                <c:pt idx="98" formatCode="0.00%">
                  <c:v>2.0206061818545607E-2</c:v>
                </c:pt>
                <c:pt idx="99" formatCode="0.00%">
                  <c:v>2.3807142142642731E-2</c:v>
                </c:pt>
                <c:pt idx="100" formatCode="0.00%">
                  <c:v>2.3807142142642731E-2</c:v>
                </c:pt>
                <c:pt idx="101" formatCode="0.00%">
                  <c:v>2.3807142142642731E-2</c:v>
                </c:pt>
                <c:pt idx="102" formatCode="0.00%">
                  <c:v>2.4207262178653509E-2</c:v>
                </c:pt>
                <c:pt idx="103" formatCode="0.00%">
                  <c:v>2.6007802340702144E-2</c:v>
                </c:pt>
                <c:pt idx="104" formatCode="0.00%">
                  <c:v>2.740822246674E-2</c:v>
                </c:pt>
                <c:pt idx="105" formatCode="0.00%">
                  <c:v>3.1809542862858822E-2</c:v>
                </c:pt>
                <c:pt idx="106" formatCode="0.00%">
                  <c:v>3.641092327698317E-2</c:v>
                </c:pt>
                <c:pt idx="107" formatCode="0.00%">
                  <c:v>3.641092327698317E-2</c:v>
                </c:pt>
                <c:pt idx="108" formatCode="0.00%">
                  <c:v>3.641092327698317E-2</c:v>
                </c:pt>
                <c:pt idx="109" formatCode="0.00%">
                  <c:v>3.2609782934880656E-2</c:v>
                </c:pt>
                <c:pt idx="110" formatCode="0.00%">
                  <c:v>2.4407322196659038E-2</c:v>
                </c:pt>
                <c:pt idx="111" formatCode="0.00%">
                  <c:v>2.5707712313694203E-2</c:v>
                </c:pt>
                <c:pt idx="112" formatCode="0.00%">
                  <c:v>3.1509452835850882E-2</c:v>
                </c:pt>
                <c:pt idx="113" formatCode="0.00%">
                  <c:v>2.5707712313694203E-2</c:v>
                </c:pt>
                <c:pt idx="114" formatCode="0.00%">
                  <c:v>2.5707712313694203E-2</c:v>
                </c:pt>
                <c:pt idx="115" formatCode="0.00%">
                  <c:v>2.5707712313694203E-2</c:v>
                </c:pt>
                <c:pt idx="116" formatCode="0.00%">
                  <c:v>3.1109332799839962E-2</c:v>
                </c:pt>
                <c:pt idx="117" formatCode="0.00%">
                  <c:v>2.7108132439731918E-2</c:v>
                </c:pt>
                <c:pt idx="118" formatCode="0.00%">
                  <c:v>2.7108132439731918E-2</c:v>
                </c:pt>
                <c:pt idx="119" formatCode="0.00%">
                  <c:v>2.2806842052615791E-2</c:v>
                </c:pt>
                <c:pt idx="120" formatCode="0.00%">
                  <c:v>2.6849054716414855E-2</c:v>
                </c:pt>
                <c:pt idx="121" formatCode="0.00%">
                  <c:v>2.6849054716414855E-2</c:v>
                </c:pt>
                <c:pt idx="122" formatCode="0.00%">
                  <c:v>2.6849054716414855E-2</c:v>
                </c:pt>
                <c:pt idx="123" formatCode="0.00%">
                  <c:v>2.8808642592777857E-2</c:v>
                </c:pt>
                <c:pt idx="124" formatCode="0.00%">
                  <c:v>1.910573171951583E-2</c:v>
                </c:pt>
                <c:pt idx="125" formatCode="0.00%">
                  <c:v>2.8108432529758857E-2</c:v>
                </c:pt>
                <c:pt idx="126" formatCode="0.00%">
                  <c:v>2.4207262178653509E-2</c:v>
                </c:pt>
                <c:pt idx="127" formatCode="0.00%">
                  <c:v>3.4610383114934536E-2</c:v>
                </c:pt>
                <c:pt idx="128" formatCode="0.00%">
                  <c:v>3.4610383114934536E-2</c:v>
                </c:pt>
                <c:pt idx="129" formatCode="0.00%">
                  <c:v>3.4610383114934536E-2</c:v>
                </c:pt>
                <c:pt idx="130" formatCode="0.00%">
                  <c:v>3.2209662898869736E-2</c:v>
                </c:pt>
                <c:pt idx="131" formatCode="0.00%">
                  <c:v>6.7020106031809232E-3</c:v>
                </c:pt>
                <c:pt idx="132" formatCode="0.00%">
                  <c:v>1.0303090927278049E-2</c:v>
                </c:pt>
                <c:pt idx="133" formatCode="0.00%">
                  <c:v>1.0303090927278049E-2</c:v>
                </c:pt>
                <c:pt idx="134" formatCode="0.00%">
                  <c:v>1.0303090927278049E-2</c:v>
                </c:pt>
                <c:pt idx="135" formatCode="0.00%">
                  <c:v>1.0303090927278049E-2</c:v>
                </c:pt>
                <c:pt idx="136" formatCode="0.00%">
                  <c:v>1.0303090927278049E-2</c:v>
                </c:pt>
                <c:pt idx="137" formatCode="0.00%">
                  <c:v>1.7305191557467337E-2</c:v>
                </c:pt>
                <c:pt idx="138" formatCode="0.00%">
                  <c:v>1.8805641692507747E-2</c:v>
                </c:pt>
                <c:pt idx="139" formatCode="0.00%">
                  <c:v>-2.4007202160647978E-3</c:v>
                </c:pt>
                <c:pt idx="140" formatCode="0.00%">
                  <c:v>1.4504351305391764E-2</c:v>
                </c:pt>
                <c:pt idx="141" formatCode="0.00%">
                  <c:v>2.5607682304691366E-2</c:v>
                </c:pt>
                <c:pt idx="142" formatCode="0.00%">
                  <c:v>2.5607682304691366E-2</c:v>
                </c:pt>
                <c:pt idx="143" formatCode="0.00%">
                  <c:v>2.5607682304691366E-2</c:v>
                </c:pt>
                <c:pt idx="144" formatCode="0.00%">
                  <c:v>2.5607682304691366E-2</c:v>
                </c:pt>
                <c:pt idx="145" formatCode="0.00%">
                  <c:v>2.8308492547764387E-2</c:v>
                </c:pt>
                <c:pt idx="146" formatCode="0.00%">
                  <c:v>2.7808342502750917E-2</c:v>
                </c:pt>
                <c:pt idx="147" formatCode="0.00%">
                  <c:v>3.3009902970891292E-2</c:v>
                </c:pt>
                <c:pt idx="148" formatCode="0.00%">
                  <c:v>3.701110333099919E-2</c:v>
                </c:pt>
                <c:pt idx="149" formatCode="0.00%">
                  <c:v>3.701110333099919E-2</c:v>
                </c:pt>
                <c:pt idx="150" formatCode="0.00%">
                  <c:v>3.701110333099919E-2</c:v>
                </c:pt>
                <c:pt idx="151" formatCode="0.00%">
                  <c:v>3.2092627788336471E-2</c:v>
                </c:pt>
                <c:pt idx="152" formatCode="0.00%">
                  <c:v>3.2309692907872292E-2</c:v>
                </c:pt>
                <c:pt idx="153" formatCode="0.00%">
                  <c:v>3.5310593177953396E-2</c:v>
                </c:pt>
                <c:pt idx="154" formatCode="0.00%">
                  <c:v>3.1009302790837124E-2</c:v>
                </c:pt>
                <c:pt idx="155" formatCode="0.00%">
                  <c:v>3.7611283385015494E-2</c:v>
                </c:pt>
                <c:pt idx="156" formatCode="0.00%">
                  <c:v>3.7611283385015494E-2</c:v>
                </c:pt>
                <c:pt idx="157" formatCode="0.00%">
                  <c:v>3.7611283385015494E-2</c:v>
                </c:pt>
                <c:pt idx="158" formatCode="0.00%">
                  <c:v>3.7211163349004719E-2</c:v>
                </c:pt>
                <c:pt idx="159" formatCode="0.00%">
                  <c:v>3.8711613484045275E-2</c:v>
                </c:pt>
                <c:pt idx="160" formatCode="0.00%">
                  <c:v>3.8811643493047825E-2</c:v>
                </c:pt>
                <c:pt idx="161" formatCode="0.00%">
                  <c:v>4.1912573772131478E-2</c:v>
                </c:pt>
                <c:pt idx="162" formatCode="0.00%">
                  <c:v>4.5013504051215424E-2</c:v>
                </c:pt>
                <c:pt idx="163" formatCode="0.00%">
                  <c:v>4.5013504051215424E-2</c:v>
                </c:pt>
                <c:pt idx="164" formatCode="0.00%">
                  <c:v>4.5013504051215424E-2</c:v>
                </c:pt>
                <c:pt idx="165" formatCode="0.00%">
                  <c:v>4.6413924177253138E-2</c:v>
                </c:pt>
                <c:pt idx="166" formatCode="0.00%">
                  <c:v>4.8814644393317931E-2</c:v>
                </c:pt>
                <c:pt idx="167" formatCode="0.00%">
                  <c:v>5.0315094528358625E-2</c:v>
                </c:pt>
                <c:pt idx="168" formatCode="0.00%">
                  <c:v>5.7117135140542244E-2</c:v>
                </c:pt>
                <c:pt idx="169" formatCode="0.00%">
                  <c:v>5.1615484645393506E-2</c:v>
                </c:pt>
                <c:pt idx="170" formatCode="0.00%">
                  <c:v>5.1615484645393506E-2</c:v>
                </c:pt>
                <c:pt idx="171" formatCode="0.00%">
                  <c:v>5.1615484645393506E-2</c:v>
                </c:pt>
                <c:pt idx="172" formatCode="0.00%">
                  <c:v>5.3215964789436757E-2</c:v>
                </c:pt>
                <c:pt idx="173" formatCode="0.00%">
                  <c:v>5.8217465239571879E-2</c:v>
                </c:pt>
                <c:pt idx="174" formatCode="0.00%">
                  <c:v>5.8417525257577409E-2</c:v>
                </c:pt>
                <c:pt idx="175" formatCode="0.00%">
                  <c:v>6.3919175752725724E-2</c:v>
                </c:pt>
                <c:pt idx="176" formatCode="0.00%">
                  <c:v>6.4819445833750114E-2</c:v>
                </c:pt>
                <c:pt idx="177" formatCode="0.00%">
                  <c:v>6.4819445833750114E-2</c:v>
                </c:pt>
                <c:pt idx="178" formatCode="0.00%">
                  <c:v>6.4819445833750114E-2</c:v>
                </c:pt>
                <c:pt idx="179" formatCode="0.00%">
                  <c:v>7.0121036310893323E-2</c:v>
                </c:pt>
                <c:pt idx="180" formatCode="0.00%">
                  <c:v>7.5522656797039081E-2</c:v>
                </c:pt>
                <c:pt idx="181" formatCode="0.00%">
                  <c:v>7.6109832949885006E-2</c:v>
                </c:pt>
                <c:pt idx="182" formatCode="0.00%">
                  <c:v>7.6723016905071398E-2</c:v>
                </c:pt>
                <c:pt idx="183" formatCode="0.00%">
                  <c:v>8.2624787436230918E-2</c:v>
                </c:pt>
                <c:pt idx="184" formatCode="0.00%">
                  <c:v>8.2624787436230918E-2</c:v>
                </c:pt>
                <c:pt idx="185" formatCode="0.00%">
                  <c:v>8.2624787436230918E-2</c:v>
                </c:pt>
                <c:pt idx="186" formatCode="0.00%">
                  <c:v>8.5725717715314578E-2</c:v>
                </c:pt>
                <c:pt idx="187" formatCode="0.00%">
                  <c:v>8.3925177553265937E-2</c:v>
                </c:pt>
                <c:pt idx="188" formatCode="0.00%">
                  <c:v>9.2927878363508964E-2</c:v>
                </c:pt>
                <c:pt idx="189" formatCode="0.00%">
                  <c:v>7.4222266680004048E-2</c:v>
                </c:pt>
                <c:pt idx="190" formatCode="0.00%">
                  <c:v>8.6926077823346895E-2</c:v>
                </c:pt>
                <c:pt idx="191" formatCode="0.00%">
                  <c:v>8.6926077823346895E-2</c:v>
                </c:pt>
                <c:pt idx="192" formatCode="0.00%">
                  <c:v>8.6926077823346895E-2</c:v>
                </c:pt>
                <c:pt idx="193" formatCode="0.00%">
                  <c:v>9.2127638291487554E-2</c:v>
                </c:pt>
                <c:pt idx="194" formatCode="0.00%">
                  <c:v>9.7129138741622684E-2</c:v>
                </c:pt>
                <c:pt idx="195" formatCode="0.00%">
                  <c:v>9.6829048714614452E-2</c:v>
                </c:pt>
                <c:pt idx="196" formatCode="0.00%">
                  <c:v>9.2527758327498197E-2</c:v>
                </c:pt>
                <c:pt idx="197" formatCode="0.00%">
                  <c:v>8.8326497949384755E-2</c:v>
                </c:pt>
                <c:pt idx="198" formatCode="0.00%">
                  <c:v>8.8326497949384755E-2</c:v>
                </c:pt>
                <c:pt idx="199" formatCode="0.00%">
                  <c:v>8.8326497949384755E-2</c:v>
                </c:pt>
                <c:pt idx="200" formatCode="0.00%">
                  <c:v>6.6920076022806821E-2</c:v>
                </c:pt>
                <c:pt idx="201" formatCode="0.00%">
                  <c:v>8.0424127238171647E-2</c:v>
                </c:pt>
                <c:pt idx="202" formatCode="0.00%">
                  <c:v>9.0927278183455085E-2</c:v>
                </c:pt>
                <c:pt idx="203" formatCode="0.00%">
                  <c:v>9.5828748624587512E-2</c:v>
                </c:pt>
                <c:pt idx="204" formatCode="0.00%">
                  <c:v>0.10363108932679793</c:v>
                </c:pt>
                <c:pt idx="205" formatCode="0.00%">
                  <c:v>0.10363108932679793</c:v>
                </c:pt>
                <c:pt idx="206" formatCode="0.00%">
                  <c:v>0.10363108932679793</c:v>
                </c:pt>
                <c:pt idx="207" formatCode="0.00%">
                  <c:v>9.9929978993698113E-2</c:v>
                </c:pt>
                <c:pt idx="208" formatCode="0.00%">
                  <c:v>9.5328598579574042E-2</c:v>
                </c:pt>
                <c:pt idx="209" formatCode="0.00%">
                  <c:v>9.8429528858657703E-2</c:v>
                </c:pt>
                <c:pt idx="210" formatCode="0.00%">
                  <c:v>0.10173051915574675</c:v>
                </c:pt>
                <c:pt idx="211" formatCode="0.00%">
                  <c:v>9.9129738921676563E-2</c:v>
                </c:pt>
                <c:pt idx="212" formatCode="0.00%">
                  <c:v>9.8314494348304471E-2</c:v>
                </c:pt>
                <c:pt idx="213" formatCode="0.00%">
                  <c:v>9.8314494348304471E-2</c:v>
                </c:pt>
                <c:pt idx="214" formatCode="0.00%">
                  <c:v>0.10193057917375213</c:v>
                </c:pt>
                <c:pt idx="215" formatCode="0.00%">
                  <c:v>0.10033009902970889</c:v>
                </c:pt>
                <c:pt idx="216" formatCode="0.00%">
                  <c:v>0.10783234970491136</c:v>
                </c:pt>
                <c:pt idx="217" formatCode="0.00%">
                  <c:v>0.10613183955186557</c:v>
                </c:pt>
                <c:pt idx="218" formatCode="0.00%">
                  <c:v>0.11353406021806549</c:v>
                </c:pt>
                <c:pt idx="219" formatCode="0.00%">
                  <c:v>0.11353406021806549</c:v>
                </c:pt>
                <c:pt idx="220" formatCode="0.00%">
                  <c:v>0.11353406021806549</c:v>
                </c:pt>
                <c:pt idx="221" formatCode="0.00%">
                  <c:v>0.11473442032609782</c:v>
                </c:pt>
                <c:pt idx="222" formatCode="0.00%">
                  <c:v>0.12033610083024911</c:v>
                </c:pt>
                <c:pt idx="223" formatCode="0.00%">
                  <c:v>0.12123637091127336</c:v>
                </c:pt>
                <c:pt idx="224" formatCode="0.00%">
                  <c:v>0.11953586075822756</c:v>
                </c:pt>
                <c:pt idx="225" formatCode="0.00%">
                  <c:v>0.11833550065019495</c:v>
                </c:pt>
                <c:pt idx="226" formatCode="0.00%">
                  <c:v>0.11833550065019495</c:v>
                </c:pt>
                <c:pt idx="227" formatCode="0.00%">
                  <c:v>0.11833550065019495</c:v>
                </c:pt>
                <c:pt idx="228" formatCode="0.00%">
                  <c:v>0.11433430029008719</c:v>
                </c:pt>
                <c:pt idx="229" formatCode="0.00%">
                  <c:v>0.11763529058717623</c:v>
                </c:pt>
                <c:pt idx="230" formatCode="0.00%">
                  <c:v>0.11973592077623295</c:v>
                </c:pt>
                <c:pt idx="231" formatCode="0.00%">
                  <c:v>0.10753225967790342</c:v>
                </c:pt>
                <c:pt idx="232" formatCode="0.00%">
                  <c:v>0.11543463038911668</c:v>
                </c:pt>
                <c:pt idx="233" formatCode="0.00%">
                  <c:v>0.11543463038911668</c:v>
                </c:pt>
                <c:pt idx="234" formatCode="0.00%">
                  <c:v>0.11543463038911668</c:v>
                </c:pt>
                <c:pt idx="235" formatCode="0.00%">
                  <c:v>0.12153646093828158</c:v>
                </c:pt>
                <c:pt idx="236" formatCode="0.00%">
                  <c:v>0.12393718115434638</c:v>
                </c:pt>
                <c:pt idx="237" formatCode="0.00%">
                  <c:v>0.12393718115434638</c:v>
                </c:pt>
                <c:pt idx="238" formatCode="0.00%">
                  <c:v>0.1196358907672304</c:v>
                </c:pt>
                <c:pt idx="239" formatCode="0.00%">
                  <c:v>0.12273682104631377</c:v>
                </c:pt>
                <c:pt idx="240" formatCode="0.00%">
                  <c:v>0.12273682104631377</c:v>
                </c:pt>
                <c:pt idx="241" formatCode="0.00%">
                  <c:v>0.12273682104631377</c:v>
                </c:pt>
                <c:pt idx="242" formatCode="0.00%">
                  <c:v>0.12893868160448135</c:v>
                </c:pt>
                <c:pt idx="243" formatCode="0.00%">
                  <c:v>0.12605781734520363</c:v>
                </c:pt>
                <c:pt idx="244" formatCode="0.00%">
                  <c:v>0.12623787136140849</c:v>
                </c:pt>
                <c:pt idx="245" formatCode="0.00%">
                  <c:v>0.12973892167650306</c:v>
                </c:pt>
                <c:pt idx="246" formatCode="0.00%">
                  <c:v>0.12833850155046519</c:v>
                </c:pt>
                <c:pt idx="247" formatCode="0.00%">
                  <c:v>0.12833850155046519</c:v>
                </c:pt>
                <c:pt idx="248" formatCode="0.00%">
                  <c:v>0.12833850155046519</c:v>
                </c:pt>
                <c:pt idx="249" formatCode="0.00%">
                  <c:v>0.13504051215364599</c:v>
                </c:pt>
                <c:pt idx="250" formatCode="0.00%">
                  <c:v>0.12993898169450829</c:v>
                </c:pt>
                <c:pt idx="251" formatCode="0.00%">
                  <c:v>0.12513754126237869</c:v>
                </c:pt>
                <c:pt idx="252" formatCode="0.00%">
                  <c:v>0.12623787136140849</c:v>
                </c:pt>
                <c:pt idx="253" formatCode="0.00%">
                  <c:v>0.12313694108232469</c:v>
                </c:pt>
                <c:pt idx="254" formatCode="0.00%">
                  <c:v>0.12313694108232469</c:v>
                </c:pt>
                <c:pt idx="255" formatCode="0.00%">
                  <c:v>0.12313694108232469</c:v>
                </c:pt>
                <c:pt idx="256" formatCode="0.00%">
                  <c:v>0.12083625087526258</c:v>
                </c:pt>
                <c:pt idx="257" formatCode="0.00%">
                  <c:v>0.1188356506952087</c:v>
                </c:pt>
                <c:pt idx="258" formatCode="0.00%">
                  <c:v>0.11513454036210874</c:v>
                </c:pt>
                <c:pt idx="259" formatCode="0.00%">
                  <c:v>0.12073622086625989</c:v>
                </c:pt>
                <c:pt idx="260" formatCode="0.00%">
                  <c:v>0.11983595078523564</c:v>
                </c:pt>
                <c:pt idx="261" formatCode="0.00%">
                  <c:v>0.11983595078523564</c:v>
                </c:pt>
                <c:pt idx="262" formatCode="0.00%">
                  <c:v>0.11983595078523564</c:v>
                </c:pt>
                <c:pt idx="263" formatCode="0.00%">
                  <c:v>9.8729618885665643E-2</c:v>
                </c:pt>
                <c:pt idx="264" formatCode="0.00%">
                  <c:v>0.10203060918275469</c:v>
                </c:pt>
                <c:pt idx="265" formatCode="0.00%">
                  <c:v>0.10983294988496553</c:v>
                </c:pt>
                <c:pt idx="266" formatCode="0.00%">
                  <c:v>0.12273682104631377</c:v>
                </c:pt>
                <c:pt idx="267" formatCode="0.00%">
                  <c:v>0.12033610083024911</c:v>
                </c:pt>
                <c:pt idx="268" formatCode="0.00%">
                  <c:v>0.12033610083024911</c:v>
                </c:pt>
                <c:pt idx="269" formatCode="0.00%">
                  <c:v>0.12033610083024911</c:v>
                </c:pt>
                <c:pt idx="270" formatCode="0.00%">
                  <c:v>0.11933580074022217</c:v>
                </c:pt>
                <c:pt idx="271" formatCode="0.00%">
                  <c:v>9.8829648894668332E-2</c:v>
                </c:pt>
                <c:pt idx="272" formatCode="0.00%">
                  <c:v>0.10213063919175752</c:v>
                </c:pt>
                <c:pt idx="273" formatCode="0.00%">
                  <c:v>9.097029108732628E-2</c:v>
                </c:pt>
                <c:pt idx="274" formatCode="0.00%">
                  <c:v>8.3925177553265937E-2</c:v>
                </c:pt>
                <c:pt idx="275" formatCode="0.00%">
                  <c:v>8.3925177553265937E-2</c:v>
                </c:pt>
                <c:pt idx="276" formatCode="0.00%">
                  <c:v>8.3925177553265937E-2</c:v>
                </c:pt>
                <c:pt idx="277" formatCode="0.00%">
                  <c:v>8.062418725617676E-2</c:v>
                </c:pt>
                <c:pt idx="278" formatCode="0.00%">
                  <c:v>9.0427128138441615E-2</c:v>
                </c:pt>
                <c:pt idx="279" formatCode="0.00%">
                  <c:v>8.7526257877363206E-2</c:v>
                </c:pt>
                <c:pt idx="280" formatCode="0.00%">
                  <c:v>0.11003300990297092</c:v>
                </c:pt>
                <c:pt idx="281" formatCode="0.00%">
                  <c:v>0.10453135940782232</c:v>
                </c:pt>
                <c:pt idx="282" formatCode="0.00%">
                  <c:v>0.10453135940782232</c:v>
                </c:pt>
                <c:pt idx="283" formatCode="0.00%">
                  <c:v>0.10453135940782232</c:v>
                </c:pt>
                <c:pt idx="284" formatCode="0.00%">
                  <c:v>0.10633189956987095</c:v>
                </c:pt>
                <c:pt idx="285" formatCode="0.00%">
                  <c:v>9.8729618885665643E-2</c:v>
                </c:pt>
                <c:pt idx="286" formatCode="0.00%">
                  <c:v>9.6929078723617015E-2</c:v>
                </c:pt>
                <c:pt idx="287" formatCode="0.00%">
                  <c:v>0.11313394018205457</c:v>
                </c:pt>
                <c:pt idx="288" formatCode="0.00%">
                  <c:v>0.12423727118135446</c:v>
                </c:pt>
                <c:pt idx="289" formatCode="0.00%">
                  <c:v>0.12423727118135446</c:v>
                </c:pt>
                <c:pt idx="290" formatCode="0.00%">
                  <c:v>0.12423727118135446</c:v>
                </c:pt>
                <c:pt idx="291" formatCode="0.00%">
                  <c:v>0.1243373011903573</c:v>
                </c:pt>
                <c:pt idx="292" formatCode="0.00%">
                  <c:v>0.12933880164049213</c:v>
                </c:pt>
                <c:pt idx="293" formatCode="0.00%">
                  <c:v>0.13494048214464344</c:v>
                </c:pt>
                <c:pt idx="294" formatCode="0.00%">
                  <c:v>0.13594078223467052</c:v>
                </c:pt>
                <c:pt idx="295" formatCode="0.00%">
                  <c:v>0.14294288286485951</c:v>
                </c:pt>
                <c:pt idx="296" formatCode="0.00%">
                  <c:v>0.14294288286485951</c:v>
                </c:pt>
                <c:pt idx="297" formatCode="0.00%">
                  <c:v>0.14294288286485951</c:v>
                </c:pt>
                <c:pt idx="298" formatCode="0.00%">
                  <c:v>0.14174252275682706</c:v>
                </c:pt>
                <c:pt idx="299" formatCode="0.00%">
                  <c:v>0.15094528358507545</c:v>
                </c:pt>
                <c:pt idx="300" formatCode="0.00%">
                  <c:v>0.14404321296388928</c:v>
                </c:pt>
                <c:pt idx="301" formatCode="0.00%">
                  <c:v>0.14354306291887567</c:v>
                </c:pt>
                <c:pt idx="302" formatCode="0.00%">
                  <c:v>0.15074522356707007</c:v>
                </c:pt>
                <c:pt idx="303" formatCode="0.00%">
                  <c:v>0.15074522356707007</c:v>
                </c:pt>
                <c:pt idx="304" formatCode="0.00%">
                  <c:v>0.15527058117435247</c:v>
                </c:pt>
                <c:pt idx="305" formatCode="0.00%">
                  <c:v>0.15604681404421328</c:v>
                </c:pt>
                <c:pt idx="306" formatCode="0.00%">
                  <c:v>0.15714714414324304</c:v>
                </c:pt>
                <c:pt idx="307" formatCode="0.00%">
                  <c:v>0.15474642392717811</c:v>
                </c:pt>
                <c:pt idx="308" formatCode="0.00%">
                  <c:v>0.16915074522356705</c:v>
                </c:pt>
                <c:pt idx="309" formatCode="0.00%">
                  <c:v>0.17395218565569665</c:v>
                </c:pt>
                <c:pt idx="310" formatCode="0.00%">
                  <c:v>0.17395218565569665</c:v>
                </c:pt>
                <c:pt idx="311" formatCode="0.00%">
                  <c:v>0.17395218565569665</c:v>
                </c:pt>
                <c:pt idx="312" formatCode="0.00%">
                  <c:v>0.17105131539461824</c:v>
                </c:pt>
                <c:pt idx="313" formatCode="0.00%">
                  <c:v>0.16925077523256987</c:v>
                </c:pt>
                <c:pt idx="314" formatCode="0.00%">
                  <c:v>0.17355206561968586</c:v>
                </c:pt>
                <c:pt idx="315" formatCode="0.00%">
                  <c:v>0.1762528758627589</c:v>
                </c:pt>
                <c:pt idx="316" formatCode="0.00%">
                  <c:v>0.17925377613283985</c:v>
                </c:pt>
                <c:pt idx="317" formatCode="0.00%">
                  <c:v>0.17925377613283985</c:v>
                </c:pt>
                <c:pt idx="318" formatCode="0.00%">
                  <c:v>0.17925377613283985</c:v>
                </c:pt>
                <c:pt idx="319" formatCode="0.00%">
                  <c:v>0.18745623687106133</c:v>
                </c:pt>
                <c:pt idx="320" formatCode="0.00%">
                  <c:v>0.19535860758227458</c:v>
                </c:pt>
                <c:pt idx="321" formatCode="0.00%">
                  <c:v>0.19395818745623686</c:v>
                </c:pt>
                <c:pt idx="322" formatCode="0.00%">
                  <c:v>0.18725617685305579</c:v>
                </c:pt>
                <c:pt idx="323" formatCode="0.00%">
                  <c:v>0.1933580074022207</c:v>
                </c:pt>
                <c:pt idx="324" formatCode="0.00%">
                  <c:v>0.1933580074022207</c:v>
                </c:pt>
                <c:pt idx="325" formatCode="0.00%">
                  <c:v>0.1933580074022207</c:v>
                </c:pt>
                <c:pt idx="326" formatCode="0.00%">
                  <c:v>0.20026007802340701</c:v>
                </c:pt>
                <c:pt idx="327" formatCode="0.00%">
                  <c:v>0.18195458637591272</c:v>
                </c:pt>
                <c:pt idx="328" formatCode="0.00%">
                  <c:v>0.18625587676302885</c:v>
                </c:pt>
                <c:pt idx="329" formatCode="0.00%">
                  <c:v>0.19235770731219362</c:v>
                </c:pt>
                <c:pt idx="330" formatCode="0.00%">
                  <c:v>0.16314894468340513</c:v>
                </c:pt>
                <c:pt idx="331" formatCode="0.00%">
                  <c:v>0.16314894468340513</c:v>
                </c:pt>
                <c:pt idx="332" formatCode="0.00%">
                  <c:v>0.16314894468340513</c:v>
                </c:pt>
                <c:pt idx="333" formatCode="0.00%">
                  <c:v>0.16614984495348595</c:v>
                </c:pt>
                <c:pt idx="334" formatCode="0.00%">
                  <c:v>0.15092427728318497</c:v>
                </c:pt>
                <c:pt idx="335" formatCode="0.00%">
                  <c:v>0.16094828448534557</c:v>
                </c:pt>
                <c:pt idx="336" formatCode="0.00%">
                  <c:v>0.15484645393618096</c:v>
                </c:pt>
                <c:pt idx="337" formatCode="0.00%">
                  <c:v>0.15434630389116749</c:v>
                </c:pt>
                <c:pt idx="338" formatCode="0.00%">
                  <c:v>0.15434630389116749</c:v>
                </c:pt>
                <c:pt idx="339" formatCode="0.00%">
                  <c:v>0.15434630389116749</c:v>
                </c:pt>
                <c:pt idx="340" formatCode="0.00%">
                  <c:v>0.15934780434130233</c:v>
                </c:pt>
                <c:pt idx="341" formatCode="0.00%">
                  <c:v>0.18575572671801538</c:v>
                </c:pt>
                <c:pt idx="342" formatCode="0.00%">
                  <c:v>0.18035410623186962</c:v>
                </c:pt>
                <c:pt idx="343" formatCode="0.00%">
                  <c:v>0.18345503651095327</c:v>
                </c:pt>
                <c:pt idx="344" formatCode="0.00%">
                  <c:v>0.18355506651995598</c:v>
                </c:pt>
                <c:pt idx="345" formatCode="0.00%">
                  <c:v>0.18355506651995598</c:v>
                </c:pt>
                <c:pt idx="346" formatCode="0.00%">
                  <c:v>0.18355506651995598</c:v>
                </c:pt>
                <c:pt idx="347" formatCode="0.00%">
                  <c:v>0.17985395618685615</c:v>
                </c:pt>
                <c:pt idx="348" formatCode="0.00%">
                  <c:v>0.17045113534060222</c:v>
                </c:pt>
                <c:pt idx="349" formatCode="0.00%">
                  <c:v>0.16935080524157256</c:v>
                </c:pt>
                <c:pt idx="350" formatCode="0.00%">
                  <c:v>0.18795638691607494</c:v>
                </c:pt>
                <c:pt idx="351" formatCode="0.00%">
                  <c:v>0.16765029508852664</c:v>
                </c:pt>
                <c:pt idx="352" formatCode="0.00%">
                  <c:v>0.16765029508852664</c:v>
                </c:pt>
                <c:pt idx="353" formatCode="0.00%">
                  <c:v>0.16765029508852664</c:v>
                </c:pt>
                <c:pt idx="354" formatCode="0.00%">
                  <c:v>0.1494448334500349</c:v>
                </c:pt>
                <c:pt idx="355" formatCode="0.00%">
                  <c:v>0.16184855456636996</c:v>
                </c:pt>
                <c:pt idx="356" formatCode="0.00%">
                  <c:v>0.17315194558367522</c:v>
                </c:pt>
                <c:pt idx="357" formatCode="0.00%">
                  <c:v>0.18705611683505069</c:v>
                </c:pt>
                <c:pt idx="358" formatCode="0.00%">
                  <c:v>0.18705611683505069</c:v>
                </c:pt>
                <c:pt idx="359" formatCode="0.00%">
                  <c:v>0.18705611683505069</c:v>
                </c:pt>
                <c:pt idx="360" formatCode="0.00%">
                  <c:v>0.18705611683505069</c:v>
                </c:pt>
                <c:pt idx="361" formatCode="0.00%">
                  <c:v>0.19385815744723417</c:v>
                </c:pt>
                <c:pt idx="362" formatCode="0.00%">
                  <c:v>0.20396118835650698</c:v>
                </c:pt>
                <c:pt idx="363" formatCode="0.00%">
                  <c:v>0.19615884765429642</c:v>
                </c:pt>
                <c:pt idx="364" formatCode="0.00%">
                  <c:v>0.20266079823947195</c:v>
                </c:pt>
                <c:pt idx="365" formatCode="0.00%">
                  <c:v>0.19294788436530966</c:v>
                </c:pt>
                <c:pt idx="366" formatCode="0.00%">
                  <c:v>0.19294788436530966</c:v>
                </c:pt>
                <c:pt idx="367" formatCode="0.00%">
                  <c:v>0.19294788436530966</c:v>
                </c:pt>
                <c:pt idx="368" formatCode="0.00%">
                  <c:v>0.19865959787936377</c:v>
                </c:pt>
                <c:pt idx="369" formatCode="0.00%">
                  <c:v>0.19715914774432336</c:v>
                </c:pt>
                <c:pt idx="370" formatCode="0.00%">
                  <c:v>0.19315794738421529</c:v>
                </c:pt>
                <c:pt idx="371" formatCode="0.00%">
                  <c:v>0.17345203561068318</c:v>
                </c:pt>
                <c:pt idx="372" formatCode="0.00%">
                  <c:v>0.16554966489946993</c:v>
                </c:pt>
                <c:pt idx="373" formatCode="0.00%">
                  <c:v>0.16554966489946993</c:v>
                </c:pt>
                <c:pt idx="374" formatCode="0.00%">
                  <c:v>0.16554966489946993</c:v>
                </c:pt>
                <c:pt idx="375" formatCode="0.00%">
                  <c:v>0.15054516354906469</c:v>
                </c:pt>
                <c:pt idx="376" formatCode="0.00%">
                  <c:v>0.16224867460238074</c:v>
                </c:pt>
                <c:pt idx="377" formatCode="0.00%">
                  <c:v>0.17675302590777237</c:v>
                </c:pt>
                <c:pt idx="378" formatCode="0.00%">
                  <c:v>0.16835050515154548</c:v>
                </c:pt>
                <c:pt idx="379" formatCode="0.00%">
                  <c:v>0.15004501350405122</c:v>
                </c:pt>
                <c:pt idx="380" formatCode="0.00%">
                  <c:v>0.15004501350405122</c:v>
                </c:pt>
                <c:pt idx="381" formatCode="0.00%">
                  <c:v>0.15004501350405122</c:v>
                </c:pt>
                <c:pt idx="382" formatCode="0.00%">
                  <c:v>0.15614684405321583</c:v>
                </c:pt>
                <c:pt idx="383" formatCode="0.00%">
                  <c:v>0.14594378313494061</c:v>
                </c:pt>
                <c:pt idx="384" formatCode="0.00%">
                  <c:v>0.14554366309892969</c:v>
                </c:pt>
                <c:pt idx="385" formatCode="0.00%">
                  <c:v>0.1502450735220566</c:v>
                </c:pt>
                <c:pt idx="386" formatCode="0.00%">
                  <c:v>0.12613784135240563</c:v>
                </c:pt>
                <c:pt idx="387" formatCode="0.00%">
                  <c:v>0.12613784135240563</c:v>
                </c:pt>
                <c:pt idx="388" formatCode="0.00%">
                  <c:v>0.12613784135240563</c:v>
                </c:pt>
                <c:pt idx="389" formatCode="0.00%">
                  <c:v>0.11554166249874981</c:v>
                </c:pt>
                <c:pt idx="390" formatCode="0.00%">
                  <c:v>9.7924077223166817E-2</c:v>
                </c:pt>
                <c:pt idx="391" formatCode="0.00%">
                  <c:v>0.10946203861158338</c:v>
                </c:pt>
                <c:pt idx="392" formatCode="0.00%">
                  <c:v>0.11573702110633179</c:v>
                </c:pt>
                <c:pt idx="393" formatCode="0.00%">
                  <c:v>9.6709512853856261E-2</c:v>
                </c:pt>
                <c:pt idx="394" formatCode="0.00%">
                  <c:v>9.6709512853856261E-2</c:v>
                </c:pt>
                <c:pt idx="395" formatCode="0.00%">
                  <c:v>9.6709512853856261E-2</c:v>
                </c:pt>
                <c:pt idx="396" formatCode="0.00%">
                  <c:v>0.13400540162048613</c:v>
                </c:pt>
                <c:pt idx="397" formatCode="0.00%">
                  <c:v>0.13031119335800739</c:v>
                </c:pt>
                <c:pt idx="398" formatCode="0.00%">
                  <c:v>0.14245643693107951</c:v>
                </c:pt>
                <c:pt idx="399" formatCode="0.00%">
                  <c:v>0.12636400920276089</c:v>
                </c:pt>
                <c:pt idx="400" formatCode="0.00%">
                  <c:v>0.11340912273682108</c:v>
                </c:pt>
                <c:pt idx="401" formatCode="0.00%">
                  <c:v>0.11340912273682108</c:v>
                </c:pt>
                <c:pt idx="402" formatCode="0.00%">
                  <c:v>0.11340912273682108</c:v>
                </c:pt>
                <c:pt idx="403" formatCode="0.00%">
                  <c:v>0.11988656596979098</c:v>
                </c:pt>
                <c:pt idx="404" formatCode="0.00%">
                  <c:v>0.11330799239771934</c:v>
                </c:pt>
                <c:pt idx="405" formatCode="0.00%">
                  <c:v>0.13618135440632201</c:v>
                </c:pt>
                <c:pt idx="406" formatCode="0.00%">
                  <c:v>0.13152575772731809</c:v>
                </c:pt>
                <c:pt idx="407" formatCode="0.00%">
                  <c:v>0.12261928578573573</c:v>
                </c:pt>
                <c:pt idx="408" formatCode="0.00%">
                  <c:v>0.12261928578573573</c:v>
                </c:pt>
                <c:pt idx="409" formatCode="0.00%">
                  <c:v>0.12261928578573573</c:v>
                </c:pt>
                <c:pt idx="410" formatCode="0.00%">
                  <c:v>0.10298459537861376</c:v>
                </c:pt>
                <c:pt idx="411" formatCode="0.00%">
                  <c:v>0.11108132439731917</c:v>
                </c:pt>
                <c:pt idx="412" formatCode="0.00%">
                  <c:v>0.108146243873162</c:v>
                </c:pt>
                <c:pt idx="413" formatCode="0.00%">
                  <c:v>0.10440152045613686</c:v>
                </c:pt>
                <c:pt idx="414" formatCode="0.00%">
                  <c:v>9.7519255776733052E-2</c:v>
                </c:pt>
                <c:pt idx="415" formatCode="0.00%">
                  <c:v>9.7519255776733052E-2</c:v>
                </c:pt>
                <c:pt idx="416" formatCode="0.00%">
                  <c:v>9.7519255776733052E-2</c:v>
                </c:pt>
                <c:pt idx="417" formatCode="0.00%">
                  <c:v>8.3653496048814724E-2</c:v>
                </c:pt>
                <c:pt idx="418" formatCode="0.00%">
                  <c:v>8.6588576572971906E-2</c:v>
                </c:pt>
                <c:pt idx="419" formatCode="0.00%">
                  <c:v>7.6771231369410914E-2</c:v>
                </c:pt>
                <c:pt idx="420" formatCode="0.00%">
                  <c:v>5.1772431729518897E-2</c:v>
                </c:pt>
                <c:pt idx="421" formatCode="0.00%">
                  <c:v>8.9624887466240033E-2</c:v>
                </c:pt>
                <c:pt idx="422" formatCode="0.00%">
                  <c:v>8.9624887466240033E-2</c:v>
                </c:pt>
                <c:pt idx="423" formatCode="0.00%">
                  <c:v>8.9624887466240033E-2</c:v>
                </c:pt>
                <c:pt idx="424" formatCode="0.00%">
                  <c:v>9.9237771331399494E-2</c:v>
                </c:pt>
                <c:pt idx="425" formatCode="0.00%">
                  <c:v>0.10207372211663497</c:v>
                </c:pt>
                <c:pt idx="426" formatCode="0.00%">
                  <c:v>0.10369300790237077</c:v>
                </c:pt>
                <c:pt idx="427" formatCode="0.00%">
                  <c:v>0.10794388316494946</c:v>
                </c:pt>
                <c:pt idx="428" formatCode="0.0%">
                  <c:v>9.7013203961188454E-2</c:v>
                </c:pt>
                <c:pt idx="429" formatCode="0.0%">
                  <c:v>9.7013203961188454E-2</c:v>
                </c:pt>
                <c:pt idx="430" formatCode="0.0%">
                  <c:v>9.7013203961188454E-2</c:v>
                </c:pt>
                <c:pt idx="431" formatCode="0.0%">
                  <c:v>8.9321196358907576E-2</c:v>
                </c:pt>
                <c:pt idx="432" formatCode="0.0%">
                  <c:v>6.5233269980994352E-2</c:v>
                </c:pt>
                <c:pt idx="433" formatCode="0.0%">
                  <c:v>7.9503851155346722E-2</c:v>
                </c:pt>
                <c:pt idx="434" formatCode="0.0%">
                  <c:v>7.7985695708712652E-2</c:v>
                </c:pt>
                <c:pt idx="435" formatCode="0.0%">
                  <c:v>8.7195858757627323E-2</c:v>
                </c:pt>
                <c:pt idx="436" formatCode="0.0%">
                  <c:v>8.7195858757627323E-2</c:v>
                </c:pt>
                <c:pt idx="437" formatCode="0.0%">
                  <c:v>8.7195858757627323E-2</c:v>
                </c:pt>
                <c:pt idx="438" formatCode="0.0%">
                  <c:v>8.173051915574675E-2</c:v>
                </c:pt>
                <c:pt idx="439" formatCode="0.0%">
                  <c:v>8.2438931679504043E-2</c:v>
                </c:pt>
                <c:pt idx="440" formatCode="0.0%">
                  <c:v>0.10784265279583877</c:v>
                </c:pt>
                <c:pt idx="441" formatCode="0.0%">
                  <c:v>0.11229588876662987</c:v>
                </c:pt>
                <c:pt idx="442" formatCode="0.0%">
                  <c:v>0.13193057917375214</c:v>
                </c:pt>
                <c:pt idx="443" formatCode="0.0%">
                  <c:v>0.13193057917375214</c:v>
                </c:pt>
                <c:pt idx="444" formatCode="0.0%">
                  <c:v>0.13193057917375214</c:v>
                </c:pt>
                <c:pt idx="445" formatCode="0.0%">
                  <c:v>0.13739591877563284</c:v>
                </c:pt>
                <c:pt idx="446" formatCode="0.0%">
                  <c:v>0.14863018905671693</c:v>
                </c:pt>
                <c:pt idx="447" formatCode="0.0%">
                  <c:v>0.13881284385315595</c:v>
                </c:pt>
                <c:pt idx="448" formatCode="0.0%">
                  <c:v>0.13274022206661981</c:v>
                </c:pt>
                <c:pt idx="449" formatCode="0.0%">
                  <c:v>0.12626277883365006</c:v>
                </c:pt>
                <c:pt idx="450" formatCode="0.0%">
                  <c:v>0.12626277883365006</c:v>
                </c:pt>
                <c:pt idx="451" formatCode="0.0%">
                  <c:v>0.12626277883365006</c:v>
                </c:pt>
                <c:pt idx="452" formatCode="0.0%">
                  <c:v>0.1362825847754327</c:v>
                </c:pt>
                <c:pt idx="453" formatCode="0.0%">
                  <c:v>0.14205151545463651</c:v>
                </c:pt>
                <c:pt idx="454" formatCode="0.0%">
                  <c:v>0.13881284385315595</c:v>
                </c:pt>
                <c:pt idx="455" formatCode="0.0%">
                  <c:v>0.12317895368610593</c:v>
                </c:pt>
                <c:pt idx="456" formatCode="0.0%">
                  <c:v>0.13041242372711806</c:v>
                </c:pt>
                <c:pt idx="457" formatCode="0.0%">
                  <c:v>0.13041242372711806</c:v>
                </c:pt>
                <c:pt idx="458" formatCode="0.0%">
                  <c:v>0.13041242372711806</c:v>
                </c:pt>
                <c:pt idx="459" formatCode="0.0%">
                  <c:v>0.14235520656196868</c:v>
                </c:pt>
                <c:pt idx="460" formatCode="0.0%">
                  <c:v>0.14205151545463651</c:v>
                </c:pt>
                <c:pt idx="461" formatCode="0.0%">
                  <c:v>0.11846964089226759</c:v>
                </c:pt>
                <c:pt idx="462" formatCode="0.0%">
                  <c:v>0.11948174452335707</c:v>
                </c:pt>
                <c:pt idx="463" formatCode="0.0%">
                  <c:v>0.12717375212563781</c:v>
                </c:pt>
                <c:pt idx="464" formatCode="0.0%">
                  <c:v>0.12717375212563781</c:v>
                </c:pt>
                <c:pt idx="465" formatCode="0.0%">
                  <c:v>0.12717375212563781</c:v>
                </c:pt>
                <c:pt idx="466" formatCode="0.0%">
                  <c:v>0.1084499349804942</c:v>
                </c:pt>
                <c:pt idx="467" formatCode="0.0%">
                  <c:v>0.10672931879563861</c:v>
                </c:pt>
                <c:pt idx="468" formatCode="0.0%">
                  <c:v>0.10369300790237077</c:v>
                </c:pt>
                <c:pt idx="469" formatCode="0.0%">
                  <c:v>0.10369300790237077</c:v>
                </c:pt>
                <c:pt idx="470" formatCode="0.0%">
                  <c:v>0.10369300790237077</c:v>
                </c:pt>
                <c:pt idx="471" formatCode="0.0%">
                  <c:v>0.10369300790237077</c:v>
                </c:pt>
                <c:pt idx="472" formatCode="0.0%">
                  <c:v>0.10369300790237077</c:v>
                </c:pt>
                <c:pt idx="473" formatCode="0.0%">
                  <c:v>0.10369300790237077</c:v>
                </c:pt>
                <c:pt idx="474" formatCode="0.0%">
                  <c:v>0.11148614584375309</c:v>
                </c:pt>
                <c:pt idx="475" formatCode="0.0%">
                  <c:v>0.11887446233870165</c:v>
                </c:pt>
                <c:pt idx="476" formatCode="0.0%">
                  <c:v>0.1219107732319695</c:v>
                </c:pt>
                <c:pt idx="477" formatCode="0.0%">
                  <c:v>9.1750225067520147E-2</c:v>
                </c:pt>
                <c:pt idx="478" formatCode="0.0%">
                  <c:v>9.1750225067520147E-2</c:v>
                </c:pt>
                <c:pt idx="479" formatCode="0.0%">
                  <c:v>9.1750225067520147E-2</c:v>
                </c:pt>
                <c:pt idx="480" formatCode="0.0%">
                  <c:v>7.0293788136440868E-2</c:v>
                </c:pt>
                <c:pt idx="481" formatCode="0.0%">
                  <c:v>7.3431329398819536E-2</c:v>
                </c:pt>
                <c:pt idx="482" formatCode="0.0%">
                  <c:v>7.2925277583274953E-2</c:v>
                </c:pt>
                <c:pt idx="483" formatCode="0.0%">
                  <c:v>8.1528058417525251E-2</c:v>
                </c:pt>
                <c:pt idx="484" formatCode="0.0%">
                  <c:v>9.0839351805541646E-2</c:v>
                </c:pt>
                <c:pt idx="485" formatCode="0.0%">
                  <c:v>7.4347204161248334E-2</c:v>
                </c:pt>
                <c:pt idx="486" formatCode="0.0%">
                  <c:v>7.4347204161248334E-2</c:v>
                </c:pt>
                <c:pt idx="487" formatCode="0.0%">
                  <c:v>7.1305891767530202E-2</c:v>
                </c:pt>
                <c:pt idx="488" formatCode="0.0%">
                  <c:v>7.2419225767730355E-2</c:v>
                </c:pt>
                <c:pt idx="489" formatCode="0.0%">
                  <c:v>6.5638091427428116E-2</c:v>
                </c:pt>
                <c:pt idx="490" formatCode="0.0%">
                  <c:v>6.462608782634803E-2</c:v>
                </c:pt>
                <c:pt idx="491" formatCode="0.0%">
                  <c:v>4.2663499049714775E-2</c:v>
                </c:pt>
                <c:pt idx="492" formatCode="0.0%">
                  <c:v>4.2663499049714775E-2</c:v>
                </c:pt>
                <c:pt idx="493" formatCode="0.0%">
                  <c:v>4.2663499049714775E-2</c:v>
                </c:pt>
                <c:pt idx="494" formatCode="0.0%">
                  <c:v>2.5963889166750249E-2</c:v>
                </c:pt>
                <c:pt idx="495" formatCode="0.0%">
                  <c:v>2.9202560768230513E-2</c:v>
                </c:pt>
                <c:pt idx="496" formatCode="0.0%">
                  <c:v>3.0113534060218116E-2</c:v>
                </c:pt>
                <c:pt idx="497" formatCode="0.0%">
                  <c:v>2.1611883565069549E-2</c:v>
                </c:pt>
                <c:pt idx="498" formatCode="0.0%">
                  <c:v>2.1611883565069549E-2</c:v>
                </c:pt>
                <c:pt idx="499" formatCode="0.0%">
                  <c:v>2.1611883565069549E-2</c:v>
                </c:pt>
                <c:pt idx="500" formatCode="0.0%">
                  <c:v>2.1611883565069549E-2</c:v>
                </c:pt>
                <c:pt idx="501" formatCode="0.0%">
                  <c:v>3.7501850555166527E-2</c:v>
                </c:pt>
                <c:pt idx="502" formatCode="0.0%">
                  <c:v>4.7015504651395333E-2</c:v>
                </c:pt>
                <c:pt idx="503" formatCode="0.0%">
                  <c:v>4.0841752525757613E-2</c:v>
                </c:pt>
                <c:pt idx="504" formatCode="0.0%">
                  <c:v>1.7765929778933584E-2</c:v>
                </c:pt>
                <c:pt idx="505" formatCode="0.0%">
                  <c:v>2.4951785535660635E-2</c:v>
                </c:pt>
                <c:pt idx="506" formatCode="0.0%">
                  <c:v>2.4951785535660635E-2</c:v>
                </c:pt>
                <c:pt idx="507" formatCode="0.0%">
                  <c:v>2.4951785535660635E-2</c:v>
                </c:pt>
                <c:pt idx="508" formatCode="0.0%">
                  <c:v>2.191547464239264E-2</c:v>
                </c:pt>
                <c:pt idx="509" formatCode="0.0%">
                  <c:v>6.3291987596278436E-3</c:v>
                </c:pt>
                <c:pt idx="510" formatCode="0.0%">
                  <c:v>2.1004601380414128E-2</c:v>
                </c:pt>
                <c:pt idx="511" formatCode="0.0%">
                  <c:v>2.1004601380414128E-2</c:v>
                </c:pt>
                <c:pt idx="512" formatCode="0.0%">
                  <c:v>2.1004601380414128E-2</c:v>
                </c:pt>
                <c:pt idx="513" formatCode="0.0%">
                  <c:v>2.1004601380414128E-2</c:v>
                </c:pt>
                <c:pt idx="514" formatCode="0.0%">
                  <c:v>2.1004601380414128E-2</c:v>
                </c:pt>
                <c:pt idx="515" formatCode="0.0%">
                  <c:v>6.3917575272581781E-2</c:v>
                </c:pt>
                <c:pt idx="516" formatCode="0.0%">
                  <c:v>6.0910673201960606E-2</c:v>
                </c:pt>
                <c:pt idx="517" formatCode="0.0%">
                  <c:v>5.7946183855156479E-2</c:v>
                </c:pt>
                <c:pt idx="518" formatCode="0.0%">
                  <c:v>5.1569970991297398E-2</c:v>
                </c:pt>
                <c:pt idx="519" formatCode="0.0%">
                  <c:v>5.8857057117135125E-2</c:v>
                </c:pt>
                <c:pt idx="520" formatCode="0.0%">
                  <c:v>5.8857057117135125E-2</c:v>
                </c:pt>
                <c:pt idx="521" formatCode="0.0%">
                  <c:v>5.8857057117135125E-2</c:v>
                </c:pt>
                <c:pt idx="522" formatCode="0.0%">
                  <c:v>5.8857057117135125E-2</c:v>
                </c:pt>
                <c:pt idx="523" formatCode="0.0%">
                  <c:v>5.9261878563569043E-2</c:v>
                </c:pt>
                <c:pt idx="524" formatCode="0.0%">
                  <c:v>5.9261878563569043E-2</c:v>
                </c:pt>
                <c:pt idx="525" formatCode="0.0%">
                  <c:v>5.4707512253676212E-2</c:v>
                </c:pt>
                <c:pt idx="526" formatCode="0.0%">
                  <c:v>2.5154246273882137E-2</c:v>
                </c:pt>
                <c:pt idx="527" formatCode="0.0%">
                  <c:v>2.5154246273882137E-2</c:v>
                </c:pt>
                <c:pt idx="528" formatCode="0.0%">
                  <c:v>2.5154246273882137E-2</c:v>
                </c:pt>
                <c:pt idx="529" formatCode="0.0%">
                  <c:v>-8.5675702710815923E-4</c:v>
                </c:pt>
                <c:pt idx="530" formatCode="0.0%">
                  <c:v>-7.9413824147242448E-3</c:v>
                </c:pt>
                <c:pt idx="531" formatCode="0.0%">
                  <c:v>3.7989396819044429E-3</c:v>
                </c:pt>
                <c:pt idx="532" formatCode="0.0%">
                  <c:v>-2.747484245273597E-2</c:v>
                </c:pt>
                <c:pt idx="533" formatCode="0.0%">
                  <c:v>-2.9397919375812761E-2</c:v>
                </c:pt>
                <c:pt idx="534" formatCode="0.0%">
                  <c:v>-2.9397919375812761E-2</c:v>
                </c:pt>
                <c:pt idx="535" formatCode="0.0%">
                  <c:v>-2.9397919375812761E-2</c:v>
                </c:pt>
                <c:pt idx="536" formatCode="0.0%">
                  <c:v>-2.6665199559867857E-2</c:v>
                </c:pt>
                <c:pt idx="537" formatCode="0.0%">
                  <c:v>-1.5026107832349709E-2</c:v>
                </c:pt>
                <c:pt idx="538" formatCode="0.0%">
                  <c:v>-1.8973291987596213E-2</c:v>
                </c:pt>
                <c:pt idx="539" formatCode="0.0%">
                  <c:v>-1.431759527858361E-2</c:v>
                </c:pt>
                <c:pt idx="540" formatCode="0.0%">
                  <c:v>9.8715614684405754E-3</c:v>
                </c:pt>
                <c:pt idx="541" formatCode="0.0%">
                  <c:v>9.8715614684405754E-3</c:v>
                </c:pt>
                <c:pt idx="542" formatCode="0.0%">
                  <c:v>9.8715614684405754E-3</c:v>
                </c:pt>
                <c:pt idx="543" formatCode="0.0%">
                  <c:v>1.5539261778533557E-2</c:v>
                </c:pt>
                <c:pt idx="544" formatCode="0.0%">
                  <c:v>1.837311193358019E-2</c:v>
                </c:pt>
                <c:pt idx="545" formatCode="0.0%">
                  <c:v>4.1025307592276765E-3</c:v>
                </c:pt>
                <c:pt idx="546" formatCode="0.0%">
                  <c:v>-3.9668900670200456E-3</c:v>
                </c:pt>
                <c:pt idx="547" formatCode="0.0%">
                  <c:v>-3.8929678903670607E-3</c:v>
                </c:pt>
                <c:pt idx="548" formatCode="0.0%">
                  <c:v>-3.8929678903670607E-3</c:v>
                </c:pt>
                <c:pt idx="549" formatCode="0.0%">
                  <c:v>-3.8929678903670607E-3</c:v>
                </c:pt>
                <c:pt idx="550" formatCode="0.0%">
                  <c:v>-4.701410423123775E-5</c:v>
                </c:pt>
                <c:pt idx="551" formatCode="0.0%">
                  <c:v>2.4832449734918782E-3</c:v>
                </c:pt>
                <c:pt idx="552" formatCode="0.0%">
                  <c:v>2.6571171351405382E-2</c:v>
                </c:pt>
                <c:pt idx="553" formatCode="0.0%">
                  <c:v>3.9020006001800452E-2</c:v>
                </c:pt>
                <c:pt idx="554" formatCode="0.0%">
                  <c:v>4.47889366810044E-2</c:v>
                </c:pt>
                <c:pt idx="555" formatCode="0.0%">
                  <c:v>4.47889366810044E-2</c:v>
                </c:pt>
                <c:pt idx="556" formatCode="0.0%">
                  <c:v>4.47889366810044E-2</c:v>
                </c:pt>
                <c:pt idx="557" formatCode="0.0%">
                  <c:v>4.5193758127438172E-2</c:v>
                </c:pt>
                <c:pt idx="558" formatCode="0.0%">
                  <c:v>4.4282884865459664E-2</c:v>
                </c:pt>
                <c:pt idx="559" formatCode="0.0%">
                  <c:v>3.1125637691307446E-2</c:v>
                </c:pt>
                <c:pt idx="560" formatCode="0.0%">
                  <c:v>2.1207062118635493E-2</c:v>
                </c:pt>
                <c:pt idx="561" formatCode="0.0%">
                  <c:v>4.2056216865059497E-2</c:v>
                </c:pt>
                <c:pt idx="562" formatCode="0.0%">
                  <c:v>4.2056216865059497E-2</c:v>
                </c:pt>
                <c:pt idx="563" formatCode="0.0%">
                  <c:v>4.2056216865059497E-2</c:v>
                </c:pt>
                <c:pt idx="564" formatCode="0.0%">
                  <c:v>4.4485245573672214E-2</c:v>
                </c:pt>
                <c:pt idx="565" formatCode="0.0%">
                  <c:v>4.2157447234170177E-2</c:v>
                </c:pt>
                <c:pt idx="566" formatCode="0.0%">
                  <c:v>5.5921976592977957E-2</c:v>
                </c:pt>
                <c:pt idx="567" formatCode="0.0%">
                  <c:v>6.1286085825747849E-2</c:v>
                </c:pt>
                <c:pt idx="568" formatCode="0.0%">
                  <c:v>7.0799839951985605E-2</c:v>
                </c:pt>
                <c:pt idx="569" formatCode="0.0%">
                  <c:v>7.0799839951985605E-2</c:v>
                </c:pt>
                <c:pt idx="570" formatCode="0.0%">
                  <c:v>7.0799839951985605E-2</c:v>
                </c:pt>
                <c:pt idx="571" formatCode="0.0%">
                  <c:v>6.4120036010803433E-2</c:v>
                </c:pt>
                <c:pt idx="572" formatCode="0.0%">
                  <c:v>6.5638091427428116E-2</c:v>
                </c:pt>
                <c:pt idx="573" formatCode="0.0%">
                  <c:v>7.4848254476342926E-2</c:v>
                </c:pt>
                <c:pt idx="574" formatCode="0.0%">
                  <c:v>8.2540162048614571E-2</c:v>
                </c:pt>
                <c:pt idx="575" formatCode="0.0%">
                  <c:v>0.10359177753325995</c:v>
                </c:pt>
                <c:pt idx="576" formatCode="0.0%">
                  <c:v>0.10359177753325995</c:v>
                </c:pt>
                <c:pt idx="577" formatCode="0.0%">
                  <c:v>0.1044339301790535</c:v>
                </c:pt>
                <c:pt idx="578" formatCode="0.0%">
                  <c:v>9.4584175252575731E-2</c:v>
                </c:pt>
                <c:pt idx="579" formatCode="0.0%">
                  <c:v>9.073822146643977E-2</c:v>
                </c:pt>
                <c:pt idx="580" formatCode="0.0%">
                  <c:v>0.10156767030109037</c:v>
                </c:pt>
                <c:pt idx="581" formatCode="0.0%">
                  <c:v>0.10703290987296185</c:v>
                </c:pt>
                <c:pt idx="582" formatCode="0.0%">
                  <c:v>0.10703290987296185</c:v>
                </c:pt>
                <c:pt idx="583" formatCode="0.0%">
                  <c:v>0.10703290987296185</c:v>
                </c:pt>
                <c:pt idx="584" formatCode="0.0%">
                  <c:v>0.10703290987296185</c:v>
                </c:pt>
                <c:pt idx="585" formatCode="0.0%">
                  <c:v>0.11017045113534053</c:v>
                </c:pt>
                <c:pt idx="586" formatCode="0.0%">
                  <c:v>9.4280484145243551E-2</c:v>
                </c:pt>
                <c:pt idx="587" formatCode="0.0%">
                  <c:v>0.1007579273782136</c:v>
                </c:pt>
                <c:pt idx="588" formatCode="0.0%">
                  <c:v>0.11249824947484229</c:v>
                </c:pt>
                <c:pt idx="589" formatCode="0.0%">
                  <c:v>0.11563579073722124</c:v>
                </c:pt>
                <c:pt idx="590" formatCode="0.0%">
                  <c:v>0.11563579073722124</c:v>
                </c:pt>
                <c:pt idx="591" formatCode="0.0%">
                  <c:v>0.11563579073722124</c:v>
                </c:pt>
                <c:pt idx="592" formatCode="0.0%">
                  <c:v>0.12707252175652697</c:v>
                </c:pt>
                <c:pt idx="593" formatCode="0.0%">
                  <c:v>0.12940032009602873</c:v>
                </c:pt>
                <c:pt idx="594" formatCode="0.0%">
                  <c:v>0.12595918775632683</c:v>
                </c:pt>
                <c:pt idx="595" formatCode="0.0%">
                  <c:v>0.13182934880464131</c:v>
                </c:pt>
                <c:pt idx="596" formatCode="0.0%">
                  <c:v>0.12950155046513956</c:v>
                </c:pt>
                <c:pt idx="597" formatCode="0.0%">
                  <c:v>0.12950155046513956</c:v>
                </c:pt>
                <c:pt idx="598" formatCode="0.0%">
                  <c:v>0.12950155046513956</c:v>
                </c:pt>
                <c:pt idx="599" formatCode="0.0%">
                  <c:v>0.11978543563068939</c:v>
                </c:pt>
                <c:pt idx="600" formatCode="0.0%">
                  <c:v>0.11381404421326408</c:v>
                </c:pt>
                <c:pt idx="601" formatCode="0.0%">
                  <c:v>0.11411763529058704</c:v>
                </c:pt>
                <c:pt idx="602" formatCode="0.0%">
                  <c:v>0.11846964089226759</c:v>
                </c:pt>
                <c:pt idx="603" formatCode="0.0%">
                  <c:v>0.10338941682504753</c:v>
                </c:pt>
                <c:pt idx="604" formatCode="0.0%">
                  <c:v>0.10338941682504753</c:v>
                </c:pt>
                <c:pt idx="605" formatCode="0.0%">
                  <c:v>0.10338941682504753</c:v>
                </c:pt>
                <c:pt idx="606" formatCode="0.0%">
                  <c:v>7.9503851155346722E-2</c:v>
                </c:pt>
                <c:pt idx="607" formatCode="0.0%">
                  <c:v>7.3532459737921413E-2</c:v>
                </c:pt>
                <c:pt idx="608" formatCode="0.0%">
                  <c:v>5.9182954886465924E-2</c:v>
                </c:pt>
                <c:pt idx="609" formatCode="0.0%">
                  <c:v>5.6934080224067145E-2</c:v>
                </c:pt>
                <c:pt idx="610" formatCode="0.0%">
                  <c:v>6.6447834350305185E-2</c:v>
                </c:pt>
                <c:pt idx="611" formatCode="0.0%">
                  <c:v>6.6447834350305185E-2</c:v>
                </c:pt>
                <c:pt idx="612" formatCode="0.0%">
                  <c:v>6.6447834350305185E-2</c:v>
                </c:pt>
                <c:pt idx="613" formatCode="0.0%">
                  <c:v>5.8654696408922714E-2</c:v>
                </c:pt>
                <c:pt idx="614" formatCode="0.0%">
                  <c:v>5.5517155146543901E-2</c:v>
                </c:pt>
                <c:pt idx="615" formatCode="0.0%">
                  <c:v>5.4909872961888623E-2</c:v>
                </c:pt>
                <c:pt idx="616" formatCode="0.0%">
                  <c:v>6.4524857457237197E-2</c:v>
                </c:pt>
                <c:pt idx="617" formatCode="0.0%">
                  <c:v>7.8491747524257249E-2</c:v>
                </c:pt>
                <c:pt idx="618" formatCode="0.0%">
                  <c:v>7.8491747524257249E-2</c:v>
                </c:pt>
                <c:pt idx="619" formatCode="0.0%">
                  <c:v>7.8491747524257249E-2</c:v>
                </c:pt>
                <c:pt idx="620" formatCode="0.0%">
                  <c:v>8.2742622786836223E-2</c:v>
                </c:pt>
                <c:pt idx="621" formatCode="0.0%">
                  <c:v>6.4828448534560434E-2</c:v>
                </c:pt>
                <c:pt idx="622" formatCode="0.0%">
                  <c:v>5.0456636991097238E-2</c:v>
                </c:pt>
                <c:pt idx="623" formatCode="0.0%">
                  <c:v>4.6509452835850736E-2</c:v>
                </c:pt>
                <c:pt idx="624" formatCode="0.0%">
                  <c:v>3.0113534060218116E-2</c:v>
                </c:pt>
                <c:pt idx="625" formatCode="0.0%">
                  <c:v>3.0113534060218116E-2</c:v>
                </c:pt>
                <c:pt idx="626" formatCode="0.0%">
                  <c:v>3.0113534060218116E-2</c:v>
                </c:pt>
                <c:pt idx="627" formatCode="0.0%">
                  <c:v>2.7279583875162671E-2</c:v>
                </c:pt>
                <c:pt idx="628" formatCode="0.0%">
                  <c:v>2.0701010303090895E-2</c:v>
                </c:pt>
                <c:pt idx="629" formatCode="0.0%">
                  <c:v>3.5477643292988005E-2</c:v>
                </c:pt>
                <c:pt idx="630" formatCode="0.0%">
                  <c:v>1.3515054516354895E-2</c:v>
                </c:pt>
                <c:pt idx="631" formatCode="0.0%">
                  <c:v>7.3413023907171748E-3</c:v>
                </c:pt>
                <c:pt idx="632" formatCode="0.0%">
                  <c:v>7.3413023907171748E-3</c:v>
                </c:pt>
                <c:pt idx="633" formatCode="0.0%">
                  <c:v>7.3413023907171748E-3</c:v>
                </c:pt>
                <c:pt idx="634" formatCode="0.0%">
                  <c:v>1.3818745623687078E-2</c:v>
                </c:pt>
                <c:pt idx="635" formatCode="0.0%">
                  <c:v>1.3717515254576255E-2</c:v>
                </c:pt>
                <c:pt idx="636" formatCode="0.0%">
                  <c:v>1.1086025807742317E-2</c:v>
                </c:pt>
                <c:pt idx="637" formatCode="0.0%">
                  <c:v>-6.119635890767086E-3</c:v>
                </c:pt>
                <c:pt idx="638" formatCode="0.0%">
                  <c:v>-1.4620186055816759E-2</c:v>
                </c:pt>
                <c:pt idx="639" formatCode="0.0%">
                  <c:v>-1.4620186055816759E-2</c:v>
                </c:pt>
                <c:pt idx="640" formatCode="0.0%">
                  <c:v>-1.4620186055816759E-2</c:v>
                </c:pt>
                <c:pt idx="641" formatCode="0.0%">
                  <c:v>-1.4824447334206071E-4</c:v>
                </c:pt>
                <c:pt idx="642" formatCode="0.0%">
                  <c:v>2.0397319195758712E-2</c:v>
                </c:pt>
                <c:pt idx="643" formatCode="0.0%">
                  <c:v>1.9486445933780062E-2</c:v>
                </c:pt>
                <c:pt idx="644" formatCode="0.0%">
                  <c:v>2.5154246273882137E-2</c:v>
                </c:pt>
                <c:pt idx="645" formatCode="0.0%">
                  <c:v>1.1895768730619096E-2</c:v>
                </c:pt>
                <c:pt idx="646" formatCode="0.0%">
                  <c:v>1.1895768730619096E-2</c:v>
                </c:pt>
                <c:pt idx="647" formatCode="0.0%">
                  <c:v>1.1895768730619096E-2</c:v>
                </c:pt>
                <c:pt idx="648" formatCode="0.0%">
                  <c:v>5.9243773131937875E-3</c:v>
                </c:pt>
                <c:pt idx="649" formatCode="0.0%">
                  <c:v>-8.0426127838350674E-3</c:v>
                </c:pt>
                <c:pt idx="650" formatCode="0.0%">
                  <c:v>-4.8039411823546626E-3</c:v>
                </c:pt>
                <c:pt idx="651" formatCode="0.0%">
                  <c:v>-2.2616785035510532E-2</c:v>
                </c:pt>
                <c:pt idx="652" formatCode="0.0%">
                  <c:v>-1.9699909972992202E-3</c:v>
                </c:pt>
                <c:pt idx="653" formatCode="0.0%">
                  <c:v>-1.9699909972992202E-3</c:v>
                </c:pt>
                <c:pt idx="654" formatCode="0.0%">
                  <c:v>-1.9699909972992202E-3</c:v>
                </c:pt>
                <c:pt idx="655" formatCode="0.0%">
                  <c:v>6.8352505751725799E-3</c:v>
                </c:pt>
                <c:pt idx="656" formatCode="0.0%">
                  <c:v>1.5033209962988821E-2</c:v>
                </c:pt>
                <c:pt idx="657" formatCode="0.0%">
                  <c:v>9.8715614684405754E-3</c:v>
                </c:pt>
                <c:pt idx="658" formatCode="0.0%">
                  <c:v>8.6569970991297387E-3</c:v>
                </c:pt>
                <c:pt idx="659" formatCode="0.0%">
                  <c:v>5.4216264879585195E-5</c:v>
                </c:pt>
                <c:pt idx="660" formatCode="0.0%">
                  <c:v>5.4216264879585195E-5</c:v>
                </c:pt>
                <c:pt idx="661" formatCode="0.0%">
                  <c:v>5.4216264879585195E-5</c:v>
                </c:pt>
                <c:pt idx="662" formatCode="0.0%">
                  <c:v>9.0618185455637948E-3</c:v>
                </c:pt>
                <c:pt idx="663" formatCode="0.0%">
                  <c:v>2.3130039011703473E-2</c:v>
                </c:pt>
                <c:pt idx="664" formatCode="0.0%">
                  <c:v>2.3231269380814296E-2</c:v>
                </c:pt>
                <c:pt idx="665" formatCode="0.0%">
                  <c:v>2.3737321196358893E-2</c:v>
                </c:pt>
                <c:pt idx="666" formatCode="0.0%">
                  <c:v>3.082194658397526E-2</c:v>
                </c:pt>
                <c:pt idx="667" formatCode="0.0%">
                  <c:v>3.082194658397526E-2</c:v>
                </c:pt>
                <c:pt idx="668" formatCode="0.0%">
                  <c:v>3.082194658397526E-2</c:v>
                </c:pt>
                <c:pt idx="669" formatCode="0.0%">
                  <c:v>3.9957187156146858E-2</c:v>
                </c:pt>
                <c:pt idx="670" formatCode="0.0%">
                  <c:v>3.8513954186255861E-2</c:v>
                </c:pt>
                <c:pt idx="671" formatCode="0.0%">
                  <c:v>3.8109032709812848E-2</c:v>
                </c:pt>
                <c:pt idx="672" formatCode="0.0%">
                  <c:v>2.4445733720116037E-2</c:v>
                </c:pt>
                <c:pt idx="673" formatCode="0.0%">
                  <c:v>2.707722316695026E-2</c:v>
                </c:pt>
                <c:pt idx="674" formatCode="0.0%">
                  <c:v>2.707722316695026E-2</c:v>
                </c:pt>
                <c:pt idx="675" formatCode="0.0%">
                  <c:v>2.707722316695026E-2</c:v>
                </c:pt>
                <c:pt idx="676" formatCode="0.0%">
                  <c:v>2.6469940982294844E-2</c:v>
                </c:pt>
                <c:pt idx="677" formatCode="0.0%">
                  <c:v>3.9424827448234508E-2</c:v>
                </c:pt>
                <c:pt idx="678" formatCode="0.0%">
                  <c:v>3.5781234370310958E-2</c:v>
                </c:pt>
                <c:pt idx="679" formatCode="0.0%">
                  <c:v>5.8654696408922714E-2</c:v>
                </c:pt>
                <c:pt idx="680" formatCode="0.0%">
                  <c:v>6.4221166349905018E-2</c:v>
                </c:pt>
                <c:pt idx="681" formatCode="0.0%">
                  <c:v>6.4221166349905018E-2</c:v>
                </c:pt>
                <c:pt idx="682" formatCode="0.0%">
                  <c:v>6.4221166349905018E-2</c:v>
                </c:pt>
                <c:pt idx="683" formatCode="0.0%">
                  <c:v>6.5536961088326531E-2</c:v>
                </c:pt>
                <c:pt idx="684" formatCode="0.0%">
                  <c:v>6.8674402320696257E-2</c:v>
                </c:pt>
                <c:pt idx="685" formatCode="0.0%">
                  <c:v>5.8958287486245806E-2</c:v>
                </c:pt>
                <c:pt idx="686" formatCode="0.0%">
                  <c:v>5.3189356807042003E-2</c:v>
                </c:pt>
                <c:pt idx="687" formatCode="0.0%">
                  <c:v>5.8755826748024445E-2</c:v>
                </c:pt>
                <c:pt idx="688" formatCode="0.0%">
                  <c:v>5.8755826748024445E-2</c:v>
                </c:pt>
                <c:pt idx="689" formatCode="0.0%">
                  <c:v>5.8755826748024445E-2</c:v>
                </c:pt>
                <c:pt idx="690" formatCode="0.0%">
                  <c:v>6.6852655796739102E-2</c:v>
                </c:pt>
                <c:pt idx="691" formatCode="0.0%">
                  <c:v>6.9484145243573034E-2</c:v>
                </c:pt>
                <c:pt idx="692" formatCode="0.0%">
                  <c:v>7.6163949184755497E-2</c:v>
                </c:pt>
                <c:pt idx="693" formatCode="0.0%">
                  <c:v>7.4443433029909023E-2</c:v>
                </c:pt>
                <c:pt idx="694" formatCode="0.0%">
                  <c:v>7.5759127738321441E-2</c:v>
                </c:pt>
                <c:pt idx="695" formatCode="0.0%">
                  <c:v>7.5759127738321441E-2</c:v>
                </c:pt>
                <c:pt idx="696" formatCode="0.0%">
                  <c:v>7.5759127738321441E-2</c:v>
                </c:pt>
                <c:pt idx="697" formatCode="0.0%">
                  <c:v>6.8472041612483714E-2</c:v>
                </c:pt>
                <c:pt idx="698" formatCode="0.0%">
                  <c:v>6.6852655796739102E-2</c:v>
                </c:pt>
                <c:pt idx="699" formatCode="0.0%">
                  <c:v>9.2488046413924108E-2</c:v>
                </c:pt>
                <c:pt idx="700" formatCode="0.0%">
                  <c:v>7.9200260078023346E-2</c:v>
                </c:pt>
                <c:pt idx="701" formatCode="0.0%">
                  <c:v>7.7985695708712652E-2</c:v>
                </c:pt>
                <c:pt idx="702" formatCode="0.0%">
                  <c:v>7.7985695708712652E-2</c:v>
                </c:pt>
                <c:pt idx="703" formatCode="0.0%">
                  <c:v>7.7985695708712652E-2</c:v>
                </c:pt>
                <c:pt idx="704" formatCode="0.0%">
                  <c:v>7.0091327398219508E-2</c:v>
                </c:pt>
                <c:pt idx="705" formatCode="0.0%">
                  <c:v>6.1184955486645973E-2</c:v>
                </c:pt>
                <c:pt idx="706" formatCode="0.0%">
                  <c:v>5.561838551565472E-2</c:v>
                </c:pt>
                <c:pt idx="707" formatCode="0.0%">
                  <c:v>5.9059517855356632E-2</c:v>
                </c:pt>
                <c:pt idx="708" formatCode="0.0%">
                  <c:v>5.7946183855156479E-2</c:v>
                </c:pt>
                <c:pt idx="709" formatCode="0.0%">
                  <c:v>5.7946183855156479E-2</c:v>
                </c:pt>
                <c:pt idx="710" formatCode="0.0%">
                  <c:v>5.7946183855156479E-2</c:v>
                </c:pt>
                <c:pt idx="711" formatCode="0.0%">
                  <c:v>5.1165149544863481E-2</c:v>
                </c:pt>
                <c:pt idx="712" formatCode="0.0%">
                  <c:v>7.3431329398819536E-2</c:v>
                </c:pt>
                <c:pt idx="713" formatCode="0.0%">
                  <c:v>6.6650195058517603E-2</c:v>
                </c:pt>
                <c:pt idx="714" formatCode="0.0%">
                  <c:v>3.7299389816945167E-2</c:v>
                </c:pt>
                <c:pt idx="715" formatCode="0.0%">
                  <c:v>2.5559067720316193E-2</c:v>
                </c:pt>
                <c:pt idx="716" formatCode="0.0%">
                  <c:v>2.5559067720316193E-2</c:v>
                </c:pt>
                <c:pt idx="717" formatCode="0.0%">
                  <c:v>2.5559067720316193E-2</c:v>
                </c:pt>
                <c:pt idx="718" formatCode="0.0%">
                  <c:v>2.6571171351405382E-2</c:v>
                </c:pt>
                <c:pt idx="719" formatCode="0.0%">
                  <c:v>1.7057417225167626E-2</c:v>
                </c:pt>
                <c:pt idx="720" formatCode="0.0%">
                  <c:v>2.6065119535860787E-2</c:v>
                </c:pt>
                <c:pt idx="721" formatCode="0.0%">
                  <c:v>1.5134440332099644E-2</c:v>
                </c:pt>
                <c:pt idx="722" formatCode="0.0%">
                  <c:v>1.6045313594078153E-2</c:v>
                </c:pt>
                <c:pt idx="723" formatCode="0.0%">
                  <c:v>1.6045313594078153E-2</c:v>
                </c:pt>
                <c:pt idx="724" formatCode="0.0%">
                  <c:v>1.6045313594078153E-2</c:v>
                </c:pt>
                <c:pt idx="725" formatCode="0.0%">
                  <c:v>1.6045313594078153E-2</c:v>
                </c:pt>
                <c:pt idx="726" formatCode="0.0%">
                  <c:v>1.5842952885865742E-2</c:v>
                </c:pt>
                <c:pt idx="727" formatCode="0.0%">
                  <c:v>1.483084925477641E-2</c:v>
                </c:pt>
                <c:pt idx="728" formatCode="0.0%">
                  <c:v>1.8879163749124784E-2</c:v>
                </c:pt>
                <c:pt idx="729" formatCode="0.0%">
                  <c:v>1.1086025807742317E-2</c:v>
                </c:pt>
                <c:pt idx="730" formatCode="0.0%">
                  <c:v>1.1740922276682823E-2</c:v>
                </c:pt>
                <c:pt idx="731" formatCode="0.0%">
                  <c:v>1.1740922276682823E-2</c:v>
                </c:pt>
                <c:pt idx="732" formatCode="0.0%">
                  <c:v>1.1740922276682823E-2</c:v>
                </c:pt>
                <c:pt idx="733" formatCode="0.0%">
                  <c:v>2.474932479743927E-2</c:v>
                </c:pt>
                <c:pt idx="734" formatCode="0.0%">
                  <c:v>3.0113534060218116E-2</c:v>
                </c:pt>
                <c:pt idx="735" formatCode="0.0%">
                  <c:v>2.5722016604981662E-2</c:v>
                </c:pt>
                <c:pt idx="736" formatCode="0.0%">
                  <c:v>2.6773532059617793E-2</c:v>
                </c:pt>
                <c:pt idx="737" formatCode="0.0%">
                  <c:v>2.6773532059617793E-2</c:v>
                </c:pt>
                <c:pt idx="738" formatCode="0.0%">
                  <c:v>2.6773532059617793E-2</c:v>
                </c:pt>
                <c:pt idx="739" formatCode="0.0%">
                  <c:v>2.6773532059617793E-2</c:v>
                </c:pt>
                <c:pt idx="740" formatCode="0.0%">
                  <c:v>3.5882464739421777E-2</c:v>
                </c:pt>
                <c:pt idx="741" formatCode="0.0%">
                  <c:v>4.4485245573672214E-2</c:v>
                </c:pt>
                <c:pt idx="742" formatCode="0.0%">
                  <c:v>4.9343403020906319E-2</c:v>
                </c:pt>
                <c:pt idx="743" formatCode="0.0%">
                  <c:v>5.0153045913774293E-2</c:v>
                </c:pt>
                <c:pt idx="744" formatCode="0.0%">
                  <c:v>5.0153045913774293E-2</c:v>
                </c:pt>
                <c:pt idx="745" formatCode="0.0%">
                  <c:v>5.0153045913774293E-2</c:v>
                </c:pt>
                <c:pt idx="746" formatCode="0.0%">
                  <c:v>5.5415924777433359E-2</c:v>
                </c:pt>
                <c:pt idx="747" formatCode="0.0%">
                  <c:v>5.6023206962088491E-2</c:v>
                </c:pt>
                <c:pt idx="748" formatCode="0.0%">
                  <c:v>5.9059517855356632E-2</c:v>
                </c:pt>
                <c:pt idx="749" formatCode="0.0%">
                  <c:v>4.1145343603080843E-2</c:v>
                </c:pt>
                <c:pt idx="750" formatCode="0.0%">
                  <c:v>4.2967190157046954E-2</c:v>
                </c:pt>
                <c:pt idx="751" formatCode="0.0%">
                  <c:v>4.2967190157046954E-2</c:v>
                </c:pt>
                <c:pt idx="752" formatCode="0.0%">
                  <c:v>4.2967190157046954E-2</c:v>
                </c:pt>
                <c:pt idx="753" formatCode="0.0%">
                  <c:v>5.7743823146944068E-2</c:v>
                </c:pt>
                <c:pt idx="754" formatCode="0.0%">
                  <c:v>5.4606281884565393E-2</c:v>
                </c:pt>
                <c:pt idx="755" formatCode="0.0%">
                  <c:v>4.155016504951476E-2</c:v>
                </c:pt>
                <c:pt idx="756" formatCode="0.0%">
                  <c:v>5.5213564069220809E-2</c:v>
                </c:pt>
                <c:pt idx="757" formatCode="0.0%">
                  <c:v>6.0172851855556646E-2</c:v>
                </c:pt>
                <c:pt idx="758" formatCode="0.0%">
                  <c:v>6.0172851855556646E-2</c:v>
                </c:pt>
                <c:pt idx="759" formatCode="0.0%">
                  <c:v>6.0172851855556646E-2</c:v>
                </c:pt>
                <c:pt idx="760" formatCode="0.0%">
                  <c:v>5.2508152445733744E-2</c:v>
                </c:pt>
                <c:pt idx="761" formatCode="0.0%">
                  <c:v>6.1148444533360047E-2</c:v>
                </c:pt>
                <c:pt idx="762" formatCode="0.0%">
                  <c:v>6.5811243373011766E-2</c:v>
                </c:pt>
                <c:pt idx="763" formatCode="0.0%">
                  <c:v>7.7074822446733859E-2</c:v>
                </c:pt>
                <c:pt idx="764" formatCode="0.0%">
                  <c:v>7.8390617185155664E-2</c:v>
                </c:pt>
                <c:pt idx="765" formatCode="0.0%">
                  <c:v>7.8390617185155664E-2</c:v>
                </c:pt>
                <c:pt idx="766" formatCode="0.0%">
                  <c:v>7.8390617185155664E-2</c:v>
                </c:pt>
                <c:pt idx="767" formatCode="0.0%">
                  <c:v>7.5253075922776705E-2</c:v>
                </c:pt>
                <c:pt idx="768" formatCode="0.0%">
                  <c:v>7.7378513554066053E-2</c:v>
                </c:pt>
                <c:pt idx="769" formatCode="0.0%">
                  <c:v>8.3451035310593225E-2</c:v>
                </c:pt>
                <c:pt idx="770" formatCode="0.0%">
                  <c:v>7.9200260078023346E-2</c:v>
                </c:pt>
                <c:pt idx="771" formatCode="0.0%">
                  <c:v>7.2419225767730355E-2</c:v>
                </c:pt>
                <c:pt idx="772" formatCode="0.0%">
                  <c:v>7.2419225767730355E-2</c:v>
                </c:pt>
                <c:pt idx="773" formatCode="0.0%">
                  <c:v>7.2419225767730355E-2</c:v>
                </c:pt>
                <c:pt idx="774" formatCode="0.0%">
                  <c:v>7.9200260078023346E-2</c:v>
                </c:pt>
                <c:pt idx="775" formatCode="0.0%">
                  <c:v>8.2641392417725404E-2</c:v>
                </c:pt>
                <c:pt idx="776" formatCode="0.0%">
                  <c:v>8.092077623286982E-2</c:v>
                </c:pt>
                <c:pt idx="777" formatCode="0.0%">
                  <c:v>7.7580874262278596E-2</c:v>
                </c:pt>
                <c:pt idx="778" formatCode="0.0%">
                  <c:v>7.18119435830748E-2</c:v>
                </c:pt>
                <c:pt idx="779" formatCode="0.0%">
                  <c:v>7.18119435830748E-2</c:v>
                </c:pt>
                <c:pt idx="780" formatCode="0.0%">
                  <c:v>7.18119435830748E-2</c:v>
                </c:pt>
                <c:pt idx="781" formatCode="0.0%">
                  <c:v>7.0597379213764244E-2</c:v>
                </c:pt>
                <c:pt idx="782" formatCode="0.0%">
                  <c:v>6.1690907272181621E-2</c:v>
                </c:pt>
                <c:pt idx="783" formatCode="0.0%">
                  <c:v>5.5517155146543901E-2</c:v>
                </c:pt>
                <c:pt idx="784" formatCode="0.0%">
                  <c:v>6.5334500350105171E-2</c:v>
                </c:pt>
                <c:pt idx="785" formatCode="0.0%">
                  <c:v>5.1468740622186718E-2</c:v>
                </c:pt>
                <c:pt idx="786" formatCode="0.0%">
                  <c:v>5.1468740622186718E-2</c:v>
                </c:pt>
                <c:pt idx="787" formatCode="0.0%">
                  <c:v>5.1468740622186718E-2</c:v>
                </c:pt>
                <c:pt idx="788" formatCode="0.0%">
                  <c:v>5.8528158447534367E-2</c:v>
                </c:pt>
                <c:pt idx="789" formatCode="0.0%">
                  <c:v>5.0681304391317496E-2</c:v>
                </c:pt>
                <c:pt idx="790" formatCode="0.0%">
                  <c:v>4.5497349204761409E-2</c:v>
                </c:pt>
                <c:pt idx="791" formatCode="0.0%">
                  <c:v>4.5092527758327637E-2</c:v>
                </c:pt>
                <c:pt idx="792" formatCode="0.0%">
                  <c:v>5.9970391117335285E-2</c:v>
                </c:pt>
                <c:pt idx="793" formatCode="0.0%">
                  <c:v>5.9970391117335285E-2</c:v>
                </c:pt>
                <c:pt idx="794" formatCode="0.0%">
                  <c:v>5.9970391117335285E-2</c:v>
                </c:pt>
                <c:pt idx="795" formatCode="0.0%">
                  <c:v>6.6144143242973005E-2</c:v>
                </c:pt>
                <c:pt idx="796" formatCode="0.0%">
                  <c:v>5.8755826748024445E-2</c:v>
                </c:pt>
                <c:pt idx="797" formatCode="0.0%">
                  <c:v>5.7946183855156479E-2</c:v>
                </c:pt>
                <c:pt idx="798" formatCode="0.0%">
                  <c:v>6.0780034010203113E-2</c:v>
                </c:pt>
                <c:pt idx="799" formatCode="0.0%">
                  <c:v>3.0518355506651888E-2</c:v>
                </c:pt>
                <c:pt idx="800" formatCode="0.0%">
                  <c:v>3.0518355506651888E-2</c:v>
                </c:pt>
                <c:pt idx="801" formatCode="0.0%">
                  <c:v>3.0518355506651888E-2</c:v>
                </c:pt>
                <c:pt idx="802" formatCode="0.0%">
                  <c:v>2.3636090827248209E-2</c:v>
                </c:pt>
                <c:pt idx="803" formatCode="0.0%">
                  <c:v>3.2643693107932421E-2</c:v>
                </c:pt>
                <c:pt idx="804" formatCode="0.0%">
                  <c:v>3.0214664399319701E-2</c:v>
                </c:pt>
                <c:pt idx="805" formatCode="0.0%">
                  <c:v>3.0417125137541346E-2</c:v>
                </c:pt>
                <c:pt idx="806" formatCode="0.0%">
                  <c:v>3.7400620186055701E-2</c:v>
                </c:pt>
                <c:pt idx="807" formatCode="0.0%">
                  <c:v>3.7400620186055701E-2</c:v>
                </c:pt>
                <c:pt idx="808" formatCode="0.0%">
                  <c:v>3.7400620186055701E-2</c:v>
                </c:pt>
                <c:pt idx="809" formatCode="0.0%">
                  <c:v>4.3473141942582887E-2</c:v>
                </c:pt>
                <c:pt idx="810" formatCode="0.0%">
                  <c:v>4.4080424127238303E-2</c:v>
                </c:pt>
                <c:pt idx="811" formatCode="0.0%">
                  <c:v>4.9748224467340237E-2</c:v>
                </c:pt>
                <c:pt idx="812" formatCode="0.0%">
                  <c:v>4.3270781234370191E-2</c:v>
                </c:pt>
                <c:pt idx="813" formatCode="0.0%">
                  <c:v>3.7501850555166527E-2</c:v>
                </c:pt>
                <c:pt idx="814" formatCode="0.0%">
                  <c:v>3.7501850555166527E-2</c:v>
                </c:pt>
                <c:pt idx="815" formatCode="0.0%">
                  <c:v>3.7501850555166527E-2</c:v>
                </c:pt>
                <c:pt idx="816" formatCode="0.0%">
                  <c:v>4.8027608282484806E-2</c:v>
                </c:pt>
                <c:pt idx="817" formatCode="0.0%">
                  <c:v>4.0234470341102335E-2</c:v>
                </c:pt>
                <c:pt idx="818" formatCode="0.0%">
                  <c:v>4.9343403020906319E-2</c:v>
                </c:pt>
                <c:pt idx="819" formatCode="0.0%">
                  <c:v>5.0254276282884834E-2</c:v>
                </c:pt>
                <c:pt idx="820" formatCode="0.0%">
                  <c:v>6.7397119135740702E-2</c:v>
                </c:pt>
                <c:pt idx="821" formatCode="0.0%">
                  <c:v>6.7397119135740702E-2</c:v>
                </c:pt>
                <c:pt idx="822" formatCode="0.0%">
                  <c:v>6.7397119135740702E-2</c:v>
                </c:pt>
                <c:pt idx="823" formatCode="0.0%">
                  <c:v>6.5435730719215712E-2</c:v>
                </c:pt>
                <c:pt idx="824" formatCode="0.0%">
                  <c:v>6.2804241272381767E-2</c:v>
                </c:pt>
                <c:pt idx="825" formatCode="0.0%">
                  <c:v>5.6630489146743915E-2</c:v>
                </c:pt>
                <c:pt idx="826" formatCode="0.0%">
                  <c:v>5.6630489146743915E-2</c:v>
                </c:pt>
                <c:pt idx="827" formatCode="0.0%">
                  <c:v>5.6630489146743915E-2</c:v>
                </c:pt>
                <c:pt idx="828" formatCode="0.0%">
                  <c:v>5.6630489146743915E-2</c:v>
                </c:pt>
                <c:pt idx="829" formatCode="0.0%">
                  <c:v>5.6630489146743915E-2</c:v>
                </c:pt>
                <c:pt idx="830" formatCode="0.0%">
                  <c:v>5.6630489146743915E-2</c:v>
                </c:pt>
                <c:pt idx="831" formatCode="0.0%">
                  <c:v>6.2500650195058682E-2</c:v>
                </c:pt>
                <c:pt idx="832" formatCode="0.0%">
                  <c:v>6.1690907272181621E-2</c:v>
                </c:pt>
                <c:pt idx="833" formatCode="0.0%">
                  <c:v>5.7642592777833242E-2</c:v>
                </c:pt>
                <c:pt idx="834" formatCode="0.0%">
                  <c:v>6.5638091427428116E-2</c:v>
                </c:pt>
                <c:pt idx="835" formatCode="0.0%">
                  <c:v>6.5638091427428116E-2</c:v>
                </c:pt>
                <c:pt idx="836" formatCode="0.0%">
                  <c:v>6.5638091427428116E-2</c:v>
                </c:pt>
                <c:pt idx="837" formatCode="0.0%">
                  <c:v>6.5638091427428116E-2</c:v>
                </c:pt>
                <c:pt idx="838" formatCode="0.0%">
                  <c:v>6.9787736320896271E-2</c:v>
                </c:pt>
                <c:pt idx="839" formatCode="0.0%">
                  <c:v>6.4727218165449754E-2</c:v>
                </c:pt>
                <c:pt idx="840" formatCode="0.0%">
                  <c:v>6.5435730719215712E-2</c:v>
                </c:pt>
                <c:pt idx="841" formatCode="0.0%">
                  <c:v>6.7864759427828283E-2</c:v>
                </c:pt>
                <c:pt idx="842" formatCode="0.0%">
                  <c:v>6.7864759427828283E-2</c:v>
                </c:pt>
                <c:pt idx="843" formatCode="0.0%">
                  <c:v>6.7864759427828283E-2</c:v>
                </c:pt>
                <c:pt idx="844" formatCode="0.0%">
                  <c:v>6.6751425427628283E-2</c:v>
                </c:pt>
                <c:pt idx="845" formatCode="0.0%">
                  <c:v>6.3310293087926364E-2</c:v>
                </c:pt>
                <c:pt idx="846" formatCode="0.0%">
                  <c:v>4.5902270681204414E-2</c:v>
                </c:pt>
                <c:pt idx="847" formatCode="0.0%">
                  <c:v>5.8148644593378124E-2</c:v>
                </c:pt>
                <c:pt idx="848" formatCode="0.0%">
                  <c:v>7.2317995398619536E-2</c:v>
                </c:pt>
                <c:pt idx="849" formatCode="0.0%">
                  <c:v>7.2317995398619536E-2</c:v>
                </c:pt>
                <c:pt idx="850" formatCode="0.0%">
                  <c:v>7.1174352305691857E-2</c:v>
                </c:pt>
                <c:pt idx="851" formatCode="0.0%">
                  <c:v>8.0414724417325237E-2</c:v>
                </c:pt>
                <c:pt idx="852" formatCode="0.0%">
                  <c:v>6.5030909272781934E-2</c:v>
                </c:pt>
                <c:pt idx="853" formatCode="0.0%">
                  <c:v>6.5030909272781934E-2</c:v>
                </c:pt>
                <c:pt idx="854" formatCode="0.0%">
                  <c:v>5.7844953486045653E-2</c:v>
                </c:pt>
                <c:pt idx="855" formatCode="0.0%">
                  <c:v>5.7844953486045653E-2</c:v>
                </c:pt>
                <c:pt idx="856" formatCode="0.0%">
                  <c:v>5.7844953486045653E-2</c:v>
                </c:pt>
                <c:pt idx="857" formatCode="0.0%">
                  <c:v>5.7844953486045653E-2</c:v>
                </c:pt>
                <c:pt idx="858" formatCode="0.0%">
                  <c:v>6.897809342802845E-2</c:v>
                </c:pt>
                <c:pt idx="859" formatCode="0.0%">
                  <c:v>7.2520456136841174E-2</c:v>
                </c:pt>
                <c:pt idx="860" formatCode="0.0%">
                  <c:v>7.2419225767730355E-2</c:v>
                </c:pt>
                <c:pt idx="861" formatCode="0.0%">
                  <c:v>7.6973592077623318E-2</c:v>
                </c:pt>
                <c:pt idx="862" formatCode="0.0%">
                  <c:v>8.1224467340202014E-2</c:v>
                </c:pt>
                <c:pt idx="863" formatCode="0.0%">
                  <c:v>8.1224467340202014E-2</c:v>
                </c:pt>
                <c:pt idx="864" formatCode="0.0%">
                  <c:v>8.1224467340202014E-2</c:v>
                </c:pt>
                <c:pt idx="865" formatCode="0.0%">
                  <c:v>8.2236570971291487E-2</c:v>
                </c:pt>
                <c:pt idx="866" formatCode="0.0%">
                  <c:v>8.2742622786836223E-2</c:v>
                </c:pt>
                <c:pt idx="867" formatCode="0.0%">
                  <c:v>8.6284985495648669E-2</c:v>
                </c:pt>
                <c:pt idx="868" formatCode="0.0%">
                  <c:v>8.6284985495648669E-2</c:v>
                </c:pt>
                <c:pt idx="869" formatCode="0.0%">
                  <c:v>8.6284985495648669E-2</c:v>
                </c:pt>
                <c:pt idx="870" formatCode="0.0%">
                  <c:v>8.6284985495648669E-2</c:v>
                </c:pt>
                <c:pt idx="871" formatCode="0.0%">
                  <c:v>8.6284985495648669E-2</c:v>
                </c:pt>
                <c:pt idx="872" formatCode="0.0%">
                  <c:v>0.10541362408722606</c:v>
                </c:pt>
                <c:pt idx="873" formatCode="0.0%">
                  <c:v>9.9442232669801026E-2</c:v>
                </c:pt>
                <c:pt idx="874" formatCode="0.0%">
                  <c:v>8.2438931679504043E-2</c:v>
                </c:pt>
                <c:pt idx="875" formatCode="0.0%">
                  <c:v>9.4078123437031133E-2</c:v>
                </c:pt>
                <c:pt idx="876" formatCode="0.0%">
                  <c:v>0.11006922076622999</c:v>
                </c:pt>
                <c:pt idx="877" formatCode="0.0%">
                  <c:v>0.11006922076622999</c:v>
                </c:pt>
                <c:pt idx="878" formatCode="0.0%">
                  <c:v>0.11006922076622999</c:v>
                </c:pt>
                <c:pt idx="879" formatCode="0.0%">
                  <c:v>0.11006922076622999</c:v>
                </c:pt>
                <c:pt idx="880" formatCode="0.0%">
                  <c:v>0.1084499349804942</c:v>
                </c:pt>
                <c:pt idx="881" formatCode="0.0%">
                  <c:v>0.10201190357107137</c:v>
                </c:pt>
                <c:pt idx="882" formatCode="0.0%">
                  <c:v>0.10015064519355804</c:v>
                </c:pt>
                <c:pt idx="883" formatCode="0.0%">
                  <c:v>0.1163443032909872</c:v>
                </c:pt>
                <c:pt idx="884" formatCode="0.0%">
                  <c:v>0.1163443032909872</c:v>
                </c:pt>
                <c:pt idx="885" formatCode="0.0%">
                  <c:v>0.1163443032909872</c:v>
                </c:pt>
                <c:pt idx="886" formatCode="0.0%">
                  <c:v>0.1163443032909872</c:v>
                </c:pt>
                <c:pt idx="887" formatCode="0.0%">
                  <c:v>0.12454226267880372</c:v>
                </c:pt>
                <c:pt idx="888" formatCode="0.0%">
                  <c:v>0.11867210163048923</c:v>
                </c:pt>
                <c:pt idx="889" formatCode="0.0%">
                  <c:v>0.11057527258177459</c:v>
                </c:pt>
                <c:pt idx="890" formatCode="0.0%">
                  <c:v>0.11978543563068939</c:v>
                </c:pt>
                <c:pt idx="891" formatCode="0.0%">
                  <c:v>0.11978543563068939</c:v>
                </c:pt>
                <c:pt idx="892" formatCode="0.0%">
                  <c:v>0.11978543563068939</c:v>
                </c:pt>
                <c:pt idx="893" formatCode="0.0%">
                  <c:v>0.11857087126137841</c:v>
                </c:pt>
                <c:pt idx="894" formatCode="0.0%">
                  <c:v>0.12727488246473939</c:v>
                </c:pt>
                <c:pt idx="895" formatCode="0.0%">
                  <c:v>0.12433980194058208</c:v>
                </c:pt>
                <c:pt idx="896" formatCode="0.0%">
                  <c:v>0.12282164649394815</c:v>
                </c:pt>
                <c:pt idx="897" formatCode="0.0%">
                  <c:v>0.13112093628088431</c:v>
                </c:pt>
                <c:pt idx="898" formatCode="0.0%">
                  <c:v>0.13112093628088431</c:v>
                </c:pt>
                <c:pt idx="899" formatCode="0.0%">
                  <c:v>0.13112093628088431</c:v>
                </c:pt>
                <c:pt idx="900" formatCode="0.0%">
                  <c:v>0.12079743923176962</c:v>
                </c:pt>
                <c:pt idx="901" formatCode="0.0%">
                  <c:v>0.11442122636791055</c:v>
                </c:pt>
                <c:pt idx="902" formatCode="0.0%">
                  <c:v>0.10834870461138336</c:v>
                </c:pt>
                <c:pt idx="903" formatCode="0.0%">
                  <c:v>0.10480634190257092</c:v>
                </c:pt>
                <c:pt idx="904" formatCode="0.0%">
                  <c:v>0.10571721516454929</c:v>
                </c:pt>
                <c:pt idx="905" formatCode="0.0%">
                  <c:v>0.10571721516454929</c:v>
                </c:pt>
                <c:pt idx="906" formatCode="0.0%">
                  <c:v>0.10571721516454929</c:v>
                </c:pt>
                <c:pt idx="907" formatCode="0.0%">
                  <c:v>0.10419905971791536</c:v>
                </c:pt>
                <c:pt idx="908" formatCode="0.0%">
                  <c:v>9.6203461038311386E-2</c:v>
                </c:pt>
                <c:pt idx="909" formatCode="0.0%">
                  <c:v>0.108146243873162</c:v>
                </c:pt>
                <c:pt idx="910" formatCode="0.0%">
                  <c:v>0.11087896368910677</c:v>
                </c:pt>
                <c:pt idx="911" formatCode="0.0%">
                  <c:v>0.1242800840252076</c:v>
                </c:pt>
                <c:pt idx="912" formatCode="0.0%">
                  <c:v>0.1242800840252076</c:v>
                </c:pt>
                <c:pt idx="913" formatCode="0.0%">
                  <c:v>0.1242800840252076</c:v>
                </c:pt>
                <c:pt idx="914" formatCode="0.0%">
                  <c:v>0.12474462338701614</c:v>
                </c:pt>
                <c:pt idx="915" formatCode="0.0%">
                  <c:v>0.12565559667900358</c:v>
                </c:pt>
                <c:pt idx="916" formatCode="0.0%">
                  <c:v>0.12676883064919481</c:v>
                </c:pt>
                <c:pt idx="917" formatCode="0.0%">
                  <c:v>0.11249824947484229</c:v>
                </c:pt>
                <c:pt idx="918" formatCode="0.0%">
                  <c:v>0.10925957787336202</c:v>
                </c:pt>
                <c:pt idx="919" formatCode="0.0%">
                  <c:v>0.10925957787336202</c:v>
                </c:pt>
                <c:pt idx="920" formatCode="0.0%">
                  <c:v>0.10925957787336202</c:v>
                </c:pt>
                <c:pt idx="921" formatCode="0.0%">
                  <c:v>0.10672931879563861</c:v>
                </c:pt>
                <c:pt idx="922" formatCode="0.0%">
                  <c:v>0.108146243873162</c:v>
                </c:pt>
                <c:pt idx="923" formatCode="0.0%">
                  <c:v>0.11695148544563366</c:v>
                </c:pt>
                <c:pt idx="924" formatCode="0.0%">
                  <c:v>0.1165466639991999</c:v>
                </c:pt>
                <c:pt idx="925" formatCode="0.0%">
                  <c:v>0.12019025707712316</c:v>
                </c:pt>
                <c:pt idx="926" formatCode="0.0%">
                  <c:v>0.12019025707712316</c:v>
                </c:pt>
                <c:pt idx="927" formatCode="0.0%">
                  <c:v>0.12019025707712316</c:v>
                </c:pt>
                <c:pt idx="928" formatCode="0.0%">
                  <c:v>0.1165466639991999</c:v>
                </c:pt>
                <c:pt idx="929" formatCode="0.0%">
                  <c:v>0.11857087126137841</c:v>
                </c:pt>
                <c:pt idx="930" formatCode="0.0%">
                  <c:v>0.12940032009602873</c:v>
                </c:pt>
                <c:pt idx="931" formatCode="0.0%">
                  <c:v>0.12342892867860371</c:v>
                </c:pt>
                <c:pt idx="932" formatCode="0.0%">
                  <c:v>0.12676883064919481</c:v>
                </c:pt>
                <c:pt idx="933" formatCode="0.0%">
                  <c:v>0.12676883064919481</c:v>
                </c:pt>
                <c:pt idx="934" formatCode="0.0%">
                  <c:v>0.12676883064919481</c:v>
                </c:pt>
                <c:pt idx="935" formatCode="0.0%">
                  <c:v>0.13223417025107523</c:v>
                </c:pt>
                <c:pt idx="936" formatCode="0.0%">
                  <c:v>0.13891407422226679</c:v>
                </c:pt>
                <c:pt idx="937" formatCode="0.0%">
                  <c:v>0.13274022206661981</c:v>
                </c:pt>
                <c:pt idx="938" formatCode="0.0%">
                  <c:v>0.14377213163949179</c:v>
                </c:pt>
                <c:pt idx="939" formatCode="0.0%">
                  <c:v>0.13840802240672218</c:v>
                </c:pt>
                <c:pt idx="940" formatCode="0.0%">
                  <c:v>0.13840802240672218</c:v>
                </c:pt>
                <c:pt idx="941" formatCode="0.0%">
                  <c:v>0.13840802240672218</c:v>
                </c:pt>
                <c:pt idx="942" formatCode="0.0%">
                  <c:v>0.14245133540062027</c:v>
                </c:pt>
                <c:pt idx="943" formatCode="0.0%">
                  <c:v>0.14033099929978987</c:v>
                </c:pt>
                <c:pt idx="944" formatCode="0.0%">
                  <c:v>0.13314504351305387</c:v>
                </c:pt>
                <c:pt idx="945" formatCode="0.0%">
                  <c:v>0.1217084125237571</c:v>
                </c:pt>
                <c:pt idx="946" formatCode="0.0%">
                  <c:v>0.12039261778533557</c:v>
                </c:pt>
                <c:pt idx="947" formatCode="0.0%">
                  <c:v>0.12039261778533557</c:v>
                </c:pt>
                <c:pt idx="948" formatCode="0.0%">
                  <c:v>0.12039261778533557</c:v>
                </c:pt>
                <c:pt idx="949" formatCode="0.0%">
                  <c:v>0.12525067520256086</c:v>
                </c:pt>
                <c:pt idx="950" formatCode="0.0%">
                  <c:v>0.12353015904771425</c:v>
                </c:pt>
                <c:pt idx="951" formatCode="0.0%">
                  <c:v>0.12545313594078222</c:v>
                </c:pt>
                <c:pt idx="952" formatCode="0.0%">
                  <c:v>0.12859067720316092</c:v>
                </c:pt>
                <c:pt idx="953" formatCode="0.0%">
                  <c:v>0.12019025707712316</c:v>
                </c:pt>
                <c:pt idx="954" formatCode="0.0%">
                  <c:v>0.12019025707712316</c:v>
                </c:pt>
                <c:pt idx="955" formatCode="0.0%">
                  <c:v>0.12019025707712316</c:v>
                </c:pt>
                <c:pt idx="956" formatCode="0.0%">
                  <c:v>0.12535190557167142</c:v>
                </c:pt>
                <c:pt idx="957" formatCode="0.0%">
                  <c:v>0.11857087126137841</c:v>
                </c:pt>
                <c:pt idx="958" formatCode="0.0%">
                  <c:v>0.11988656596979098</c:v>
                </c:pt>
                <c:pt idx="959" formatCode="0.0%">
                  <c:v>0.11391517455236568</c:v>
                </c:pt>
                <c:pt idx="960" formatCode="0.0%">
                  <c:v>0.10298459537861376</c:v>
                </c:pt>
                <c:pt idx="961" formatCode="0.0%">
                  <c:v>0.10298459537861376</c:v>
                </c:pt>
                <c:pt idx="962" formatCode="0.0%">
                  <c:v>0.10298459537861376</c:v>
                </c:pt>
                <c:pt idx="963" formatCode="0.0%">
                  <c:v>0.10784265279583877</c:v>
                </c:pt>
                <c:pt idx="964" formatCode="0.0%">
                  <c:v>0.11927938381514465</c:v>
                </c:pt>
                <c:pt idx="965" formatCode="0.0%">
                  <c:v>0.12838821646493956</c:v>
                </c:pt>
                <c:pt idx="966" formatCode="0.0%">
                  <c:v>0.12990637191157334</c:v>
                </c:pt>
                <c:pt idx="967" formatCode="0.0%">
                  <c:v>0.12525067520256086</c:v>
                </c:pt>
                <c:pt idx="968" formatCode="0.0%">
                  <c:v>0.12525067520256086</c:v>
                </c:pt>
                <c:pt idx="969" formatCode="0.0%">
                  <c:v>0.12525067520256086</c:v>
                </c:pt>
                <c:pt idx="970" formatCode="0.0%">
                  <c:v>0.13537171151345403</c:v>
                </c:pt>
                <c:pt idx="971" formatCode="0.0%">
                  <c:v>0.13942012603781137</c:v>
                </c:pt>
                <c:pt idx="972" formatCode="0.0%">
                  <c:v>0.13597899369810945</c:v>
                </c:pt>
                <c:pt idx="973" formatCode="0.0%">
                  <c:v>0.14144933480044017</c:v>
                </c:pt>
                <c:pt idx="974" formatCode="0.0%">
                  <c:v>0.1506543963188956</c:v>
                </c:pt>
                <c:pt idx="975" formatCode="0.0%">
                  <c:v>0.1506543963188956</c:v>
                </c:pt>
                <c:pt idx="976" formatCode="0.0%">
                  <c:v>0.1506543963188956</c:v>
                </c:pt>
                <c:pt idx="977" formatCode="0.0%">
                  <c:v>0.15126167850355102</c:v>
                </c:pt>
                <c:pt idx="978" formatCode="0.0%">
                  <c:v>0.15217255176552968</c:v>
                </c:pt>
                <c:pt idx="979" formatCode="0.0%">
                  <c:v>0.14923747124137235</c:v>
                </c:pt>
                <c:pt idx="980" formatCode="0.0%">
                  <c:v>0.14437941382414721</c:v>
                </c:pt>
                <c:pt idx="981" formatCode="0.0%">
                  <c:v>0.14751685505651693</c:v>
                </c:pt>
                <c:pt idx="982" formatCode="0.0%">
                  <c:v>0.14751685505651693</c:v>
                </c:pt>
                <c:pt idx="983" formatCode="0.0%">
                  <c:v>0.14751685505651693</c:v>
                </c:pt>
                <c:pt idx="984" formatCode="0.0%">
                  <c:v>0.14458177453235962</c:v>
                </c:pt>
                <c:pt idx="985" formatCode="0.0%">
                  <c:v>0.13883815144543349</c:v>
                </c:pt>
                <c:pt idx="986" formatCode="0.0%">
                  <c:v>0.13780074022206662</c:v>
                </c:pt>
                <c:pt idx="987" formatCode="0.0%">
                  <c:v>0.14660598179453843</c:v>
                </c:pt>
                <c:pt idx="988" formatCode="0.0%">
                  <c:v>0.14458177453235962</c:v>
                </c:pt>
                <c:pt idx="989" formatCode="0.0%">
                  <c:v>0.14458177453235962</c:v>
                </c:pt>
                <c:pt idx="990" formatCode="0.0%">
                  <c:v>0.14458177453235962</c:v>
                </c:pt>
                <c:pt idx="991" formatCode="0.0%">
                  <c:v>0.13780074022206662</c:v>
                </c:pt>
                <c:pt idx="992" formatCode="0.0%">
                  <c:v>0.13461568470541166</c:v>
                </c:pt>
                <c:pt idx="993" formatCode="0.0%">
                  <c:v>0.1364850455136542</c:v>
                </c:pt>
                <c:pt idx="994" formatCode="0.0%">
                  <c:v>0.11857087126137841</c:v>
                </c:pt>
                <c:pt idx="995" formatCode="0.0%">
                  <c:v>0.11523096929078719</c:v>
                </c:pt>
                <c:pt idx="996" formatCode="0.0%">
                  <c:v>0.11523096929078719</c:v>
                </c:pt>
                <c:pt idx="997" formatCode="0.0%">
                  <c:v>0.11523096929078719</c:v>
                </c:pt>
                <c:pt idx="998" formatCode="0.0%">
                  <c:v>0.11492727818345515</c:v>
                </c:pt>
                <c:pt idx="999" formatCode="0.0%">
                  <c:v>0.10602080624187266</c:v>
                </c:pt>
                <c:pt idx="1000" formatCode="0.0%">
                  <c:v>0.11158737621286391</c:v>
                </c:pt>
                <c:pt idx="1001" formatCode="0.0%">
                  <c:v>0.10774142242672809</c:v>
                </c:pt>
                <c:pt idx="1002" formatCode="0.0%">
                  <c:v>0.1163443032909872</c:v>
                </c:pt>
                <c:pt idx="1003" formatCode="0.0%">
                  <c:v>0.10734770431129334</c:v>
                </c:pt>
                <c:pt idx="1004" formatCode="0.0%">
                  <c:v>0.10734770431129334</c:v>
                </c:pt>
                <c:pt idx="1005" formatCode="0.0%">
                  <c:v>0.10925957787336202</c:v>
                </c:pt>
                <c:pt idx="1006" formatCode="0.0%">
                  <c:v>0.10500880264079228</c:v>
                </c:pt>
                <c:pt idx="1007" formatCode="0.0%">
                  <c:v>9.9239771931579665E-2</c:v>
                </c:pt>
                <c:pt idx="1008" formatCode="0.0%">
                  <c:v>0.10389546864059213</c:v>
                </c:pt>
                <c:pt idx="1009" formatCode="0.0%">
                  <c:v>0.10500880264079228</c:v>
                </c:pt>
                <c:pt idx="1010" formatCode="0.0%">
                  <c:v>0.10500880264079228</c:v>
                </c:pt>
                <c:pt idx="1011" formatCode="0.0%">
                  <c:v>0.10500880264079228</c:v>
                </c:pt>
                <c:pt idx="1012" formatCode="0.0%">
                  <c:v>0.11057527258177459</c:v>
                </c:pt>
                <c:pt idx="1013" formatCode="0.0%">
                  <c:v>0.1219107732319695</c:v>
                </c:pt>
                <c:pt idx="1014" formatCode="0.0%">
                  <c:v>0.1212023607082125</c:v>
                </c:pt>
                <c:pt idx="1015" formatCode="0.0%">
                  <c:v>0.13010883264979498</c:v>
                </c:pt>
                <c:pt idx="1016" formatCode="0.0%">
                  <c:v>0.12889426828048414</c:v>
                </c:pt>
                <c:pt idx="1017" formatCode="0.0%">
                  <c:v>0.12889426828048414</c:v>
                </c:pt>
                <c:pt idx="1018" formatCode="0.0%">
                  <c:v>0.12889426828048414</c:v>
                </c:pt>
                <c:pt idx="1019" formatCode="0.0%">
                  <c:v>0.12818575572671803</c:v>
                </c:pt>
                <c:pt idx="1020" formatCode="0.0%">
                  <c:v>0.1204938481544464</c:v>
                </c:pt>
                <c:pt idx="1021" formatCode="0.0%">
                  <c:v>0.11887446233870165</c:v>
                </c:pt>
                <c:pt idx="1022" formatCode="0.0%">
                  <c:v>0.10440152045613686</c:v>
                </c:pt>
                <c:pt idx="1023" formatCode="0.0%">
                  <c:v>9.1547864359307743E-2</c:v>
                </c:pt>
                <c:pt idx="1024" formatCode="0.0%">
                  <c:v>9.1547864359307743E-2</c:v>
                </c:pt>
                <c:pt idx="1025" formatCode="0.0%">
                  <c:v>9.1547864359307743E-2</c:v>
                </c:pt>
                <c:pt idx="1026" formatCode="0.0%">
                  <c:v>8.3046213864159169E-2</c:v>
                </c:pt>
                <c:pt idx="1027" formatCode="0.0%">
                  <c:v>8.8612783835150422E-2</c:v>
                </c:pt>
                <c:pt idx="1028" formatCode="0.0%">
                  <c:v>8.1123236971091472E-2</c:v>
                </c:pt>
                <c:pt idx="1029" formatCode="0.0%">
                  <c:v>7.7074822446733859E-2</c:v>
                </c:pt>
                <c:pt idx="1030" formatCode="0.0%">
                  <c:v>6.7156246874062339E-2</c:v>
                </c:pt>
                <c:pt idx="1031" formatCode="0.0%">
                  <c:v>6.7156246874062339E-2</c:v>
                </c:pt>
                <c:pt idx="1032" formatCode="0.0%">
                  <c:v>6.7156246874062339E-2</c:v>
                </c:pt>
                <c:pt idx="1033" formatCode="0.0%">
                  <c:v>6.4423627088126378E-2</c:v>
                </c:pt>
                <c:pt idx="1034" formatCode="0.0%">
                  <c:v>8.2483545063519015E-2</c:v>
                </c:pt>
                <c:pt idx="1035" formatCode="0.0%">
                  <c:v>9.3066019805941813E-2</c:v>
                </c:pt>
                <c:pt idx="1036" formatCode="0.0%">
                  <c:v>0.10551485445633688</c:v>
                </c:pt>
                <c:pt idx="1037" formatCode="0.0%">
                  <c:v>0.11229588876662987</c:v>
                </c:pt>
                <c:pt idx="1038" formatCode="0.0%">
                  <c:v>0.11229588876662987</c:v>
                </c:pt>
                <c:pt idx="1039" formatCode="0.0%">
                  <c:v>0.11229588876662987</c:v>
                </c:pt>
                <c:pt idx="1040" formatCode="0.0%">
                  <c:v>0.1116886065819746</c:v>
                </c:pt>
                <c:pt idx="1041" formatCode="0.0%">
                  <c:v>0.11897569270781247</c:v>
                </c:pt>
                <c:pt idx="1042" formatCode="0.0%">
                  <c:v>0.11968420526157857</c:v>
                </c:pt>
                <c:pt idx="1043" formatCode="0.0%">
                  <c:v>0.1204938481544464</c:v>
                </c:pt>
                <c:pt idx="1044" formatCode="0.0%">
                  <c:v>0.11553456036811056</c:v>
                </c:pt>
                <c:pt idx="1045" formatCode="0.0%">
                  <c:v>0.11553456036811056</c:v>
                </c:pt>
                <c:pt idx="1046" formatCode="0.0%">
                  <c:v>0.11553456036811056</c:v>
                </c:pt>
                <c:pt idx="1047" formatCode="0.0%">
                  <c:v>0.12413744123236967</c:v>
                </c:pt>
                <c:pt idx="1048" formatCode="0.0%">
                  <c:v>0.13243663098929687</c:v>
                </c:pt>
                <c:pt idx="1049" formatCode="0.0%">
                  <c:v>0.13537171151345403</c:v>
                </c:pt>
                <c:pt idx="1050" formatCode="0.0%">
                  <c:v>0.13051365409622889</c:v>
                </c:pt>
                <c:pt idx="1051" formatCode="0.0%">
                  <c:v>0.13172811843553064</c:v>
                </c:pt>
                <c:pt idx="1052" formatCode="0.0%">
                  <c:v>0.13172811843553064</c:v>
                </c:pt>
                <c:pt idx="1053" formatCode="0.0%">
                  <c:v>0.13172811843553064</c:v>
                </c:pt>
                <c:pt idx="1054" formatCode="0.0%">
                  <c:v>0.13041242372711806</c:v>
                </c:pt>
                <c:pt idx="1055" formatCode="0.0%">
                  <c:v>0.13142452735820753</c:v>
                </c:pt>
                <c:pt idx="1056" formatCode="0.0%">
                  <c:v>0.14569510853255976</c:v>
                </c:pt>
                <c:pt idx="1057" formatCode="0.0%">
                  <c:v>0.14235520656196868</c:v>
                </c:pt>
                <c:pt idx="1058" formatCode="0.0%">
                  <c:v>0.14002730819245771</c:v>
                </c:pt>
                <c:pt idx="1059" formatCode="0.0%">
                  <c:v>0.14002730819245771</c:v>
                </c:pt>
                <c:pt idx="1060" formatCode="0.0%">
                  <c:v>0.14002730819245771</c:v>
                </c:pt>
                <c:pt idx="1061" formatCode="0.0%">
                  <c:v>0.13840802240672218</c:v>
                </c:pt>
                <c:pt idx="1062" formatCode="0.0%">
                  <c:v>0.13294268280484148</c:v>
                </c:pt>
                <c:pt idx="1063" formatCode="0.0%">
                  <c:v>0.13729468840652204</c:v>
                </c:pt>
                <c:pt idx="1064" formatCode="0.0%">
                  <c:v>0.14358997699309797</c:v>
                </c:pt>
                <c:pt idx="1065" formatCode="0.0%">
                  <c:v>0.14761808542562777</c:v>
                </c:pt>
                <c:pt idx="1066" formatCode="0.0%">
                  <c:v>0.14761808542562777</c:v>
                </c:pt>
                <c:pt idx="1067" formatCode="0.0%">
                  <c:v>0.14761808542562777</c:v>
                </c:pt>
                <c:pt idx="1068" formatCode="0.0%">
                  <c:v>0.15055316594978493</c:v>
                </c:pt>
                <c:pt idx="1069" formatCode="0.0%">
                  <c:v>0.15024957487246168</c:v>
                </c:pt>
                <c:pt idx="1070" formatCode="0.0%">
                  <c:v>0.15905481644493349</c:v>
                </c:pt>
                <c:pt idx="1071" formatCode="0.0%">
                  <c:v>0.15905481644493349</c:v>
                </c:pt>
                <c:pt idx="1072" formatCode="0.0%">
                  <c:v>0.15864999499849958</c:v>
                </c:pt>
                <c:pt idx="1073" formatCode="0.0%">
                  <c:v>0.15864999499849958</c:v>
                </c:pt>
                <c:pt idx="1074" formatCode="0.0%">
                  <c:v>0.15864999499849958</c:v>
                </c:pt>
                <c:pt idx="1075" formatCode="0.0%">
                  <c:v>0.17049154746423922</c:v>
                </c:pt>
                <c:pt idx="1076" formatCode="0.0%">
                  <c:v>0.16725277583274972</c:v>
                </c:pt>
                <c:pt idx="1077" formatCode="0.0%">
                  <c:v>0.17160478143443045</c:v>
                </c:pt>
                <c:pt idx="1078" formatCode="0.0%">
                  <c:v>0.16937821346403908</c:v>
                </c:pt>
                <c:pt idx="1079" formatCode="0.0%">
                  <c:v>0.1734266279883967</c:v>
                </c:pt>
                <c:pt idx="1080" formatCode="0.0%">
                  <c:v>0.1734266279883967</c:v>
                </c:pt>
                <c:pt idx="1081" formatCode="0.0%">
                  <c:v>0.1734266279883967</c:v>
                </c:pt>
                <c:pt idx="1082" formatCode="0.0%">
                  <c:v>0.17413504051215384</c:v>
                </c:pt>
                <c:pt idx="1083" formatCode="0.0%">
                  <c:v>0.17605801740522153</c:v>
                </c:pt>
                <c:pt idx="1084" formatCode="0.0%">
                  <c:v>0.18121976592977901</c:v>
                </c:pt>
                <c:pt idx="1085" formatCode="0.0%">
                  <c:v>0.17362898869660909</c:v>
                </c:pt>
                <c:pt idx="1086" formatCode="0.0%">
                  <c:v>0.17949914974492345</c:v>
                </c:pt>
                <c:pt idx="1087" formatCode="0.0%">
                  <c:v>0.17949914974492345</c:v>
                </c:pt>
                <c:pt idx="1088" formatCode="0.0%">
                  <c:v>0.17949914974492345</c:v>
                </c:pt>
                <c:pt idx="1089" formatCode="0.0%">
                  <c:v>0.17949914974492345</c:v>
                </c:pt>
                <c:pt idx="1090" formatCode="0.0%">
                  <c:v>0.17949914974492345</c:v>
                </c:pt>
                <c:pt idx="1091" formatCode="0.0%">
                  <c:v>0.17403381014304301</c:v>
                </c:pt>
                <c:pt idx="1092" formatCode="0.0%">
                  <c:v>0.17949914974492345</c:v>
                </c:pt>
                <c:pt idx="1093" formatCode="0.0%">
                  <c:v>0.18101730519155751</c:v>
                </c:pt>
                <c:pt idx="1094" formatCode="0.0%">
                  <c:v>0.18101730519155751</c:v>
                </c:pt>
                <c:pt idx="1095" formatCode="0.0%">
                  <c:v>0.18267110133039893</c:v>
                </c:pt>
                <c:pt idx="1096" formatCode="0.0%">
                  <c:v>0.18267110133039893</c:v>
                </c:pt>
                <c:pt idx="1097" formatCode="0.0%">
                  <c:v>0.18061248374512345</c:v>
                </c:pt>
                <c:pt idx="1098" formatCode="0.0%">
                  <c:v>0.17565319595878776</c:v>
                </c:pt>
                <c:pt idx="1099" formatCode="0.0%">
                  <c:v>0.1710987296188857</c:v>
                </c:pt>
                <c:pt idx="1100" formatCode="0.0%">
                  <c:v>0.16588446533960194</c:v>
                </c:pt>
                <c:pt idx="1101" formatCode="0.0%">
                  <c:v>0.16588446533960194</c:v>
                </c:pt>
                <c:pt idx="1102" formatCode="0.0%">
                  <c:v>0.16588446533960194</c:v>
                </c:pt>
                <c:pt idx="1103" formatCode="0.0%">
                  <c:v>0.17403381014304301</c:v>
                </c:pt>
                <c:pt idx="1104" formatCode="0.0%">
                  <c:v>0.18202940882264684</c:v>
                </c:pt>
                <c:pt idx="1105" formatCode="0.0%">
                  <c:v>0.18415484645393618</c:v>
                </c:pt>
                <c:pt idx="1106" formatCode="0.0%">
                  <c:v>0.1843572071621486</c:v>
                </c:pt>
                <c:pt idx="1107" formatCode="0.0%">
                  <c:v>0.18972141642492743</c:v>
                </c:pt>
                <c:pt idx="1108" formatCode="0.0%">
                  <c:v>0.18972141642492743</c:v>
                </c:pt>
                <c:pt idx="1109" formatCode="0.0%">
                  <c:v>0.18972141642492743</c:v>
                </c:pt>
                <c:pt idx="1110" formatCode="0.0%">
                  <c:v>0.19042982894868474</c:v>
                </c:pt>
                <c:pt idx="1111" formatCode="0.0%">
                  <c:v>0.19579393818145432</c:v>
                </c:pt>
                <c:pt idx="1112" formatCode="0.0%">
                  <c:v>0.18789956987096132</c:v>
                </c:pt>
                <c:pt idx="1113" formatCode="0.0%">
                  <c:v>0.19397219165749718</c:v>
                </c:pt>
                <c:pt idx="1114" formatCode="0.0%">
                  <c:v>0.1996398919675903</c:v>
                </c:pt>
                <c:pt idx="1115" formatCode="0.0%">
                  <c:v>0.1996398919675903</c:v>
                </c:pt>
                <c:pt idx="1116" formatCode="0.0%">
                  <c:v>0.1996398919675903</c:v>
                </c:pt>
                <c:pt idx="1117" formatCode="0.0%">
                  <c:v>0.21421416424927472</c:v>
                </c:pt>
                <c:pt idx="1118" formatCode="0.0%">
                  <c:v>0.21714924477343203</c:v>
                </c:pt>
                <c:pt idx="1119" formatCode="0.0%">
                  <c:v>0.22382904871461434</c:v>
                </c:pt>
                <c:pt idx="1120" formatCode="0.0%">
                  <c:v>0.22929438831649507</c:v>
                </c:pt>
                <c:pt idx="1121" formatCode="0.0%">
                  <c:v>0.22990167050115035</c:v>
                </c:pt>
                <c:pt idx="1122" formatCode="0.0%">
                  <c:v>0.22990167050115035</c:v>
                </c:pt>
                <c:pt idx="1123" formatCode="0.0%">
                  <c:v>0.22990167050115035</c:v>
                </c:pt>
                <c:pt idx="1124" formatCode="0.0%">
                  <c:v>0.2353670101030309</c:v>
                </c:pt>
                <c:pt idx="1125" formatCode="0.0%">
                  <c:v>0.23931419425827755</c:v>
                </c:pt>
                <c:pt idx="1126" formatCode="0.0%">
                  <c:v>0.22574392317695313</c:v>
                </c:pt>
                <c:pt idx="1127" formatCode="0.0%">
                  <c:v>0.23648034410323107</c:v>
                </c:pt>
                <c:pt idx="1128" formatCode="0.0%">
                  <c:v>0.24285655696709013</c:v>
                </c:pt>
                <c:pt idx="1129" formatCode="0.0%">
                  <c:v>0.24285655696709013</c:v>
                </c:pt>
                <c:pt idx="1130" formatCode="0.0%">
                  <c:v>0.24285655696709013</c:v>
                </c:pt>
                <c:pt idx="1131" formatCode="0.0%">
                  <c:v>0.25237021106331908</c:v>
                </c:pt>
                <c:pt idx="1132" formatCode="0.0%">
                  <c:v>0.25439441832549758</c:v>
                </c:pt>
                <c:pt idx="1133" formatCode="0.0%">
                  <c:v>0.26158037411223362</c:v>
                </c:pt>
                <c:pt idx="1134" formatCode="0.0%">
                  <c:v>0.26147914374312292</c:v>
                </c:pt>
                <c:pt idx="1135" formatCode="0.0%">
                  <c:v>0.26431299389816942</c:v>
                </c:pt>
                <c:pt idx="1136" formatCode="0.0%">
                  <c:v>0.26431299389816942</c:v>
                </c:pt>
                <c:pt idx="1137" formatCode="0.0%">
                  <c:v>0.26431299389816942</c:v>
                </c:pt>
                <c:pt idx="1138" formatCode="0.0%">
                  <c:v>0.2720049014704411</c:v>
                </c:pt>
                <c:pt idx="1139" formatCode="0.0%">
                  <c:v>0.25773432029608884</c:v>
                </c:pt>
                <c:pt idx="1140" formatCode="0.0%">
                  <c:v>0.26856376913073915</c:v>
                </c:pt>
                <c:pt idx="1141" formatCode="0.0%">
                  <c:v>0.27018315494648393</c:v>
                </c:pt>
                <c:pt idx="1142" formatCode="0.0%">
                  <c:v>0.27129648894668407</c:v>
                </c:pt>
                <c:pt idx="1143" formatCode="0.0%">
                  <c:v>0.27129648894668407</c:v>
                </c:pt>
                <c:pt idx="1144" formatCode="0.0%">
                  <c:v>0.27129648894668407</c:v>
                </c:pt>
                <c:pt idx="1145" formatCode="0.0%">
                  <c:v>0.27251095328598579</c:v>
                </c:pt>
                <c:pt idx="1146" formatCode="0.0%">
                  <c:v>0.25631739521856561</c:v>
                </c:pt>
                <c:pt idx="1147" formatCode="0.0%">
                  <c:v>0.25490047014104222</c:v>
                </c:pt>
                <c:pt idx="1148" formatCode="0.0%">
                  <c:v>0.28344163248974696</c:v>
                </c:pt>
                <c:pt idx="1149" formatCode="0.0%">
                  <c:v>0.29366389916975122</c:v>
                </c:pt>
                <c:pt idx="1150" formatCode="0.0%">
                  <c:v>0.29366389916975122</c:v>
                </c:pt>
                <c:pt idx="1151" formatCode="0.0%">
                  <c:v>0.29366389916975122</c:v>
                </c:pt>
                <c:pt idx="1152" formatCode="0.0%">
                  <c:v>0.28597189156746994</c:v>
                </c:pt>
                <c:pt idx="1153" formatCode="0.0%">
                  <c:v>0.28121506451935574</c:v>
                </c:pt>
                <c:pt idx="1154" formatCode="0.0%">
                  <c:v>0.27989926978093438</c:v>
                </c:pt>
                <c:pt idx="1155" formatCode="0.0%">
                  <c:v>0.28777343202960881</c:v>
                </c:pt>
                <c:pt idx="1156" formatCode="0.0%">
                  <c:v>0.29224687406221878</c:v>
                </c:pt>
                <c:pt idx="1157" formatCode="0.0%">
                  <c:v>0.29224687406221878</c:v>
                </c:pt>
                <c:pt idx="1158" formatCode="0.0%">
                  <c:v>0.29224687406221878</c:v>
                </c:pt>
                <c:pt idx="1159" formatCode="0.0%">
                  <c:v>0.29801590477143153</c:v>
                </c:pt>
                <c:pt idx="1160" formatCode="0.0%">
                  <c:v>0.29062758827648311</c:v>
                </c:pt>
                <c:pt idx="1161" formatCode="0.0%">
                  <c:v>0.29528318495548661</c:v>
                </c:pt>
                <c:pt idx="1162" formatCode="0.0%">
                  <c:v>0.30732719815944792</c:v>
                </c:pt>
                <c:pt idx="1163" formatCode="0.0%">
                  <c:v>0.3110719215764729</c:v>
                </c:pt>
                <c:pt idx="1164" formatCode="0.0%">
                  <c:v>0.3110719215764729</c:v>
                </c:pt>
                <c:pt idx="1165" formatCode="0.0%">
                  <c:v>0.3110719215764729</c:v>
                </c:pt>
                <c:pt idx="1166" formatCode="0.0%">
                  <c:v>0.29244933480044011</c:v>
                </c:pt>
                <c:pt idx="1167" formatCode="0.0%">
                  <c:v>0.30965499649894979</c:v>
                </c:pt>
                <c:pt idx="1168" formatCode="0.0%">
                  <c:v>0.30550535160548181</c:v>
                </c:pt>
                <c:pt idx="1169" formatCode="0.0%">
                  <c:v>0.30854166249874965</c:v>
                </c:pt>
                <c:pt idx="1170" formatCode="0.0%">
                  <c:v>0.302772731819546</c:v>
                </c:pt>
                <c:pt idx="1171" formatCode="0.0%">
                  <c:v>0.302772731819546</c:v>
                </c:pt>
                <c:pt idx="1172" formatCode="0.0%">
                  <c:v>0.302772731819546</c:v>
                </c:pt>
                <c:pt idx="1173" formatCode="0.0%">
                  <c:v>0.30722596779033695</c:v>
                </c:pt>
                <c:pt idx="1174" formatCode="0.0%">
                  <c:v>0.30641632489746912</c:v>
                </c:pt>
                <c:pt idx="1175" formatCode="0.0%">
                  <c:v>0.31552515754726412</c:v>
                </c:pt>
                <c:pt idx="1176" formatCode="0.0%">
                  <c:v>0.33080784235270583</c:v>
                </c:pt>
                <c:pt idx="1177" formatCode="0.0%">
                  <c:v>0.33333810143042941</c:v>
                </c:pt>
                <c:pt idx="1178" formatCode="0.0%">
                  <c:v>0.33333810143042941</c:v>
                </c:pt>
                <c:pt idx="1179" formatCode="0.0%">
                  <c:v>0.33333810143042941</c:v>
                </c:pt>
                <c:pt idx="1180" formatCode="0.0%">
                  <c:v>0.32686065819745946</c:v>
                </c:pt>
                <c:pt idx="1181" formatCode="0.0%">
                  <c:v>0.32686065819745946</c:v>
                </c:pt>
                <c:pt idx="1182" formatCode="0.0%">
                  <c:v>0.32341952585775713</c:v>
                </c:pt>
                <c:pt idx="1183" formatCode="0.0%">
                  <c:v>0.32341952585775713</c:v>
                </c:pt>
                <c:pt idx="1184" formatCode="0.0%">
                  <c:v>0.32341952585775713</c:v>
                </c:pt>
                <c:pt idx="1185" formatCode="0.0%">
                  <c:v>0.32341952585775713</c:v>
                </c:pt>
                <c:pt idx="1186" formatCode="0.0%">
                  <c:v>0.32833530059017701</c:v>
                </c:pt>
                <c:pt idx="1187" formatCode="0.0%">
                  <c:v>0.32833530059017701</c:v>
                </c:pt>
                <c:pt idx="1188" formatCode="0.0%">
                  <c:v>0.32038321496448929</c:v>
                </c:pt>
                <c:pt idx="1189" formatCode="0.0%">
                  <c:v>0.32250865259577866</c:v>
                </c:pt>
                <c:pt idx="1190" formatCode="0.0%">
                  <c:v>0.3202819845953786</c:v>
                </c:pt>
                <c:pt idx="1191" formatCode="0.0%">
                  <c:v>0.30864289286786034</c:v>
                </c:pt>
                <c:pt idx="1192" formatCode="0.0%">
                  <c:v>0.30864289286786034</c:v>
                </c:pt>
                <c:pt idx="1193" formatCode="0.0%">
                  <c:v>0.30864289286786034</c:v>
                </c:pt>
                <c:pt idx="1194" formatCode="0.0%">
                  <c:v>0.31542392717815348</c:v>
                </c:pt>
                <c:pt idx="1195" formatCode="0.0%">
                  <c:v>0.30732719815944792</c:v>
                </c:pt>
                <c:pt idx="1196" formatCode="0.0%">
                  <c:v>0.31238771631489443</c:v>
                </c:pt>
                <c:pt idx="1197" formatCode="0.0%">
                  <c:v>0.31046463939181762</c:v>
                </c:pt>
                <c:pt idx="1198" formatCode="0.0%">
                  <c:v>0.31633480044013196</c:v>
                </c:pt>
                <c:pt idx="1199" formatCode="0.0%">
                  <c:v>0.31633480044013196</c:v>
                </c:pt>
                <c:pt idx="1200" formatCode="0.0%">
                  <c:v>0.31633480044013196</c:v>
                </c:pt>
                <c:pt idx="1201" formatCode="0.0%">
                  <c:v>0.31886505951785521</c:v>
                </c:pt>
                <c:pt idx="1202" formatCode="0.0%">
                  <c:v>0.29427108132439739</c:v>
                </c:pt>
                <c:pt idx="1203" formatCode="0.0%">
                  <c:v>0.29285415624687433</c:v>
                </c:pt>
                <c:pt idx="1204" formatCode="0.0%">
                  <c:v>0.28597189156746994</c:v>
                </c:pt>
                <c:pt idx="1205" formatCode="0.0%">
                  <c:v>0.2721061318395519</c:v>
                </c:pt>
                <c:pt idx="1206" formatCode="0.0%">
                  <c:v>0.2721061318395519</c:v>
                </c:pt>
                <c:pt idx="1207" formatCode="0.0%">
                  <c:v>0.2721061318395519</c:v>
                </c:pt>
                <c:pt idx="1208" formatCode="0.0%">
                  <c:v>0.2744340302090626</c:v>
                </c:pt>
                <c:pt idx="1209" formatCode="0.0%">
                  <c:v>0.28657917375212549</c:v>
                </c:pt>
                <c:pt idx="1210" formatCode="0.0%">
                  <c:v>0.28738881664499333</c:v>
                </c:pt>
                <c:pt idx="1211" formatCode="0.0%">
                  <c:v>0.27058797639291798</c:v>
                </c:pt>
                <c:pt idx="1212" formatCode="0.0%">
                  <c:v>0.29872431729518867</c:v>
                </c:pt>
                <c:pt idx="1213" formatCode="0.0%">
                  <c:v>0.29872431729518867</c:v>
                </c:pt>
                <c:pt idx="1214" formatCode="0.0%">
                  <c:v>0.29872431729518867</c:v>
                </c:pt>
                <c:pt idx="1215" formatCode="0.0%">
                  <c:v>0.29872431729518867</c:v>
                </c:pt>
                <c:pt idx="1216" formatCode="0.0%">
                  <c:v>0.28606902070621204</c:v>
                </c:pt>
                <c:pt idx="1217" formatCode="0.0%">
                  <c:v>0.28293558067420238</c:v>
                </c:pt>
                <c:pt idx="1218" formatCode="0.0%">
                  <c:v>0.28394768430529155</c:v>
                </c:pt>
                <c:pt idx="1219" formatCode="0.0%">
                  <c:v>0.29396749024707419</c:v>
                </c:pt>
                <c:pt idx="1220" formatCode="0.0%">
                  <c:v>0.29396749024707419</c:v>
                </c:pt>
                <c:pt idx="1221" formatCode="0.0%">
                  <c:v>0.29396749024707419</c:v>
                </c:pt>
                <c:pt idx="1222" formatCode="0.0%">
                  <c:v>0.30398729618885684</c:v>
                </c:pt>
                <c:pt idx="1223" formatCode="0.0%">
                  <c:v>0.31299489846954087</c:v>
                </c:pt>
                <c:pt idx="1224" formatCode="0.0%">
                  <c:v>0.31856146844053201</c:v>
                </c:pt>
                <c:pt idx="1225" formatCode="0.0%">
                  <c:v>0.31856146844053201</c:v>
                </c:pt>
                <c:pt idx="1226" formatCode="0.0%">
                  <c:v>0.31856146844053201</c:v>
                </c:pt>
                <c:pt idx="1227" formatCode="0.0%">
                  <c:v>0.31856146844053201</c:v>
                </c:pt>
                <c:pt idx="1228" formatCode="0.0%">
                  <c:v>0.31856146844053201</c:v>
                </c:pt>
                <c:pt idx="1229" formatCode="0.0%">
                  <c:v>0.32200260078023407</c:v>
                </c:pt>
                <c:pt idx="1230" formatCode="0.0%">
                  <c:v>0.32139531859557846</c:v>
                </c:pt>
                <c:pt idx="1231" formatCode="0.0%">
                  <c:v>0.33131389416825047</c:v>
                </c:pt>
                <c:pt idx="1232" formatCode="0.0%">
                  <c:v>0.33809492847854355</c:v>
                </c:pt>
                <c:pt idx="1233" formatCode="0.0%">
                  <c:v>0.33303451035310616</c:v>
                </c:pt>
                <c:pt idx="1234" formatCode="0.0%">
                  <c:v>0.33303451035310616</c:v>
                </c:pt>
                <c:pt idx="1235" formatCode="0.0%">
                  <c:v>0.33303451035310616</c:v>
                </c:pt>
                <c:pt idx="1236" formatCode="0.0%">
                  <c:v>0.33303451035310616</c:v>
                </c:pt>
                <c:pt idx="1237" formatCode="0.0%">
                  <c:v>0.33515984795438641</c:v>
                </c:pt>
                <c:pt idx="1238" formatCode="0.0%">
                  <c:v>0.33961308392517764</c:v>
                </c:pt>
                <c:pt idx="1239" formatCode="0.0%">
                  <c:v>0.34426878063419025</c:v>
                </c:pt>
                <c:pt idx="1240" formatCode="0.0%">
                  <c:v>0.33607072121636494</c:v>
                </c:pt>
                <c:pt idx="1241" formatCode="0.0%">
                  <c:v>0.33607072121636494</c:v>
                </c:pt>
                <c:pt idx="1242" formatCode="0.0%">
                  <c:v>0.33607072121636494</c:v>
                </c:pt>
                <c:pt idx="1243" formatCode="0.0%">
                  <c:v>0.33930949284785439</c:v>
                </c:pt>
                <c:pt idx="1244" formatCode="0.0%">
                  <c:v>0.33364169250775233</c:v>
                </c:pt>
                <c:pt idx="1245" formatCode="0.0%">
                  <c:v>0.32878363509052749</c:v>
                </c:pt>
                <c:pt idx="1246" formatCode="0.0%">
                  <c:v>0.31937111133339985</c:v>
                </c:pt>
                <c:pt idx="1247" formatCode="0.0%">
                  <c:v>0.31798049414824447</c:v>
                </c:pt>
                <c:pt idx="1248" formatCode="0.0%">
                  <c:v>0.31798049414824447</c:v>
                </c:pt>
                <c:pt idx="1249" formatCode="0.0%">
                  <c:v>0.31798049414824447</c:v>
                </c:pt>
                <c:pt idx="1250" formatCode="0.0%">
                  <c:v>0.32210383114934471</c:v>
                </c:pt>
                <c:pt idx="1251" formatCode="0.0%">
                  <c:v>0.32180014004201241</c:v>
                </c:pt>
                <c:pt idx="1252" formatCode="0.0%">
                  <c:v>0.32180014004201241</c:v>
                </c:pt>
                <c:pt idx="1253" formatCode="0.0%">
                  <c:v>0.34467360208062414</c:v>
                </c:pt>
                <c:pt idx="1254" formatCode="0.0%">
                  <c:v>0.35135340602180631</c:v>
                </c:pt>
                <c:pt idx="1255" formatCode="0.0%">
                  <c:v>0.35135340602180631</c:v>
                </c:pt>
                <c:pt idx="1256" formatCode="0.0%">
                  <c:v>0.35135340602180631</c:v>
                </c:pt>
                <c:pt idx="1257" formatCode="0.0%">
                  <c:v>0.35418735620686193</c:v>
                </c:pt>
                <c:pt idx="1258" formatCode="0.0%">
                  <c:v>0.35550305091527462</c:v>
                </c:pt>
                <c:pt idx="1259" formatCode="0.0%">
                  <c:v>0.37361958587576283</c:v>
                </c:pt>
                <c:pt idx="1260" formatCode="0.0%">
                  <c:v>0.37119055716715027</c:v>
                </c:pt>
                <c:pt idx="1261" formatCode="0.0%">
                  <c:v>0.37766800040012016</c:v>
                </c:pt>
                <c:pt idx="1262" formatCode="0.0%">
                  <c:v>0.37766800040012016</c:v>
                </c:pt>
                <c:pt idx="1263" formatCode="0.0%">
                  <c:v>0.37766800040012016</c:v>
                </c:pt>
                <c:pt idx="1264" formatCode="0.0%">
                  <c:v>0.37412563769130741</c:v>
                </c:pt>
                <c:pt idx="1265" formatCode="0.0%">
                  <c:v>0.38313334000200056</c:v>
                </c:pt>
                <c:pt idx="1266" formatCode="0.0%">
                  <c:v>0.38667570271081331</c:v>
                </c:pt>
                <c:pt idx="1267" formatCode="0.0%">
                  <c:v>0.39133129938981681</c:v>
                </c:pt>
                <c:pt idx="1268" formatCode="0.0%">
                  <c:v>0.38950955286585953</c:v>
                </c:pt>
                <c:pt idx="1269" formatCode="0.0%">
                  <c:v>0.38950955286585953</c:v>
                </c:pt>
                <c:pt idx="1270" formatCode="0.0%">
                  <c:v>0.38950955286585953</c:v>
                </c:pt>
                <c:pt idx="1271" formatCode="0.0%">
                  <c:v>0.39173612083625076</c:v>
                </c:pt>
                <c:pt idx="1272" formatCode="0.0%">
                  <c:v>0.3927482244673402</c:v>
                </c:pt>
                <c:pt idx="1273" formatCode="0.0%">
                  <c:v>0.39173612083625076</c:v>
                </c:pt>
                <c:pt idx="1274" formatCode="0.0%">
                  <c:v>0.39244463339001695</c:v>
                </c:pt>
                <c:pt idx="1275" formatCode="0.0%">
                  <c:v>0.40023777133139959</c:v>
                </c:pt>
                <c:pt idx="1276" formatCode="0.0%">
                  <c:v>0.40023777133139959</c:v>
                </c:pt>
                <c:pt idx="1277" formatCode="0.0%">
                  <c:v>0.38541362408722618</c:v>
                </c:pt>
                <c:pt idx="1278" formatCode="0.0%">
                  <c:v>0.38363939181754547</c:v>
                </c:pt>
                <c:pt idx="1279" formatCode="0.0%">
                  <c:v>0.38404421326397908</c:v>
                </c:pt>
                <c:pt idx="1280" formatCode="0.0%">
                  <c:v>0.38505631689506858</c:v>
                </c:pt>
                <c:pt idx="1281" formatCode="0.0%">
                  <c:v>0.38880104031209356</c:v>
                </c:pt>
                <c:pt idx="1282" formatCode="0.0%">
                  <c:v>0.38728288486545948</c:v>
                </c:pt>
                <c:pt idx="1283" formatCode="0.0%">
                  <c:v>0.38728288486545948</c:v>
                </c:pt>
                <c:pt idx="1284" formatCode="0.0%">
                  <c:v>0.38728288486545948</c:v>
                </c:pt>
                <c:pt idx="1285" formatCode="0.0%">
                  <c:v>0.39345673702110617</c:v>
                </c:pt>
                <c:pt idx="1286" formatCode="0.0%">
                  <c:v>0.3931531459437832</c:v>
                </c:pt>
                <c:pt idx="1287" formatCode="0.0%">
                  <c:v>0.3979099729918974</c:v>
                </c:pt>
                <c:pt idx="1288" formatCode="0.0%">
                  <c:v>0.40236320896268896</c:v>
                </c:pt>
                <c:pt idx="1289" formatCode="0.0%">
                  <c:v>0.40539951985595679</c:v>
                </c:pt>
                <c:pt idx="1290" formatCode="0.0%">
                  <c:v>0.40539951985595679</c:v>
                </c:pt>
                <c:pt idx="1291" formatCode="0.0%">
                  <c:v>0.40539951985595679</c:v>
                </c:pt>
                <c:pt idx="1292" formatCode="0.0%">
                  <c:v>0.40489346804041221</c:v>
                </c:pt>
                <c:pt idx="1293" formatCode="0.0%">
                  <c:v>0.4084358307492249</c:v>
                </c:pt>
                <c:pt idx="1294" formatCode="0.0%">
                  <c:v>0.3927482244673402</c:v>
                </c:pt>
                <c:pt idx="1295" formatCode="0.0%">
                  <c:v>0.39487366209862956</c:v>
                </c:pt>
                <c:pt idx="1296" formatCode="0.0%">
                  <c:v>0.37827528258477544</c:v>
                </c:pt>
                <c:pt idx="1297" formatCode="0.0%">
                  <c:v>0.37827528258477544</c:v>
                </c:pt>
                <c:pt idx="1298" formatCode="0.0%">
                  <c:v>0.37827528258477544</c:v>
                </c:pt>
                <c:pt idx="1299" formatCode="0.0%">
                  <c:v>0.38778893668100439</c:v>
                </c:pt>
                <c:pt idx="1300" formatCode="0.0%">
                  <c:v>0.40185715714714432</c:v>
                </c:pt>
                <c:pt idx="1301" formatCode="0.0%">
                  <c:v>0.38141272381714514</c:v>
                </c:pt>
                <c:pt idx="1302" formatCode="0.0%">
                  <c:v>0.36592767830349116</c:v>
                </c:pt>
                <c:pt idx="1303" formatCode="0.0%">
                  <c:v>0.37827528258477544</c:v>
                </c:pt>
                <c:pt idx="1304" formatCode="0.0%">
                  <c:v>0.37827528258477544</c:v>
                </c:pt>
                <c:pt idx="1305" formatCode="0.0%">
                  <c:v>0.37827528258477544</c:v>
                </c:pt>
                <c:pt idx="1306" formatCode="0.0%">
                  <c:v>0.38293087926377922</c:v>
                </c:pt>
                <c:pt idx="1307" formatCode="0.0%">
                  <c:v>0.38434780434130233</c:v>
                </c:pt>
                <c:pt idx="1308" formatCode="0.0%">
                  <c:v>0.39774702410723195</c:v>
                </c:pt>
                <c:pt idx="1309" formatCode="0.0%">
                  <c:v>0.39234340302090603</c:v>
                </c:pt>
                <c:pt idx="1310" formatCode="0.0%">
                  <c:v>0.33485625687706316</c:v>
                </c:pt>
                <c:pt idx="1311" formatCode="0.0%">
                  <c:v>0.33485625687706316</c:v>
                </c:pt>
                <c:pt idx="1312" formatCode="0.0%">
                  <c:v>0.33485625687706316</c:v>
                </c:pt>
                <c:pt idx="1313" formatCode="0.0%">
                  <c:v>0.29892677803341028</c:v>
                </c:pt>
                <c:pt idx="1314" formatCode="0.0%">
                  <c:v>0.3202819845953786</c:v>
                </c:pt>
                <c:pt idx="1315" formatCode="0.0%">
                  <c:v>0.33181994598379505</c:v>
                </c:pt>
                <c:pt idx="1316" formatCode="0.0%">
                  <c:v>0.33202240672201666</c:v>
                </c:pt>
                <c:pt idx="1317" formatCode="0.0%">
                  <c:v>0.33515984795438641</c:v>
                </c:pt>
                <c:pt idx="1318" formatCode="0.0%">
                  <c:v>0.33515984795438641</c:v>
                </c:pt>
                <c:pt idx="1319" formatCode="0.0%">
                  <c:v>0.33515984795438641</c:v>
                </c:pt>
                <c:pt idx="1320" formatCode="0.0%">
                  <c:v>0.34103000900270075</c:v>
                </c:pt>
                <c:pt idx="1321" formatCode="0.0%">
                  <c:v>0.34568570571171364</c:v>
                </c:pt>
                <c:pt idx="1322" formatCode="0.0%">
                  <c:v>0.3467990397119135</c:v>
                </c:pt>
                <c:pt idx="1323" formatCode="0.0%">
                  <c:v>0.37220266079823972</c:v>
                </c:pt>
                <c:pt idx="1324" formatCode="0.0%">
                  <c:v>0.37574502350705219</c:v>
                </c:pt>
                <c:pt idx="1325" formatCode="0.0%">
                  <c:v>0.37574502350705219</c:v>
                </c:pt>
                <c:pt idx="1326" formatCode="0.0%">
                  <c:v>0.37574502350705219</c:v>
                </c:pt>
                <c:pt idx="1327" formatCode="0.0%">
                  <c:v>0.37473291987596269</c:v>
                </c:pt>
                <c:pt idx="1328" formatCode="0.0%">
                  <c:v>0.3778704611383415</c:v>
                </c:pt>
                <c:pt idx="1329" formatCode="0.0%">
                  <c:v>0.38303210963288992</c:v>
                </c:pt>
                <c:pt idx="1330" formatCode="0.0%">
                  <c:v>0.38525877763328992</c:v>
                </c:pt>
                <c:pt idx="1331" formatCode="0.0%">
                  <c:v>0.38232369710913278</c:v>
                </c:pt>
                <c:pt idx="1332" formatCode="0.0%">
                  <c:v>0.38232369710913278</c:v>
                </c:pt>
                <c:pt idx="1333" formatCode="0.0%">
                  <c:v>0.38232369710913278</c:v>
                </c:pt>
                <c:pt idx="1334" formatCode="0.0%">
                  <c:v>0.37918615584675391</c:v>
                </c:pt>
                <c:pt idx="1335" formatCode="0.0%">
                  <c:v>0.37726317895368622</c:v>
                </c:pt>
                <c:pt idx="1336" formatCode="0.0%">
                  <c:v>0.38525877763328992</c:v>
                </c:pt>
                <c:pt idx="1337" formatCode="0.0%">
                  <c:v>0.39193858157447237</c:v>
                </c:pt>
                <c:pt idx="1338" formatCode="0.0%">
                  <c:v>0.39527848354506345</c:v>
                </c:pt>
                <c:pt idx="1339" formatCode="0.0%">
                  <c:v>0.39719435830749206</c:v>
                </c:pt>
                <c:pt idx="1340" formatCode="0.0%">
                  <c:v>0.39719435830749206</c:v>
                </c:pt>
                <c:pt idx="1341" formatCode="0.0%">
                  <c:v>0.39742012603781118</c:v>
                </c:pt>
                <c:pt idx="1342" formatCode="0.0%">
                  <c:v>0.38809262778833642</c:v>
                </c:pt>
                <c:pt idx="1343" formatCode="0.0%">
                  <c:v>0.36947004101230363</c:v>
                </c:pt>
                <c:pt idx="1344" formatCode="0.0%">
                  <c:v>0.36997609282784849</c:v>
                </c:pt>
                <c:pt idx="1345" formatCode="0.0%">
                  <c:v>0.35550305091527462</c:v>
                </c:pt>
                <c:pt idx="1346" formatCode="0.0%">
                  <c:v>0.35550305091527462</c:v>
                </c:pt>
                <c:pt idx="1347" formatCode="0.0%">
                  <c:v>0.35550305091527462</c:v>
                </c:pt>
                <c:pt idx="1348" formatCode="0.0%">
                  <c:v>0.3590454136240871</c:v>
                </c:pt>
                <c:pt idx="1349" formatCode="0.0%">
                  <c:v>0.36936881064319321</c:v>
                </c:pt>
                <c:pt idx="1350" formatCode="0.0%">
                  <c:v>0.36137321196358924</c:v>
                </c:pt>
                <c:pt idx="1351" formatCode="0.0%">
                  <c:v>0.38768780634190247</c:v>
                </c:pt>
                <c:pt idx="1352" formatCode="0.0%">
                  <c:v>0.39527848354506345</c:v>
                </c:pt>
                <c:pt idx="1353" formatCode="0.0%">
                  <c:v>0.39527848354506345</c:v>
                </c:pt>
                <c:pt idx="1354" formatCode="0.0%">
                  <c:v>0.39527848354506345</c:v>
                </c:pt>
                <c:pt idx="1355" formatCode="0.0%">
                  <c:v>0.39406401920576173</c:v>
                </c:pt>
                <c:pt idx="1356" formatCode="0.0%">
                  <c:v>0.40226197859357826</c:v>
                </c:pt>
                <c:pt idx="1357" formatCode="0.0%">
                  <c:v>0.39031919575872764</c:v>
                </c:pt>
                <c:pt idx="1358" formatCode="0.0%">
                  <c:v>0.4052982894868461</c:v>
                </c:pt>
                <c:pt idx="1359" formatCode="0.0%">
                  <c:v>0.39193858157447237</c:v>
                </c:pt>
                <c:pt idx="1360" formatCode="0.0%">
                  <c:v>0.39193858157447237</c:v>
                </c:pt>
                <c:pt idx="1361" formatCode="0.0%">
                  <c:v>0.39193858157447237</c:v>
                </c:pt>
                <c:pt idx="1362" formatCode="0.0%">
                  <c:v>0.39649304791437429</c:v>
                </c:pt>
                <c:pt idx="1363" formatCode="0.0%">
                  <c:v>0.386372011603481</c:v>
                </c:pt>
                <c:pt idx="1364" formatCode="0.0%">
                  <c:v>0.39214104231269376</c:v>
                </c:pt>
                <c:pt idx="1365" formatCode="0.0%">
                  <c:v>0.40286926077823354</c:v>
                </c:pt>
                <c:pt idx="1366" formatCode="0.0%">
                  <c:v>0.40539951985595679</c:v>
                </c:pt>
                <c:pt idx="1367" formatCode="0.0%">
                  <c:v>0.40539951985595679</c:v>
                </c:pt>
                <c:pt idx="1368" formatCode="0.0%">
                  <c:v>0.40539951985595679</c:v>
                </c:pt>
                <c:pt idx="1369" formatCode="0.0%">
                  <c:v>0.3994574372311695</c:v>
                </c:pt>
                <c:pt idx="1370" formatCode="0.0%">
                  <c:v>0.39649304791437429</c:v>
                </c:pt>
                <c:pt idx="1371" formatCode="0.0%">
                  <c:v>0.40266680004001215</c:v>
                </c:pt>
                <c:pt idx="1372" formatCode="0.0%">
                  <c:v>0.39679663899169754</c:v>
                </c:pt>
                <c:pt idx="1373" formatCode="0.0%">
                  <c:v>0.40438741622486757</c:v>
                </c:pt>
                <c:pt idx="1374" formatCode="0.0%">
                  <c:v>0.40438741622486757</c:v>
                </c:pt>
                <c:pt idx="1375" formatCode="0.0%">
                  <c:v>0.40438741622486757</c:v>
                </c:pt>
                <c:pt idx="1376" formatCode="0.0%">
                  <c:v>0.40570311093328004</c:v>
                </c:pt>
                <c:pt idx="1377" formatCode="0.0%">
                  <c:v>0.40691767530259088</c:v>
                </c:pt>
                <c:pt idx="1378" formatCode="0.0%">
                  <c:v>0.41886035810743211</c:v>
                </c:pt>
                <c:pt idx="1379" formatCode="0.0%">
                  <c:v>0.42078333500050008</c:v>
                </c:pt>
                <c:pt idx="1380" formatCode="0.0%">
                  <c:v>0.43211883565069542</c:v>
                </c:pt>
                <c:pt idx="1381" formatCode="0.0%">
                  <c:v>0.43211883565069542</c:v>
                </c:pt>
                <c:pt idx="1382" formatCode="0.0%">
                  <c:v>0.43211883565069542</c:v>
                </c:pt>
                <c:pt idx="1383" formatCode="0.0%">
                  <c:v>0.44497249174752423</c:v>
                </c:pt>
                <c:pt idx="1384" formatCode="0.0%">
                  <c:v>0.44831249374812443</c:v>
                </c:pt>
                <c:pt idx="1385" formatCode="0.0%">
                  <c:v>0.43535760728218464</c:v>
                </c:pt>
                <c:pt idx="1386" formatCode="0.0%">
                  <c:v>0.44598459537861374</c:v>
                </c:pt>
                <c:pt idx="1387" formatCode="0.0%">
                  <c:v>0.44132899869960995</c:v>
                </c:pt>
                <c:pt idx="1388" formatCode="0.0%">
                  <c:v>0.44132899869960995</c:v>
                </c:pt>
                <c:pt idx="1389" formatCode="0.0%">
                  <c:v>0.44132899869960995</c:v>
                </c:pt>
                <c:pt idx="1390" formatCode="0.0%">
                  <c:v>0.44325197559267793</c:v>
                </c:pt>
                <c:pt idx="1391" formatCode="0.0%">
                  <c:v>0.44274592377713307</c:v>
                </c:pt>
                <c:pt idx="1392" formatCode="0.0%">
                  <c:v>0.44031689506852045</c:v>
                </c:pt>
                <c:pt idx="1393" formatCode="0.0%">
                  <c:v>0.43869750925277573</c:v>
                </c:pt>
                <c:pt idx="1394" formatCode="0.0%">
                  <c:v>0.43930479143743129</c:v>
                </c:pt>
                <c:pt idx="1395" formatCode="0.0%">
                  <c:v>0.43930479143743129</c:v>
                </c:pt>
                <c:pt idx="1396" formatCode="0.0%">
                  <c:v>0.43930479143743129</c:v>
                </c:pt>
                <c:pt idx="1397" formatCode="0.0%">
                  <c:v>0.43576242872861881</c:v>
                </c:pt>
                <c:pt idx="1398" formatCode="0.0%">
                  <c:v>0.43809022706812073</c:v>
                </c:pt>
                <c:pt idx="1399" formatCode="0.0%">
                  <c:v>0.43272611783535042</c:v>
                </c:pt>
                <c:pt idx="1400" formatCode="0.0%">
                  <c:v>0.39919125737721317</c:v>
                </c:pt>
                <c:pt idx="1401" formatCode="0.0%">
                  <c:v>0.41683615084525372</c:v>
                </c:pt>
                <c:pt idx="1402" formatCode="0.0%">
                  <c:v>0.41683615084525372</c:v>
                </c:pt>
                <c:pt idx="1403" formatCode="0.0%">
                  <c:v>0.41683615084525372</c:v>
                </c:pt>
                <c:pt idx="1404" formatCode="0.0%">
                  <c:v>0.40691767530259088</c:v>
                </c:pt>
                <c:pt idx="1405" formatCode="0.0%">
                  <c:v>0.41167450235070535</c:v>
                </c:pt>
                <c:pt idx="1406" formatCode="0.0%">
                  <c:v>0.44902090627188157</c:v>
                </c:pt>
                <c:pt idx="1407" formatCode="0.0%">
                  <c:v>0.44912213664099226</c:v>
                </c:pt>
                <c:pt idx="1408" formatCode="0.0%">
                  <c:v>0.46258307492247669</c:v>
                </c:pt>
                <c:pt idx="1409" formatCode="0.0%">
                  <c:v>0.46258307492247669</c:v>
                </c:pt>
                <c:pt idx="1410" formatCode="0.0%">
                  <c:v>0.46258307492247669</c:v>
                </c:pt>
                <c:pt idx="1411" formatCode="0.0%">
                  <c:v>0.47827058117435228</c:v>
                </c:pt>
                <c:pt idx="1412" formatCode="0.0%">
                  <c:v>0.47574032209662931</c:v>
                </c:pt>
                <c:pt idx="1413" formatCode="0.0%">
                  <c:v>0.47209672901870564</c:v>
                </c:pt>
                <c:pt idx="1414" formatCode="0.0%">
                  <c:v>0.48049714914474351</c:v>
                </c:pt>
                <c:pt idx="1415" formatCode="0.0%">
                  <c:v>0.45701650495148527</c:v>
                </c:pt>
                <c:pt idx="1416" formatCode="0.0%">
                  <c:v>0.45701650495148527</c:v>
                </c:pt>
                <c:pt idx="1417" formatCode="0.0%">
                  <c:v>0.45701650495148527</c:v>
                </c:pt>
                <c:pt idx="1418" formatCode="0.0%">
                  <c:v>0.45215844753426038</c:v>
                </c:pt>
                <c:pt idx="1419" formatCode="0.0%">
                  <c:v>0.44730039011703526</c:v>
                </c:pt>
                <c:pt idx="1420" formatCode="0.0%">
                  <c:v>0.45489106732019591</c:v>
                </c:pt>
                <c:pt idx="1421" formatCode="0.0%">
                  <c:v>0.46126728018405516</c:v>
                </c:pt>
                <c:pt idx="1422" formatCode="0.0%">
                  <c:v>0.48667100130039015</c:v>
                </c:pt>
                <c:pt idx="1423" formatCode="0.0%">
                  <c:v>0.48667100130039015</c:v>
                </c:pt>
                <c:pt idx="1424" formatCode="0.0%">
                  <c:v>0.48667100130039015</c:v>
                </c:pt>
                <c:pt idx="1425" formatCode="0.0%">
                  <c:v>0.48495038511553473</c:v>
                </c:pt>
                <c:pt idx="1426" formatCode="0.0%">
                  <c:v>0.48515284585375612</c:v>
                </c:pt>
                <c:pt idx="1427" formatCode="0.0%">
                  <c:v>0.48322986896068815</c:v>
                </c:pt>
                <c:pt idx="1428" formatCode="0.0%">
                  <c:v>0.48383705111533459</c:v>
                </c:pt>
                <c:pt idx="1429" formatCode="0.0%">
                  <c:v>0.48950485145543665</c:v>
                </c:pt>
                <c:pt idx="1430" formatCode="0.0%">
                  <c:v>0.48958577573272011</c:v>
                </c:pt>
                <c:pt idx="1431" formatCode="0.0%">
                  <c:v>0.48958577573272011</c:v>
                </c:pt>
                <c:pt idx="1432" formatCode="0.0%">
                  <c:v>0.5041802540762228</c:v>
                </c:pt>
                <c:pt idx="1433" formatCode="0.0%">
                  <c:v>0.50367420226067816</c:v>
                </c:pt>
                <c:pt idx="1434" formatCode="0.0%">
                  <c:v>0.5112649794938483</c:v>
                </c:pt>
                <c:pt idx="1435" formatCode="0.0%">
                  <c:v>0.50488876662998872</c:v>
                </c:pt>
                <c:pt idx="1436" formatCode="0.0%">
                  <c:v>0.51247944383315003</c:v>
                </c:pt>
                <c:pt idx="1437" formatCode="0.0%">
                  <c:v>0.51247944383315003</c:v>
                </c:pt>
                <c:pt idx="1438" formatCode="0.0%">
                  <c:v>0.51247944383315003</c:v>
                </c:pt>
                <c:pt idx="1439" formatCode="0.0%">
                  <c:v>0.50498989696909091</c:v>
                </c:pt>
                <c:pt idx="1440" formatCode="0.0%">
                  <c:v>0.50913954186255894</c:v>
                </c:pt>
                <c:pt idx="1441" formatCode="0.0%">
                  <c:v>0.51652785835750736</c:v>
                </c:pt>
                <c:pt idx="1442" formatCode="0.0%">
                  <c:v>0.514807342202661</c:v>
                </c:pt>
                <c:pt idx="1443" formatCode="0.0%">
                  <c:v>0.50053676102830846</c:v>
                </c:pt>
                <c:pt idx="1444" formatCode="0.0%">
                  <c:v>0.50053676102830846</c:v>
                </c:pt>
                <c:pt idx="1445" formatCode="0.0%">
                  <c:v>0.50053676102830846</c:v>
                </c:pt>
                <c:pt idx="1446" formatCode="0.0%">
                  <c:v>0.50134640392117635</c:v>
                </c:pt>
                <c:pt idx="1447" formatCode="0.0%">
                  <c:v>0.49486896068820641</c:v>
                </c:pt>
                <c:pt idx="1448" formatCode="0.0%">
                  <c:v>0.50164999499849927</c:v>
                </c:pt>
                <c:pt idx="1449" formatCode="0.0%">
                  <c:v>0.47948504551365401</c:v>
                </c:pt>
                <c:pt idx="1450" formatCode="0.0%">
                  <c:v>0.47513303991197375</c:v>
                </c:pt>
                <c:pt idx="1451" formatCode="0.0%">
                  <c:v>0.47513303991197375</c:v>
                </c:pt>
                <c:pt idx="1452" formatCode="0.0%">
                  <c:v>0.47513303991197375</c:v>
                </c:pt>
                <c:pt idx="1453" formatCode="0.0%">
                  <c:v>0.48245053516054809</c:v>
                </c:pt>
                <c:pt idx="1454" formatCode="0.0%">
                  <c:v>0.48245053516054809</c:v>
                </c:pt>
                <c:pt idx="1455" formatCode="0.0%">
                  <c:v>0.48245053516054809</c:v>
                </c:pt>
                <c:pt idx="1456" formatCode="0.0%">
                  <c:v>0.48245053516054809</c:v>
                </c:pt>
                <c:pt idx="1457" formatCode="0.0%">
                  <c:v>0.47644873462038617</c:v>
                </c:pt>
                <c:pt idx="1458" formatCode="0.0%">
                  <c:v>0.47644873462038617</c:v>
                </c:pt>
                <c:pt idx="1459" formatCode="0.0%">
                  <c:v>0.47644873462038617</c:v>
                </c:pt>
                <c:pt idx="1460" formatCode="0.0%">
                  <c:v>0.46288666599979988</c:v>
                </c:pt>
                <c:pt idx="1461" formatCode="0.0%">
                  <c:v>0.47264029208762648</c:v>
                </c:pt>
                <c:pt idx="1462" formatCode="0.0%">
                  <c:v>0.47264029208762648</c:v>
                </c:pt>
                <c:pt idx="1463" formatCode="0.0%">
                  <c:v>0.48454556366910084</c:v>
                </c:pt>
                <c:pt idx="1464" formatCode="0.0%">
                  <c:v>0.48039591877563281</c:v>
                </c:pt>
                <c:pt idx="1465" formatCode="0.0%">
                  <c:v>0.48039591877563281</c:v>
                </c:pt>
                <c:pt idx="1466" formatCode="0.0%">
                  <c:v>0.48039591877563281</c:v>
                </c:pt>
                <c:pt idx="1467" formatCode="0.0%">
                  <c:v>0.49304721416424913</c:v>
                </c:pt>
                <c:pt idx="1468" formatCode="0.0%">
                  <c:v>0.4869745923777134</c:v>
                </c:pt>
                <c:pt idx="1469" formatCode="0.0%">
                  <c:v>0.48322986896068815</c:v>
                </c:pt>
                <c:pt idx="1470" formatCode="0.0%">
                  <c:v>0.48940362108632596</c:v>
                </c:pt>
                <c:pt idx="1471" formatCode="0.0%">
                  <c:v>0.47523427028108445</c:v>
                </c:pt>
                <c:pt idx="1472" formatCode="0.0%">
                  <c:v>0.47523427028108445</c:v>
                </c:pt>
                <c:pt idx="1473" formatCode="0.0%">
                  <c:v>0.47523427028108445</c:v>
                </c:pt>
                <c:pt idx="1474" formatCode="0.0%">
                  <c:v>0.46976893067920372</c:v>
                </c:pt>
                <c:pt idx="1475" formatCode="0.0%">
                  <c:v>0.47503180954286306</c:v>
                </c:pt>
                <c:pt idx="1476" formatCode="0.0%">
                  <c:v>0.48626607982394715</c:v>
                </c:pt>
                <c:pt idx="1477" formatCode="0.0%">
                  <c:v>0.49385685705711724</c:v>
                </c:pt>
                <c:pt idx="1478" formatCode="0.0%">
                  <c:v>0.50205481644493344</c:v>
                </c:pt>
                <c:pt idx="1479" formatCode="0.0%">
                  <c:v>0.50205481644493344</c:v>
                </c:pt>
                <c:pt idx="1480" formatCode="0.0%">
                  <c:v>0.50205481644493344</c:v>
                </c:pt>
                <c:pt idx="1481" formatCode="0.0%">
                  <c:v>0.50013183955186546</c:v>
                </c:pt>
                <c:pt idx="1482" formatCode="0.0%">
                  <c:v>0.50316815044513363</c:v>
                </c:pt>
                <c:pt idx="1483" formatCode="0.0%">
                  <c:v>0.52401740522156648</c:v>
                </c:pt>
                <c:pt idx="1484" formatCode="0.0%">
                  <c:v>0.51612303691107342</c:v>
                </c:pt>
                <c:pt idx="1485" formatCode="0.0%">
                  <c:v>0.51399759927978406</c:v>
                </c:pt>
                <c:pt idx="1486" formatCode="0.0%">
                  <c:v>0.51399759927978406</c:v>
                </c:pt>
                <c:pt idx="1487" formatCode="0.0%">
                  <c:v>0.51399759927978406</c:v>
                </c:pt>
                <c:pt idx="1488" formatCode="0.0%">
                  <c:v>0.48586125837751326</c:v>
                </c:pt>
                <c:pt idx="1489" formatCode="0.0%">
                  <c:v>0.4931484445333601</c:v>
                </c:pt>
                <c:pt idx="1490" formatCode="0.0%">
                  <c:v>0.49982824847454227</c:v>
                </c:pt>
                <c:pt idx="1491" formatCode="0.0%">
                  <c:v>0.50094158247474241</c:v>
                </c:pt>
                <c:pt idx="1492" formatCode="0.0%">
                  <c:v>0.50948674602380717</c:v>
                </c:pt>
                <c:pt idx="1493" formatCode="0.0%">
                  <c:v>0.50948674602380717</c:v>
                </c:pt>
                <c:pt idx="1494" formatCode="0.0%">
                  <c:v>0.50948674602380717</c:v>
                </c:pt>
                <c:pt idx="1495" formatCode="0.0%">
                  <c:v>0.50893708112433755</c:v>
                </c:pt>
                <c:pt idx="1496" formatCode="0.0%">
                  <c:v>0.50848474542362709</c:v>
                </c:pt>
                <c:pt idx="1497" formatCode="0.0%">
                  <c:v>0.5002135640692208</c:v>
                </c:pt>
                <c:pt idx="1498" formatCode="0.0%">
                  <c:v>0.51945373612083612</c:v>
                </c:pt>
                <c:pt idx="1499" formatCode="0.0%">
                  <c:v>0.51321366409922975</c:v>
                </c:pt>
                <c:pt idx="1500" formatCode="0.0%">
                  <c:v>0.51321366409922975</c:v>
                </c:pt>
                <c:pt idx="1501" formatCode="0.0%">
                  <c:v>0.51321366409922975</c:v>
                </c:pt>
                <c:pt idx="1502" formatCode="0.0%">
                  <c:v>0.52413374012203662</c:v>
                </c:pt>
                <c:pt idx="1503" formatCode="0.0%">
                  <c:v>0.51997369210763222</c:v>
                </c:pt>
                <c:pt idx="1504" formatCode="0.0%">
                  <c:v>0.51144563369010709</c:v>
                </c:pt>
                <c:pt idx="1505" formatCode="0.0%">
                  <c:v>0.51321366409922975</c:v>
                </c:pt>
                <c:pt idx="1506" formatCode="0.0%">
                  <c:v>0.50718155446634006</c:v>
                </c:pt>
                <c:pt idx="1507" formatCode="0.0%">
                  <c:v>0.50718155446634006</c:v>
                </c:pt>
                <c:pt idx="1508" formatCode="0.0%">
                  <c:v>0.50718155446634006</c:v>
                </c:pt>
                <c:pt idx="1509" formatCode="0.0%">
                  <c:v>0.50790957287186156</c:v>
                </c:pt>
                <c:pt idx="1510" formatCode="0.0%">
                  <c:v>0.50946964089226754</c:v>
                </c:pt>
                <c:pt idx="1511" formatCode="0.0%">
                  <c:v>0.51030159047714307</c:v>
                </c:pt>
                <c:pt idx="1512" formatCode="0.0%">
                  <c:v>0.51144563369010709</c:v>
                </c:pt>
                <c:pt idx="1513" formatCode="0.0%">
                  <c:v>0.50530959287786348</c:v>
                </c:pt>
                <c:pt idx="1514" formatCode="0.0%">
                  <c:v>0.50530959287786348</c:v>
                </c:pt>
                <c:pt idx="1515" formatCode="0.0%">
                  <c:v>0.50530959287786348</c:v>
                </c:pt>
                <c:pt idx="1516" formatCode="0.0%">
                  <c:v>0.48846143843152956</c:v>
                </c:pt>
                <c:pt idx="1517" formatCode="0.0%">
                  <c:v>0.47431729518855631</c:v>
                </c:pt>
                <c:pt idx="1518" formatCode="0.0%">
                  <c:v>0.4895014504351306</c:v>
                </c:pt>
                <c:pt idx="1519" formatCode="0.0%">
                  <c:v>0.48710943282984887</c:v>
                </c:pt>
                <c:pt idx="1520" formatCode="0.0%">
                  <c:v>0.47964419325797736</c:v>
                </c:pt>
                <c:pt idx="1521" formatCode="0.0%">
                  <c:v>0.47964419325797736</c:v>
                </c:pt>
                <c:pt idx="1522" formatCode="0.0%">
                  <c:v>0.47964419325797736</c:v>
                </c:pt>
                <c:pt idx="1523" formatCode="0.0%">
                  <c:v>0.47015724717415225</c:v>
                </c:pt>
                <c:pt idx="1524" formatCode="0.0%">
                  <c:v>0.43209292787836345</c:v>
                </c:pt>
                <c:pt idx="1525" formatCode="0.0%">
                  <c:v>0.42075682704811468</c:v>
                </c:pt>
                <c:pt idx="1526" formatCode="0.0%">
                  <c:v>0.41566079823947177</c:v>
                </c:pt>
                <c:pt idx="1527" formatCode="0.0%">
                  <c:v>0.39434060218065442</c:v>
                </c:pt>
                <c:pt idx="1528" formatCode="0.0%">
                  <c:v>0.39434060218065442</c:v>
                </c:pt>
                <c:pt idx="1529" formatCode="0.0%">
                  <c:v>0.39434060218065442</c:v>
                </c:pt>
                <c:pt idx="1530" formatCode="0.0%">
                  <c:v>0.38841252375712715</c:v>
                </c:pt>
                <c:pt idx="1531" formatCode="0.0%">
                  <c:v>0.36314024207262208</c:v>
                </c:pt>
                <c:pt idx="1532" formatCode="0.0%">
                  <c:v>0.3596042812843851</c:v>
                </c:pt>
                <c:pt idx="1533" formatCode="0.0%">
                  <c:v>0.36085225567670309</c:v>
                </c:pt>
                <c:pt idx="1534" formatCode="0.0%">
                  <c:v>0.37582844853456038</c:v>
                </c:pt>
                <c:pt idx="1535" formatCode="0.0%">
                  <c:v>0.37582844853456038</c:v>
                </c:pt>
                <c:pt idx="1536" formatCode="0.0%">
                  <c:v>0.37582844853456038</c:v>
                </c:pt>
                <c:pt idx="1537" formatCode="0.0%">
                  <c:v>0.37822046613984184</c:v>
                </c:pt>
                <c:pt idx="1538" formatCode="0.0%">
                  <c:v>0.370628388516555</c:v>
                </c:pt>
                <c:pt idx="1539" formatCode="0.0%">
                  <c:v>0.38321246373912177</c:v>
                </c:pt>
                <c:pt idx="1540" formatCode="0.0%">
                  <c:v>0.3933005901770531</c:v>
                </c:pt>
                <c:pt idx="1541" formatCode="0.0%">
                  <c:v>0.3788444533360007</c:v>
                </c:pt>
                <c:pt idx="1542" formatCode="0.0%">
                  <c:v>0.3788444533360007</c:v>
                </c:pt>
                <c:pt idx="1543" formatCode="0.0%">
                  <c:v>0.3788444533360007</c:v>
                </c:pt>
                <c:pt idx="1544" formatCode="0.0%">
                  <c:v>0.40266059817945404</c:v>
                </c:pt>
                <c:pt idx="1545" formatCode="0.0%">
                  <c:v>0.40224467340202069</c:v>
                </c:pt>
                <c:pt idx="1546" formatCode="0.0%">
                  <c:v>0.39548454536360877</c:v>
                </c:pt>
                <c:pt idx="1547" formatCode="0.0%">
                  <c:v>0.38945253576072841</c:v>
                </c:pt>
                <c:pt idx="1548" formatCode="0.0%">
                  <c:v>0.36106031809542855</c:v>
                </c:pt>
                <c:pt idx="1549" formatCode="0.0%">
                  <c:v>0.36106031809542855</c:v>
                </c:pt>
                <c:pt idx="1550" formatCode="0.0%">
                  <c:v>0.36106031809542855</c:v>
                </c:pt>
                <c:pt idx="1551" formatCode="0.0%">
                  <c:v>0.35808062418725628</c:v>
                </c:pt>
                <c:pt idx="1552" formatCode="0.0%">
                  <c:v>0.36423747124137262</c:v>
                </c:pt>
                <c:pt idx="1553" formatCode="0.0%">
                  <c:v>0.35752425727718334</c:v>
                </c:pt>
                <c:pt idx="1554" formatCode="0.0%">
                  <c:v>0.29886766029808937</c:v>
                </c:pt>
                <c:pt idx="1555" formatCode="0.0%">
                  <c:v>0.25685135540662202</c:v>
                </c:pt>
                <c:pt idx="1556" formatCode="0.0%">
                  <c:v>0.25685135540662202</c:v>
                </c:pt>
                <c:pt idx="1557" formatCode="0.0%">
                  <c:v>0.25685135540662202</c:v>
                </c:pt>
                <c:pt idx="1558" formatCode="0.0%">
                  <c:v>0.23605111533460033</c:v>
                </c:pt>
                <c:pt idx="1559" formatCode="0.0%">
                  <c:v>0.27713153946183849</c:v>
                </c:pt>
                <c:pt idx="1560" formatCode="0.0%">
                  <c:v>0.20110683204961505</c:v>
                </c:pt>
                <c:pt idx="1561" formatCode="0.0%">
                  <c:v>0.26454736420926284</c:v>
                </c:pt>
                <c:pt idx="1562" formatCode="0.0%">
                  <c:v>0.23989916975092512</c:v>
                </c:pt>
                <c:pt idx="1563" formatCode="0.0%">
                  <c:v>0.23989916975092512</c:v>
                </c:pt>
                <c:pt idx="1564" formatCode="0.0%">
                  <c:v>0.23989916975092512</c:v>
                </c:pt>
                <c:pt idx="1565" formatCode="0.0%">
                  <c:v>0.27650755226567969</c:v>
                </c:pt>
                <c:pt idx="1566" formatCode="0.0%">
                  <c:v>0.2776514954486346</c:v>
                </c:pt>
                <c:pt idx="1567" formatCode="0.0%">
                  <c:v>0.25685135540662202</c:v>
                </c:pt>
                <c:pt idx="1568" formatCode="0.0%">
                  <c:v>0.25685135540662202</c:v>
                </c:pt>
                <c:pt idx="1569" formatCode="0.0%">
                  <c:v>0.25685135540662202</c:v>
                </c:pt>
                <c:pt idx="1570" formatCode="0.0%">
                  <c:v>0.25685135540662202</c:v>
                </c:pt>
                <c:pt idx="1571" formatCode="0.0%">
                  <c:v>0.25685135540662202</c:v>
                </c:pt>
                <c:pt idx="1572" formatCode="0.0%">
                  <c:v>0.25685135540662202</c:v>
                </c:pt>
                <c:pt idx="1573" formatCode="0.0%">
                  <c:v>0.21982694808442532</c:v>
                </c:pt>
                <c:pt idx="1574" formatCode="0.0%">
                  <c:v>0.27681954586375895</c:v>
                </c:pt>
                <c:pt idx="1575" formatCode="0.0%">
                  <c:v>0.26361138341502438</c:v>
                </c:pt>
                <c:pt idx="1576" formatCode="0.0%">
                  <c:v>0.26985145543663108</c:v>
                </c:pt>
                <c:pt idx="1577" formatCode="0.0%">
                  <c:v>0.26985145543663108</c:v>
                </c:pt>
                <c:pt idx="1578" formatCode="0.0%">
                  <c:v>0.26985145543663108</c:v>
                </c:pt>
                <c:pt idx="1579" formatCode="0.0%">
                  <c:v>0.2811875562668803</c:v>
                </c:pt>
                <c:pt idx="1580" formatCode="0.0%">
                  <c:v>0.2744275282584776</c:v>
                </c:pt>
                <c:pt idx="1581" formatCode="0.0%">
                  <c:v>0.29287936380914259</c:v>
                </c:pt>
                <c:pt idx="1582" formatCode="0.0%">
                  <c:v>0.32226788036410936</c:v>
                </c:pt>
                <c:pt idx="1583" formatCode="0.0%">
                  <c:v>0.32819595878763635</c:v>
                </c:pt>
                <c:pt idx="1584" formatCode="0.0%">
                  <c:v>0.32819595878763635</c:v>
                </c:pt>
                <c:pt idx="1585" formatCode="0.0%">
                  <c:v>0.32819595878763635</c:v>
                </c:pt>
                <c:pt idx="1586" formatCode="0.0%">
                  <c:v>0.33214804441332374</c:v>
                </c:pt>
                <c:pt idx="1587" formatCode="0.0%">
                  <c:v>0.32434790437131139</c:v>
                </c:pt>
                <c:pt idx="1588" formatCode="0.0%">
                  <c:v>0.32393197959387804</c:v>
                </c:pt>
                <c:pt idx="1589" formatCode="0.0%">
                  <c:v>0.33859607882364712</c:v>
                </c:pt>
                <c:pt idx="1590" formatCode="0.0%">
                  <c:v>0.34421216364909468</c:v>
                </c:pt>
                <c:pt idx="1591" formatCode="0.0%">
                  <c:v>0.34421216364909468</c:v>
                </c:pt>
                <c:pt idx="1592" formatCode="0.0%">
                  <c:v>0.34421216364909468</c:v>
                </c:pt>
                <c:pt idx="1593" formatCode="0.0%">
                  <c:v>0.37416434930479142</c:v>
                </c:pt>
                <c:pt idx="1594" formatCode="0.0%">
                  <c:v>0.38498049414824465</c:v>
                </c:pt>
                <c:pt idx="1595" formatCode="0.0%">
                  <c:v>0.3823804141242374</c:v>
                </c:pt>
                <c:pt idx="1596" formatCode="0.0%">
                  <c:v>0.38040442132639785</c:v>
                </c:pt>
                <c:pt idx="1597" formatCode="0.0%">
                  <c:v>0.38986856056817032</c:v>
                </c:pt>
                <c:pt idx="1598" formatCode="0.0%">
                  <c:v>0.38986856056817032</c:v>
                </c:pt>
                <c:pt idx="1599" formatCode="0.0%">
                  <c:v>0.38986856056817032</c:v>
                </c:pt>
                <c:pt idx="1600" formatCode="0.0%">
                  <c:v>0.38695648694608392</c:v>
                </c:pt>
                <c:pt idx="1601" formatCode="0.0%">
                  <c:v>0.38986856056817032</c:v>
                </c:pt>
                <c:pt idx="1602" formatCode="0.0%">
                  <c:v>0.38113243973191968</c:v>
                </c:pt>
                <c:pt idx="1603" formatCode="0.0%">
                  <c:v>0.3727084125237573</c:v>
                </c:pt>
                <c:pt idx="1604" formatCode="0.0%">
                  <c:v>0.35534020206061823</c:v>
                </c:pt>
                <c:pt idx="1605" formatCode="0.0%">
                  <c:v>0.35534020206061823</c:v>
                </c:pt>
                <c:pt idx="1606" formatCode="0.0%">
                  <c:v>0.35534020206061823</c:v>
                </c:pt>
                <c:pt idx="1607" formatCode="0.0%">
                  <c:v>0.36854836450935269</c:v>
                </c:pt>
                <c:pt idx="1608" formatCode="0.0%">
                  <c:v>0.37811643493047908</c:v>
                </c:pt>
                <c:pt idx="1609" formatCode="0.0%">
                  <c:v>0.38071641492447755</c:v>
                </c:pt>
                <c:pt idx="1610" formatCode="0.0%">
                  <c:v>0.38071641492447755</c:v>
                </c:pt>
                <c:pt idx="1611" formatCode="0.0%">
                  <c:v>0.38071641492447755</c:v>
                </c:pt>
                <c:pt idx="1612" formatCode="0.0%">
                  <c:v>0.37574832449734913</c:v>
                </c:pt>
                <c:pt idx="1613" formatCode="0.0%">
                  <c:v>0.37574832449734913</c:v>
                </c:pt>
                <c:pt idx="1614" formatCode="0.0%">
                  <c:v>0.36012423727118148</c:v>
                </c:pt>
                <c:pt idx="1615" formatCode="0.0%">
                  <c:v>0.37208432529758939</c:v>
                </c:pt>
                <c:pt idx="1616" formatCode="0.0%">
                  <c:v>0.38102840852255665</c:v>
                </c:pt>
                <c:pt idx="1617" formatCode="0.0%">
                  <c:v>0.38102840852255665</c:v>
                </c:pt>
                <c:pt idx="1618" formatCode="0.0%">
                  <c:v>0.39267660298089424</c:v>
                </c:pt>
                <c:pt idx="1619" formatCode="0.0%">
                  <c:v>0.39267660298089424</c:v>
                </c:pt>
                <c:pt idx="1620" formatCode="0.0%">
                  <c:v>0.39267660298089424</c:v>
                </c:pt>
                <c:pt idx="1621" formatCode="0.0%">
                  <c:v>0.39267660298089424</c:v>
                </c:pt>
                <c:pt idx="1622" formatCode="0.0%">
                  <c:v>0.39590057017105151</c:v>
                </c:pt>
                <c:pt idx="1623" formatCode="0.0%">
                  <c:v>0.3995406621986598</c:v>
                </c:pt>
                <c:pt idx="1624" formatCode="0.0%">
                  <c:v>0.38695648694608392</c:v>
                </c:pt>
                <c:pt idx="1625" formatCode="0.0%">
                  <c:v>0.37094038211463443</c:v>
                </c:pt>
                <c:pt idx="1626" formatCode="0.0%">
                  <c:v>0.37094038211463443</c:v>
                </c:pt>
                <c:pt idx="1627" formatCode="0.0%">
                  <c:v>0.37094038211463443</c:v>
                </c:pt>
                <c:pt idx="1628" formatCode="0.0%">
                  <c:v>0.37655636691007316</c:v>
                </c:pt>
                <c:pt idx="1629" formatCode="0.0%">
                  <c:v>0.37551635490647184</c:v>
                </c:pt>
                <c:pt idx="1630" formatCode="0.0%">
                  <c:v>0.37645243573071924</c:v>
                </c:pt>
                <c:pt idx="1631" formatCode="0.0%">
                  <c:v>0.36054026207862366</c:v>
                </c:pt>
                <c:pt idx="1632" formatCode="0.0%">
                  <c:v>0.36397229168750639</c:v>
                </c:pt>
                <c:pt idx="1633" formatCode="0.0%">
                  <c:v>0.36397229168750639</c:v>
                </c:pt>
                <c:pt idx="1634" formatCode="0.0%">
                  <c:v>0.36397229168750639</c:v>
                </c:pt>
                <c:pt idx="1635" formatCode="0.0%">
                  <c:v>0.35388416524957506</c:v>
                </c:pt>
                <c:pt idx="1636" formatCode="0.0%">
                  <c:v>0.36501230369110743</c:v>
                </c:pt>
                <c:pt idx="1637" formatCode="0.0%">
                  <c:v>0.3711483445033511</c:v>
                </c:pt>
                <c:pt idx="1638" formatCode="0.0%">
                  <c:v>0.3660523156947082</c:v>
                </c:pt>
                <c:pt idx="1639" formatCode="0.0%">
                  <c:v>0.37853245973792127</c:v>
                </c:pt>
                <c:pt idx="1640" formatCode="0.0%">
                  <c:v>0.37853245973792127</c:v>
                </c:pt>
                <c:pt idx="1641" formatCode="0.0%">
                  <c:v>0.37853245973792127</c:v>
                </c:pt>
                <c:pt idx="1642" formatCode="0.0%">
                  <c:v>0.38080584175252596</c:v>
                </c:pt>
                <c:pt idx="1643" formatCode="0.0%">
                  <c:v>0.37364439331799532</c:v>
                </c:pt>
                <c:pt idx="1644" formatCode="0.0%">
                  <c:v>0.37614044213263981</c:v>
                </c:pt>
                <c:pt idx="1645" formatCode="0.0%">
                  <c:v>0.38893247974392325</c:v>
                </c:pt>
                <c:pt idx="1646" formatCode="0.0%">
                  <c:v>0.38113243973191968</c:v>
                </c:pt>
                <c:pt idx="1647" formatCode="0.0%">
                  <c:v>0.38113243973191968</c:v>
                </c:pt>
                <c:pt idx="1648" formatCode="0.0%">
                  <c:v>0.38113243973191968</c:v>
                </c:pt>
                <c:pt idx="1649" formatCode="0.0%">
                  <c:v>0.38986856056817032</c:v>
                </c:pt>
                <c:pt idx="1650" formatCode="0.0%">
                  <c:v>0.39070051015304613</c:v>
                </c:pt>
                <c:pt idx="1651" formatCode="0.0%">
                  <c:v>0.39434060218065442</c:v>
                </c:pt>
                <c:pt idx="1652" formatCode="0.0%">
                  <c:v>0.39985265579673923</c:v>
                </c:pt>
                <c:pt idx="1653" formatCode="0.0%">
                  <c:v>0.39610863258977702</c:v>
                </c:pt>
                <c:pt idx="1654" formatCode="0.0%">
                  <c:v>0.39610863258977702</c:v>
                </c:pt>
                <c:pt idx="1655" formatCode="0.0%">
                  <c:v>0.39610863258977702</c:v>
                </c:pt>
                <c:pt idx="1656" formatCode="0.0%">
                  <c:v>0.39059657897369221</c:v>
                </c:pt>
                <c:pt idx="1657" formatCode="0.0%">
                  <c:v>0.40390867260178054</c:v>
                </c:pt>
                <c:pt idx="1658" formatCode="0.0%">
                  <c:v>0.39756456937081114</c:v>
                </c:pt>
                <c:pt idx="1659" formatCode="0.0%">
                  <c:v>0.40692467740322086</c:v>
                </c:pt>
                <c:pt idx="1660" formatCode="0.0%">
                  <c:v>0.40110063018905662</c:v>
                </c:pt>
                <c:pt idx="1661" formatCode="0.0%">
                  <c:v>0.40110063018905662</c:v>
                </c:pt>
                <c:pt idx="1662" formatCode="0.0%">
                  <c:v>0.40110063018905662</c:v>
                </c:pt>
                <c:pt idx="1663" formatCode="0.0%">
                  <c:v>0.4047406221866558</c:v>
                </c:pt>
                <c:pt idx="1664" formatCode="0.0%">
                  <c:v>0.39579653896168848</c:v>
                </c:pt>
                <c:pt idx="1665" formatCode="0.0%">
                  <c:v>0.40806872061618493</c:v>
                </c:pt>
                <c:pt idx="1666" formatCode="0.0%">
                  <c:v>0.41160468140442136</c:v>
                </c:pt>
                <c:pt idx="1667" formatCode="0.0%">
                  <c:v>0.41690877263178949</c:v>
                </c:pt>
                <c:pt idx="1668" formatCode="0.0%">
                  <c:v>0.41690877263178949</c:v>
                </c:pt>
                <c:pt idx="1669" formatCode="0.0%">
                  <c:v>0.41690877263178949</c:v>
                </c:pt>
                <c:pt idx="1670" formatCode="0.0%">
                  <c:v>0.42637281184355319</c:v>
                </c:pt>
                <c:pt idx="1671" formatCode="0.0%">
                  <c:v>0.43323697109132725</c:v>
                </c:pt>
                <c:pt idx="1672" formatCode="0.0%">
                  <c:v>0.43438091427428221</c:v>
                </c:pt>
                <c:pt idx="1673" formatCode="0.0%">
                  <c:v>0.42360128038411515</c:v>
                </c:pt>
                <c:pt idx="1674" formatCode="0.0%">
                  <c:v>0.41202070621186349</c:v>
                </c:pt>
                <c:pt idx="1675" formatCode="0.0%">
                  <c:v>0.41202070621186349</c:v>
                </c:pt>
                <c:pt idx="1676" formatCode="0.0%">
                  <c:v>0.41202070621186349</c:v>
                </c:pt>
                <c:pt idx="1677" formatCode="0.0%">
                  <c:v>0.40110063018905662</c:v>
                </c:pt>
                <c:pt idx="1678" formatCode="0.0%">
                  <c:v>0.40838071421426408</c:v>
                </c:pt>
                <c:pt idx="1679" formatCode="0.0%">
                  <c:v>0.38966049814944481</c:v>
                </c:pt>
                <c:pt idx="1680" formatCode="0.0%">
                  <c:v>0.40910873261978564</c:v>
                </c:pt>
                <c:pt idx="1681" formatCode="0.0%">
                  <c:v>0.4093166950085026</c:v>
                </c:pt>
                <c:pt idx="1682" formatCode="0.0%">
                  <c:v>0.4093166950085026</c:v>
                </c:pt>
                <c:pt idx="1683" formatCode="0.0%">
                  <c:v>0.4093166950085026</c:v>
                </c:pt>
                <c:pt idx="1684" formatCode="0.0%">
                  <c:v>0.41586876062818845</c:v>
                </c:pt>
                <c:pt idx="1685" formatCode="0.0%">
                  <c:v>0.41118875662698801</c:v>
                </c:pt>
                <c:pt idx="1686" formatCode="0.0%">
                  <c:v>0.41451675502650803</c:v>
                </c:pt>
                <c:pt idx="1687" formatCode="0.0%">
                  <c:v>0.42138081424427326</c:v>
                </c:pt>
                <c:pt idx="1688" formatCode="0.0%">
                  <c:v>0.41846874062218659</c:v>
                </c:pt>
                <c:pt idx="1689" formatCode="0.0%">
                  <c:v>0.41846874062218659</c:v>
                </c:pt>
                <c:pt idx="1690" formatCode="0.0%">
                  <c:v>0.41846874062218659</c:v>
                </c:pt>
                <c:pt idx="1691" formatCode="0.0%">
                  <c:v>0.41961278383515038</c:v>
                </c:pt>
                <c:pt idx="1692" formatCode="0.0%">
                  <c:v>0.41930079023707123</c:v>
                </c:pt>
                <c:pt idx="1693" formatCode="0.0%">
                  <c:v>0.40640472141642475</c:v>
                </c:pt>
                <c:pt idx="1694" formatCode="0.0%">
                  <c:v>0.4138927678303489</c:v>
                </c:pt>
                <c:pt idx="1695" formatCode="0.0%">
                  <c:v>0.42054876462938895</c:v>
                </c:pt>
                <c:pt idx="1696" formatCode="0.0%">
                  <c:v>0.42054876462938895</c:v>
                </c:pt>
                <c:pt idx="1697" formatCode="0.0%">
                  <c:v>0.42054876462938895</c:v>
                </c:pt>
                <c:pt idx="1698" formatCode="0.0%">
                  <c:v>0.41867680304091237</c:v>
                </c:pt>
                <c:pt idx="1699" formatCode="0.0%">
                  <c:v>0.41888476542962905</c:v>
                </c:pt>
                <c:pt idx="1700" formatCode="0.0%">
                  <c:v>0.42866089826948101</c:v>
                </c:pt>
                <c:pt idx="1701" formatCode="0.0%">
                  <c:v>0.41982084625387617</c:v>
                </c:pt>
                <c:pt idx="1702" formatCode="0.0%">
                  <c:v>0.41430879263779163</c:v>
                </c:pt>
                <c:pt idx="1703" formatCode="0.0%">
                  <c:v>0.41430879263779163</c:v>
                </c:pt>
                <c:pt idx="1704" formatCode="0.0%">
                  <c:v>0.41352045613684113</c:v>
                </c:pt>
                <c:pt idx="1705" formatCode="0.0%">
                  <c:v>0.41472471741522443</c:v>
                </c:pt>
                <c:pt idx="1706" formatCode="0.0%">
                  <c:v>0.40068460538161477</c:v>
                </c:pt>
                <c:pt idx="1707" formatCode="0.0%">
                  <c:v>0.4059886966089829</c:v>
                </c:pt>
                <c:pt idx="1708" formatCode="0.0%">
                  <c:v>0.41649274782434731</c:v>
                </c:pt>
                <c:pt idx="1709" formatCode="0.0%">
                  <c:v>0.41784475342602773</c:v>
                </c:pt>
                <c:pt idx="1710" formatCode="0.0%">
                  <c:v>0.41784475342602773</c:v>
                </c:pt>
                <c:pt idx="1711" formatCode="0.0%">
                  <c:v>0.41784475342602773</c:v>
                </c:pt>
                <c:pt idx="1712" formatCode="0.0%">
                  <c:v>0.42273281984595401</c:v>
                </c:pt>
                <c:pt idx="1713" formatCode="0.0%">
                  <c:v>0.42148484545363629</c:v>
                </c:pt>
                <c:pt idx="1714" formatCode="0.0%">
                  <c:v>0.42314884465339586</c:v>
                </c:pt>
                <c:pt idx="1715" formatCode="0.0%">
                  <c:v>0.42564489346804035</c:v>
                </c:pt>
                <c:pt idx="1716" formatCode="0.0%">
                  <c:v>0.43042892867860361</c:v>
                </c:pt>
                <c:pt idx="1717" formatCode="0.0%">
                  <c:v>0.43042892867860361</c:v>
                </c:pt>
                <c:pt idx="1718" formatCode="0.0%">
                  <c:v>0.43042892867860361</c:v>
                </c:pt>
                <c:pt idx="1719" formatCode="0.0%">
                  <c:v>0.43219695908772621</c:v>
                </c:pt>
                <c:pt idx="1720" formatCode="0.0%">
                  <c:v>0.41794878463539076</c:v>
                </c:pt>
                <c:pt idx="1721" formatCode="0.0%">
                  <c:v>0.41462078623587073</c:v>
                </c:pt>
                <c:pt idx="1722" formatCode="0.0%">
                  <c:v>0.43989296789036703</c:v>
                </c:pt>
                <c:pt idx="1723" formatCode="0.0%">
                  <c:v>0.43250895268580564</c:v>
                </c:pt>
                <c:pt idx="1724" formatCode="0.0%">
                  <c:v>0.43250895268580564</c:v>
                </c:pt>
                <c:pt idx="1725" formatCode="0.0%">
                  <c:v>0.43250895268580564</c:v>
                </c:pt>
                <c:pt idx="1726" formatCode="0.0%">
                  <c:v>0.43042892867860361</c:v>
                </c:pt>
                <c:pt idx="1727" formatCode="0.0%">
                  <c:v>0.42928488546563981</c:v>
                </c:pt>
                <c:pt idx="1728" formatCode="0.0%">
                  <c:v>0.42387686305891747</c:v>
                </c:pt>
                <c:pt idx="1729" formatCode="0.0%">
                  <c:v>0.41399669900970282</c:v>
                </c:pt>
                <c:pt idx="1730" formatCode="0.0%">
                  <c:v>0.41399669900970282</c:v>
                </c:pt>
                <c:pt idx="1731" formatCode="0.0%">
                  <c:v>0.41399669900970282</c:v>
                </c:pt>
                <c:pt idx="1732" formatCode="0.0%">
                  <c:v>0.41399669900970282</c:v>
                </c:pt>
                <c:pt idx="1733" formatCode="0.0%">
                  <c:v>0.42231679503851155</c:v>
                </c:pt>
                <c:pt idx="1734" formatCode="0.0%">
                  <c:v>0.42161998599579875</c:v>
                </c:pt>
                <c:pt idx="1735" formatCode="0.0%">
                  <c:v>0.42179683905171572</c:v>
                </c:pt>
                <c:pt idx="1736" formatCode="0.0%">
                  <c:v>0.43230089026707985</c:v>
                </c:pt>
                <c:pt idx="1737" formatCode="0.0%">
                  <c:v>0.43687696308892671</c:v>
                </c:pt>
                <c:pt idx="1738" formatCode="0.0%">
                  <c:v>0.43687696308892671</c:v>
                </c:pt>
                <c:pt idx="1739" formatCode="0.0%">
                  <c:v>0.43687696308892671</c:v>
                </c:pt>
                <c:pt idx="1740" formatCode="0.0%">
                  <c:v>0.44228498549564849</c:v>
                </c:pt>
                <c:pt idx="1741" formatCode="0.0%">
                  <c:v>0.4477970391117333</c:v>
                </c:pt>
                <c:pt idx="1742" formatCode="0.0%">
                  <c:v>0.45154106231869551</c:v>
                </c:pt>
                <c:pt idx="1743" formatCode="0.0%">
                  <c:v>0.45570111033310012</c:v>
                </c:pt>
                <c:pt idx="1744" formatCode="0.0%">
                  <c:v>0.45674112233670117</c:v>
                </c:pt>
                <c:pt idx="1745" formatCode="0.0%">
                  <c:v>0.45674112233670117</c:v>
                </c:pt>
                <c:pt idx="1746" formatCode="0.0%">
                  <c:v>0.45674112233670117</c:v>
                </c:pt>
                <c:pt idx="1747" formatCode="0.0%">
                  <c:v>0.43677293187956368</c:v>
                </c:pt>
                <c:pt idx="1748" formatCode="0.0%">
                  <c:v>0.43126087826347914</c:v>
                </c:pt>
                <c:pt idx="1749" formatCode="0.0%">
                  <c:v>0.44374102230669193</c:v>
                </c:pt>
                <c:pt idx="1750" formatCode="0.0%">
                  <c:v>0.43583695108532539</c:v>
                </c:pt>
                <c:pt idx="1751" formatCode="0.0%">
                  <c:v>0.42574882464739405</c:v>
                </c:pt>
                <c:pt idx="1752" formatCode="0.0%">
                  <c:v>0.42574882464739405</c:v>
                </c:pt>
                <c:pt idx="1753" formatCode="0.0%">
                  <c:v>0.42574882464739405</c:v>
                </c:pt>
                <c:pt idx="1754" formatCode="0.0%">
                  <c:v>0.4441570471141344</c:v>
                </c:pt>
                <c:pt idx="1755" formatCode="0.0%">
                  <c:v>0.44738101430429139</c:v>
                </c:pt>
                <c:pt idx="1756" formatCode="0.0%">
                  <c:v>0.44883705111533456</c:v>
                </c:pt>
                <c:pt idx="1757" formatCode="0.0%">
                  <c:v>0.448109032709813</c:v>
                </c:pt>
                <c:pt idx="1758" formatCode="0.0%">
                  <c:v>0.45798909672901855</c:v>
                </c:pt>
                <c:pt idx="1759" formatCode="0.0%">
                  <c:v>0.45798909672901855</c:v>
                </c:pt>
                <c:pt idx="1760" formatCode="0.0%">
                  <c:v>0.45798909672901855</c:v>
                </c:pt>
                <c:pt idx="1761" formatCode="0.0%">
                  <c:v>0.46755726718015411</c:v>
                </c:pt>
                <c:pt idx="1762" formatCode="0.0%">
                  <c:v>0.46942922876863064</c:v>
                </c:pt>
                <c:pt idx="1763" formatCode="0.0%">
                  <c:v>0.47244523357007095</c:v>
                </c:pt>
                <c:pt idx="1764" formatCode="0.0%">
                  <c:v>0.47494128238471545</c:v>
                </c:pt>
                <c:pt idx="1765" formatCode="0.0%">
                  <c:v>0.47334900470141039</c:v>
                </c:pt>
                <c:pt idx="1766" formatCode="0.0%">
                  <c:v>0.47334900470141039</c:v>
                </c:pt>
                <c:pt idx="1767" formatCode="0.0%">
                  <c:v>0.47334900470141039</c:v>
                </c:pt>
                <c:pt idx="1768" formatCode="0.0%">
                  <c:v>0.47598129438831649</c:v>
                </c:pt>
                <c:pt idx="1769" formatCode="0.0%">
                  <c:v>0.47514934480344095</c:v>
                </c:pt>
                <c:pt idx="1770" formatCode="0.0%">
                  <c:v>0.47223727118135456</c:v>
                </c:pt>
                <c:pt idx="1771" formatCode="0.0%">
                  <c:v>0.45642912873862174</c:v>
                </c:pt>
                <c:pt idx="1772" formatCode="0.0%">
                  <c:v>0.43552495748724623</c:v>
                </c:pt>
                <c:pt idx="1773" formatCode="0.0%">
                  <c:v>0.43552495748724623</c:v>
                </c:pt>
                <c:pt idx="1774" formatCode="0.0%">
                  <c:v>0.43552495748724623</c:v>
                </c:pt>
                <c:pt idx="1775" formatCode="0.0%">
                  <c:v>0.46485325597679295</c:v>
                </c:pt>
                <c:pt idx="1776" formatCode="0.0%">
                  <c:v>0.46360518155446639</c:v>
                </c:pt>
                <c:pt idx="1777" formatCode="0.0%">
                  <c:v>0.47223727118135456</c:v>
                </c:pt>
                <c:pt idx="1778" formatCode="0.0%">
                  <c:v>0.4611091327398219</c:v>
                </c:pt>
                <c:pt idx="1779" formatCode="0.0%">
                  <c:v>0.44186896068820658</c:v>
                </c:pt>
                <c:pt idx="1780" formatCode="0.0%">
                  <c:v>0.44186896068820658</c:v>
                </c:pt>
                <c:pt idx="1781" formatCode="0.0%">
                  <c:v>0.44186896068820658</c:v>
                </c:pt>
                <c:pt idx="1782" formatCode="0.0%">
                  <c:v>0.44613303991197367</c:v>
                </c:pt>
                <c:pt idx="1783" formatCode="0.0%">
                  <c:v>0.41763679103731105</c:v>
                </c:pt>
                <c:pt idx="1784" formatCode="0.0%">
                  <c:v>0.43750095028508584</c:v>
                </c:pt>
                <c:pt idx="1785" formatCode="0.0%">
                  <c:v>0.45757317195158576</c:v>
                </c:pt>
                <c:pt idx="1786" formatCode="0.0%">
                  <c:v>0.42002880864259284</c:v>
                </c:pt>
                <c:pt idx="1787" formatCode="0.0%">
                  <c:v>0.42002880864259284</c:v>
                </c:pt>
                <c:pt idx="1788" formatCode="0.0%">
                  <c:v>0.42002880864259284</c:v>
                </c:pt>
                <c:pt idx="1789" formatCode="0.0%">
                  <c:v>0.44093297989396829</c:v>
                </c:pt>
                <c:pt idx="1790" formatCode="0.0%">
                  <c:v>0.44311703511053308</c:v>
                </c:pt>
                <c:pt idx="1791" formatCode="0.0%">
                  <c:v>0.4609011703511055</c:v>
                </c:pt>
                <c:pt idx="1792" formatCode="0.0%">
                  <c:v>0.46360518155446639</c:v>
                </c:pt>
                <c:pt idx="1793" formatCode="0.0%">
                  <c:v>0.46693317995398642</c:v>
                </c:pt>
                <c:pt idx="1794" formatCode="0.0%">
                  <c:v>0.46693317995398642</c:v>
                </c:pt>
                <c:pt idx="1795" formatCode="0.0%">
                  <c:v>0.4681718515554667</c:v>
                </c:pt>
                <c:pt idx="1796" formatCode="0.0%">
                  <c:v>0.45913313994198263</c:v>
                </c:pt>
                <c:pt idx="1797" formatCode="0.0%">
                  <c:v>0.46318915674702427</c:v>
                </c:pt>
                <c:pt idx="1798" formatCode="0.0%">
                  <c:v>0.45653315994798449</c:v>
                </c:pt>
                <c:pt idx="1799" formatCode="0.0%">
                  <c:v>0.46100520156046826</c:v>
                </c:pt>
                <c:pt idx="1800" formatCode="0.0%">
                  <c:v>0.46922126637991396</c:v>
                </c:pt>
                <c:pt idx="1801" formatCode="0.0%">
                  <c:v>0.46922126637991396</c:v>
                </c:pt>
                <c:pt idx="1802" formatCode="0.0%">
                  <c:v>0.46922126637991396</c:v>
                </c:pt>
                <c:pt idx="1803" formatCode="0.0%">
                  <c:v>0.46162918875662684</c:v>
                </c:pt>
                <c:pt idx="1804" formatCode="0.0%">
                  <c:v>0.45986115834750424</c:v>
                </c:pt>
                <c:pt idx="1805" formatCode="0.0%">
                  <c:v>0.4546610983294988</c:v>
                </c:pt>
                <c:pt idx="1806" formatCode="0.0%">
                  <c:v>0.45310113033910199</c:v>
                </c:pt>
                <c:pt idx="1807" formatCode="0.0%">
                  <c:v>0.45185305591677488</c:v>
                </c:pt>
                <c:pt idx="1808" formatCode="0.0%">
                  <c:v>0.45185305591677488</c:v>
                </c:pt>
                <c:pt idx="1809" formatCode="0.0%">
                  <c:v>0.45185305591677488</c:v>
                </c:pt>
                <c:pt idx="1810" formatCode="0.0%">
                  <c:v>0.44540502150645211</c:v>
                </c:pt>
                <c:pt idx="1811" formatCode="0.0%">
                  <c:v>0.43625297589276785</c:v>
                </c:pt>
                <c:pt idx="1812" formatCode="0.0%">
                  <c:v>0.44405301590477136</c:v>
                </c:pt>
                <c:pt idx="1813" formatCode="0.0%">
                  <c:v>0.4477970391117333</c:v>
                </c:pt>
                <c:pt idx="1814" formatCode="0.0%">
                  <c:v>0.45195708712613791</c:v>
                </c:pt>
                <c:pt idx="1815" formatCode="0.0%">
                  <c:v>0.45195708712613791</c:v>
                </c:pt>
                <c:pt idx="1816" formatCode="0.0%">
                  <c:v>0.45195708712613791</c:v>
                </c:pt>
                <c:pt idx="1817" formatCode="0.0%">
                  <c:v>0.45549314794438345</c:v>
                </c:pt>
                <c:pt idx="1818" formatCode="0.0%">
                  <c:v>0.46142112633790161</c:v>
                </c:pt>
                <c:pt idx="1819" formatCode="0.0%">
                  <c:v>0.46142112633790161</c:v>
                </c:pt>
                <c:pt idx="1820" formatCode="0.0%">
                  <c:v>0.46142112633790161</c:v>
                </c:pt>
                <c:pt idx="1821" formatCode="0.0%">
                  <c:v>0.46142112633790161</c:v>
                </c:pt>
                <c:pt idx="1822" formatCode="0.0%">
                  <c:v>0.46142112633790161</c:v>
                </c:pt>
                <c:pt idx="1823" formatCode="0.0%">
                  <c:v>0.46142112633790161</c:v>
                </c:pt>
                <c:pt idx="1824" formatCode="0.0%">
                  <c:v>0.46464519355806744</c:v>
                </c:pt>
                <c:pt idx="1825" formatCode="0.0%">
                  <c:v>0.46630919275782728</c:v>
                </c:pt>
                <c:pt idx="1826" formatCode="0.0%">
                  <c:v>0.45788096428928671</c:v>
                </c:pt>
              </c:numCache>
            </c:numRef>
          </c:val>
          <c:smooth val="0"/>
          <c:extLst>
            <c:ext xmlns:c16="http://schemas.microsoft.com/office/drawing/2014/chart" uri="{C3380CC4-5D6E-409C-BE32-E72D297353CC}">
              <c16:uniqueId val="{00000009-3824-4B8F-B311-B8D727625BCA}"/>
            </c:ext>
          </c:extLst>
        </c:ser>
        <c:ser>
          <c:idx val="11"/>
          <c:order val="10"/>
          <c:tx>
            <c:strRef>
              <c:f>Sheet1!$M$1</c:f>
              <c:strCache>
                <c:ptCount val="1"/>
                <c:pt idx="0">
                  <c:v>MSCI ACWI NR </c:v>
                </c:pt>
              </c:strCache>
            </c:strRef>
          </c:tx>
          <c:spPr>
            <a:ln w="28575" cap="rnd">
              <a:solidFill>
                <a:schemeClr val="accent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M$2:$M$2069</c:f>
              <c:numCache>
                <c:formatCode>0.00%</c:formatCode>
                <c:ptCount val="2068"/>
                <c:pt idx="0">
                  <c:v>0</c:v>
                </c:pt>
                <c:pt idx="1">
                  <c:v>5.08829409049838E-5</c:v>
                </c:pt>
                <c:pt idx="2">
                  <c:v>5.08829409049838E-5</c:v>
                </c:pt>
                <c:pt idx="3">
                  <c:v>5.08829409049838E-5</c:v>
                </c:pt>
                <c:pt idx="4">
                  <c:v>-8.4452427856459168E-3</c:v>
                </c:pt>
                <c:pt idx="5">
                  <c:v>-2.7457072521148971E-3</c:v>
                </c:pt>
                <c:pt idx="6">
                  <c:v>1.3949798168175675E-3</c:v>
                </c:pt>
                <c:pt idx="7">
                  <c:v>1.4902899866111312E-2</c:v>
                </c:pt>
                <c:pt idx="8">
                  <c:v>2.4406765101134625E-2</c:v>
                </c:pt>
                <c:pt idx="9">
                  <c:v>2.4406765101134625E-2</c:v>
                </c:pt>
                <c:pt idx="10">
                  <c:v>2.4406765101134625E-2</c:v>
                </c:pt>
                <c:pt idx="11">
                  <c:v>2.539995033140002E-2</c:v>
                </c:pt>
                <c:pt idx="12">
                  <c:v>2.6742538966569925E-2</c:v>
                </c:pt>
                <c:pt idx="13">
                  <c:v>2.9615851438931032E-2</c:v>
                </c:pt>
                <c:pt idx="14">
                  <c:v>3.1762220421748283E-2</c:v>
                </c:pt>
                <c:pt idx="15">
                  <c:v>2.6600153056474625E-2</c:v>
                </c:pt>
                <c:pt idx="16">
                  <c:v>2.6600153056474625E-2</c:v>
                </c:pt>
                <c:pt idx="17">
                  <c:v>2.6600153056474625E-2</c:v>
                </c:pt>
                <c:pt idx="18">
                  <c:v>2.7733116674534698E-2</c:v>
                </c:pt>
                <c:pt idx="19">
                  <c:v>3.1826348368543762E-2</c:v>
                </c:pt>
                <c:pt idx="20">
                  <c:v>4.5119648845793281E-2</c:v>
                </c:pt>
                <c:pt idx="21">
                  <c:v>4.3186632398858789E-2</c:v>
                </c:pt>
                <c:pt idx="22">
                  <c:v>3.6722301281017167E-2</c:v>
                </c:pt>
                <c:pt idx="23">
                  <c:v>3.6722301281017167E-2</c:v>
                </c:pt>
                <c:pt idx="24">
                  <c:v>3.6722301281017167E-2</c:v>
                </c:pt>
                <c:pt idx="25">
                  <c:v>4.2704175593369059E-2</c:v>
                </c:pt>
                <c:pt idx="26">
                  <c:v>3.6368810399214621E-2</c:v>
                </c:pt>
                <c:pt idx="27">
                  <c:v>2.1372623265130813E-2</c:v>
                </c:pt>
                <c:pt idx="28">
                  <c:v>2.1787076755744438E-2</c:v>
                </c:pt>
                <c:pt idx="29">
                  <c:v>1.7517903092334564E-3</c:v>
                </c:pt>
                <c:pt idx="30">
                  <c:v>1.7517903092334564E-3</c:v>
                </c:pt>
                <c:pt idx="31">
                  <c:v>1.7517903092334564E-3</c:v>
                </c:pt>
                <c:pt idx="32">
                  <c:v>2.2325859331714354E-2</c:v>
                </c:pt>
                <c:pt idx="33">
                  <c:v>4.0237328901264961E-2</c:v>
                </c:pt>
                <c:pt idx="34">
                  <c:v>4.4759254693940563E-2</c:v>
                </c:pt>
                <c:pt idx="35">
                  <c:v>5.3655112532159849E-2</c:v>
                </c:pt>
                <c:pt idx="36">
                  <c:v>5.5461228726425137E-2</c:v>
                </c:pt>
                <c:pt idx="37">
                  <c:v>5.5461228726425137E-2</c:v>
                </c:pt>
                <c:pt idx="38">
                  <c:v>5.5461228726425137E-2</c:v>
                </c:pt>
                <c:pt idx="39">
                  <c:v>6.1450610077412621E-2</c:v>
                </c:pt>
                <c:pt idx="40">
                  <c:v>5.9058149740365877E-2</c:v>
                </c:pt>
                <c:pt idx="41">
                  <c:v>5.8369159966535446E-2</c:v>
                </c:pt>
                <c:pt idx="42">
                  <c:v>6.0936379243331944E-2</c:v>
                </c:pt>
                <c:pt idx="43">
                  <c:v>6.6002822765502747E-2</c:v>
                </c:pt>
                <c:pt idx="44">
                  <c:v>6.6002822765502747E-2</c:v>
                </c:pt>
                <c:pt idx="45">
                  <c:v>6.6002822765502747E-2</c:v>
                </c:pt>
                <c:pt idx="46">
                  <c:v>6.9295387087646959E-2</c:v>
                </c:pt>
                <c:pt idx="47">
                  <c:v>7.0463860874839523E-2</c:v>
                </c:pt>
                <c:pt idx="48">
                  <c:v>7.4583434285326433E-2</c:v>
                </c:pt>
                <c:pt idx="49">
                  <c:v>6.4633283726473104E-2</c:v>
                </c:pt>
                <c:pt idx="50">
                  <c:v>6.1606911427051186E-2</c:v>
                </c:pt>
                <c:pt idx="51">
                  <c:v>6.1606911427051186E-2</c:v>
                </c:pt>
                <c:pt idx="52">
                  <c:v>6.1606911427051186E-2</c:v>
                </c:pt>
                <c:pt idx="53">
                  <c:v>5.1371030696586925E-2</c:v>
                </c:pt>
                <c:pt idx="54">
                  <c:v>4.9993269140147449E-2</c:v>
                </c:pt>
                <c:pt idx="55">
                  <c:v>5.5322922336564349E-2</c:v>
                </c:pt>
                <c:pt idx="56">
                  <c:v>3.3724633110473266E-2</c:v>
                </c:pt>
                <c:pt idx="57">
                  <c:v>2.5666168820201136E-2</c:v>
                </c:pt>
                <c:pt idx="58">
                  <c:v>2.5666168820201136E-2</c:v>
                </c:pt>
                <c:pt idx="59">
                  <c:v>2.5666168820201136E-2</c:v>
                </c:pt>
                <c:pt idx="60">
                  <c:v>5.4074605433761323E-2</c:v>
                </c:pt>
                <c:pt idx="61">
                  <c:v>4.7852840208014696E-2</c:v>
                </c:pt>
                <c:pt idx="62">
                  <c:v>4.0053588818145872E-2</c:v>
                </c:pt>
                <c:pt idx="63">
                  <c:v>2.8448336107073969E-2</c:v>
                </c:pt>
                <c:pt idx="64">
                  <c:v>4.6564531535011326E-2</c:v>
                </c:pt>
                <c:pt idx="65">
                  <c:v>4.6564531535011326E-2</c:v>
                </c:pt>
                <c:pt idx="66">
                  <c:v>4.6564531535011326E-2</c:v>
                </c:pt>
                <c:pt idx="67">
                  <c:v>4.574956654404929E-2</c:v>
                </c:pt>
                <c:pt idx="68">
                  <c:v>5.7649384175489329E-2</c:v>
                </c:pt>
                <c:pt idx="69">
                  <c:v>6.189186658609884E-2</c:v>
                </c:pt>
                <c:pt idx="70">
                  <c:v>6.9784990837167701E-2</c:v>
                </c:pt>
                <c:pt idx="71">
                  <c:v>7.1347320188565252E-2</c:v>
                </c:pt>
                <c:pt idx="72">
                  <c:v>7.1347320188565252E-2</c:v>
                </c:pt>
                <c:pt idx="73">
                  <c:v>7.1347320188565252E-2</c:v>
                </c:pt>
                <c:pt idx="74">
                  <c:v>7.7274161740353689E-2</c:v>
                </c:pt>
                <c:pt idx="75">
                  <c:v>8.0793694547401318E-2</c:v>
                </c:pt>
                <c:pt idx="76">
                  <c:v>8.02896036207143E-2</c:v>
                </c:pt>
                <c:pt idx="77">
                  <c:v>7.0967234583577288E-2</c:v>
                </c:pt>
                <c:pt idx="78">
                  <c:v>6.9230932630070616E-2</c:v>
                </c:pt>
                <c:pt idx="79">
                  <c:v>6.9230932630070616E-2</c:v>
                </c:pt>
                <c:pt idx="80">
                  <c:v>6.9230932630070616E-2</c:v>
                </c:pt>
                <c:pt idx="81">
                  <c:v>7.1700590725176025E-2</c:v>
                </c:pt>
                <c:pt idx="82">
                  <c:v>6.8503635352049341E-2</c:v>
                </c:pt>
                <c:pt idx="83">
                  <c:v>6.2727638652044962E-2</c:v>
                </c:pt>
                <c:pt idx="84">
                  <c:v>6.9408402213090317E-2</c:v>
                </c:pt>
                <c:pt idx="85">
                  <c:v>8.2892642117756737E-2</c:v>
                </c:pt>
                <c:pt idx="86">
                  <c:v>8.2892642117756737E-2</c:v>
                </c:pt>
                <c:pt idx="87">
                  <c:v>8.2892642117756737E-2</c:v>
                </c:pt>
                <c:pt idx="88">
                  <c:v>8.5238552416733449E-2</c:v>
                </c:pt>
                <c:pt idx="89">
                  <c:v>8.8188684168584788E-2</c:v>
                </c:pt>
                <c:pt idx="90">
                  <c:v>8.7733167264006651E-2</c:v>
                </c:pt>
                <c:pt idx="91">
                  <c:v>9.8769983097347455E-2</c:v>
                </c:pt>
                <c:pt idx="92">
                  <c:v>9.9665234220953206E-2</c:v>
                </c:pt>
                <c:pt idx="93">
                  <c:v>9.9665234220953206E-2</c:v>
                </c:pt>
                <c:pt idx="94">
                  <c:v>9.9665234220953206E-2</c:v>
                </c:pt>
                <c:pt idx="95">
                  <c:v>0.10674513325734082</c:v>
                </c:pt>
                <c:pt idx="96">
                  <c:v>0.10485339711298551</c:v>
                </c:pt>
                <c:pt idx="97">
                  <c:v>9.9939540466660759E-2</c:v>
                </c:pt>
                <c:pt idx="98">
                  <c:v>0.10566472776965526</c:v>
                </c:pt>
                <c:pt idx="99">
                  <c:v>0.10982484102687096</c:v>
                </c:pt>
                <c:pt idx="100">
                  <c:v>0.10982484102687096</c:v>
                </c:pt>
                <c:pt idx="101">
                  <c:v>0.10982484102687096</c:v>
                </c:pt>
                <c:pt idx="102">
                  <c:v>0.10656332813630172</c:v>
                </c:pt>
                <c:pt idx="103">
                  <c:v>0.10860249814764615</c:v>
                </c:pt>
                <c:pt idx="104">
                  <c:v>0.10460959010189314</c:v>
                </c:pt>
                <c:pt idx="105">
                  <c:v>0.1142953422131778</c:v>
                </c:pt>
                <c:pt idx="106">
                  <c:v>0.11783918938749566</c:v>
                </c:pt>
                <c:pt idx="107">
                  <c:v>0.11783918938749566</c:v>
                </c:pt>
                <c:pt idx="108">
                  <c:v>0.11783918938749566</c:v>
                </c:pt>
                <c:pt idx="109">
                  <c:v>0.11129764774382679</c:v>
                </c:pt>
                <c:pt idx="110">
                  <c:v>9.9234072964430597E-2</c:v>
                </c:pt>
                <c:pt idx="111">
                  <c:v>0.10560857576063867</c:v>
                </c:pt>
                <c:pt idx="112">
                  <c:v>0.10377934195663045</c:v>
                </c:pt>
                <c:pt idx="113">
                  <c:v>0.10980022043449807</c:v>
                </c:pt>
                <c:pt idx="114">
                  <c:v>0.10980022043449807</c:v>
                </c:pt>
                <c:pt idx="115">
                  <c:v>0.10980022043449807</c:v>
                </c:pt>
                <c:pt idx="116">
                  <c:v>0.11090117594314222</c:v>
                </c:pt>
                <c:pt idx="117">
                  <c:v>0.10978695235047525</c:v>
                </c:pt>
                <c:pt idx="118">
                  <c:v>0.10938057090578709</c:v>
                </c:pt>
                <c:pt idx="119">
                  <c:v>0.11112676663756545</c:v>
                </c:pt>
                <c:pt idx="120">
                  <c:v>0.10832642409670129</c:v>
                </c:pt>
                <c:pt idx="121">
                  <c:v>0.10832642409670129</c:v>
                </c:pt>
                <c:pt idx="122">
                  <c:v>0.10832642409670129</c:v>
                </c:pt>
                <c:pt idx="123">
                  <c:v>0.10728024075087035</c:v>
                </c:pt>
                <c:pt idx="124">
                  <c:v>0.10215337770500894</c:v>
                </c:pt>
                <c:pt idx="125">
                  <c:v>0.10791823971684636</c:v>
                </c:pt>
                <c:pt idx="126">
                  <c:v>0.11028096128934833</c:v>
                </c:pt>
                <c:pt idx="127">
                  <c:v>0.11263356944859254</c:v>
                </c:pt>
                <c:pt idx="128">
                  <c:v>0.11263356944859254</c:v>
                </c:pt>
                <c:pt idx="129">
                  <c:v>0.11263356944859254</c:v>
                </c:pt>
                <c:pt idx="130">
                  <c:v>0.10508357235840321</c:v>
                </c:pt>
                <c:pt idx="131">
                  <c:v>9.2358577227315664E-2</c:v>
                </c:pt>
                <c:pt idx="132">
                  <c:v>8.1840518045363242E-2</c:v>
                </c:pt>
                <c:pt idx="133">
                  <c:v>8.5078464028065348E-2</c:v>
                </c:pt>
                <c:pt idx="134">
                  <c:v>9.6445405903239412E-2</c:v>
                </c:pt>
                <c:pt idx="135">
                  <c:v>9.6445405903239412E-2</c:v>
                </c:pt>
                <c:pt idx="136">
                  <c:v>9.6445405903239412E-2</c:v>
                </c:pt>
                <c:pt idx="137">
                  <c:v>9.4320144205131129E-2</c:v>
                </c:pt>
                <c:pt idx="138">
                  <c:v>8.8424256492266123E-2</c:v>
                </c:pt>
                <c:pt idx="139">
                  <c:v>8.2297663699434767E-2</c:v>
                </c:pt>
                <c:pt idx="140">
                  <c:v>9.285462365648442E-2</c:v>
                </c:pt>
                <c:pt idx="141">
                  <c:v>9.5677349478062446E-2</c:v>
                </c:pt>
                <c:pt idx="142">
                  <c:v>9.5677349478062446E-2</c:v>
                </c:pt>
                <c:pt idx="143">
                  <c:v>9.5677349478062446E-2</c:v>
                </c:pt>
                <c:pt idx="144">
                  <c:v>0.10035057000238083</c:v>
                </c:pt>
                <c:pt idx="145">
                  <c:v>9.9802969657007023E-2</c:v>
                </c:pt>
                <c:pt idx="146">
                  <c:v>0.10413442104613096</c:v>
                </c:pt>
                <c:pt idx="147">
                  <c:v>0.10636051300491943</c:v>
                </c:pt>
                <c:pt idx="148">
                  <c:v>0.11180179182256196</c:v>
                </c:pt>
                <c:pt idx="149">
                  <c:v>0.11180179182256196</c:v>
                </c:pt>
                <c:pt idx="150">
                  <c:v>0.11180179182256196</c:v>
                </c:pt>
                <c:pt idx="151">
                  <c:v>0.10832021532784239</c:v>
                </c:pt>
                <c:pt idx="152">
                  <c:v>0.11014346821958228</c:v>
                </c:pt>
                <c:pt idx="153">
                  <c:v>0.1147674838397721</c:v>
                </c:pt>
                <c:pt idx="154">
                  <c:v>0.11642498653938205</c:v>
                </c:pt>
                <c:pt idx="155">
                  <c:v>0.12187629354120759</c:v>
                </c:pt>
                <c:pt idx="156">
                  <c:v>0.12187629354120759</c:v>
                </c:pt>
                <c:pt idx="157">
                  <c:v>0.12187629354120759</c:v>
                </c:pt>
                <c:pt idx="158">
                  <c:v>0.12072371845775194</c:v>
                </c:pt>
                <c:pt idx="159">
                  <c:v>0.12071705611355839</c:v>
                </c:pt>
                <c:pt idx="160">
                  <c:v>0.11877479723760118</c:v>
                </c:pt>
                <c:pt idx="161">
                  <c:v>0.12423243989528544</c:v>
                </c:pt>
                <c:pt idx="162">
                  <c:v>0.13191492749707906</c:v>
                </c:pt>
                <c:pt idx="163">
                  <c:v>0.13191492749707906</c:v>
                </c:pt>
                <c:pt idx="164">
                  <c:v>0.13191492749707906</c:v>
                </c:pt>
                <c:pt idx="165">
                  <c:v>0.13318474579374026</c:v>
                </c:pt>
                <c:pt idx="166">
                  <c:v>0.13175031024521686</c:v>
                </c:pt>
                <c:pt idx="167">
                  <c:v>0.12876392161134717</c:v>
                </c:pt>
                <c:pt idx="168">
                  <c:v>0.14073408796441655</c:v>
                </c:pt>
                <c:pt idx="169">
                  <c:v>0.13476706366495805</c:v>
                </c:pt>
                <c:pt idx="170">
                  <c:v>0.13476706366495805</c:v>
                </c:pt>
                <c:pt idx="171">
                  <c:v>0.13476706366495805</c:v>
                </c:pt>
                <c:pt idx="172">
                  <c:v>0.13764796480045219</c:v>
                </c:pt>
                <c:pt idx="173">
                  <c:v>0.14475733452929349</c:v>
                </c:pt>
                <c:pt idx="174">
                  <c:v>0.14054574240254397</c:v>
                </c:pt>
                <c:pt idx="175">
                  <c:v>0.14853633219468548</c:v>
                </c:pt>
                <c:pt idx="176">
                  <c:v>0.15142850406202199</c:v>
                </c:pt>
                <c:pt idx="177">
                  <c:v>0.15142850406202199</c:v>
                </c:pt>
                <c:pt idx="178">
                  <c:v>0.15142850406202199</c:v>
                </c:pt>
                <c:pt idx="179">
                  <c:v>0.15403025024983336</c:v>
                </c:pt>
                <c:pt idx="180">
                  <c:v>0.1556450243125434</c:v>
                </c:pt>
                <c:pt idx="181">
                  <c:v>0.15755823858531953</c:v>
                </c:pt>
                <c:pt idx="182">
                  <c:v>0.15967571972177352</c:v>
                </c:pt>
                <c:pt idx="183">
                  <c:v>0.16677927009525034</c:v>
                </c:pt>
                <c:pt idx="184">
                  <c:v>0.16677927009525034</c:v>
                </c:pt>
                <c:pt idx="185">
                  <c:v>0.16677927009525034</c:v>
                </c:pt>
                <c:pt idx="186">
                  <c:v>0.16616794408750707</c:v>
                </c:pt>
                <c:pt idx="187">
                  <c:v>0.16606527344156816</c:v>
                </c:pt>
                <c:pt idx="188">
                  <c:v>0.17092444526745892</c:v>
                </c:pt>
                <c:pt idx="189">
                  <c:v>0.15385178634180291</c:v>
                </c:pt>
                <c:pt idx="190">
                  <c:v>0.16346401603764776</c:v>
                </c:pt>
                <c:pt idx="191">
                  <c:v>0.16346401603764776</c:v>
                </c:pt>
                <c:pt idx="192">
                  <c:v>0.16346401603764776</c:v>
                </c:pt>
                <c:pt idx="193">
                  <c:v>0.16929259796216883</c:v>
                </c:pt>
                <c:pt idx="194">
                  <c:v>0.17190067209760415</c:v>
                </c:pt>
                <c:pt idx="195">
                  <c:v>0.17221942294211076</c:v>
                </c:pt>
                <c:pt idx="196">
                  <c:v>0.16829695788929855</c:v>
                </c:pt>
                <c:pt idx="197">
                  <c:v>0.16206288994024234</c:v>
                </c:pt>
                <c:pt idx="198">
                  <c:v>0.16206288994024234</c:v>
                </c:pt>
                <c:pt idx="199">
                  <c:v>0.16206288994024234</c:v>
                </c:pt>
                <c:pt idx="200">
                  <c:v>0.14350088753328066</c:v>
                </c:pt>
                <c:pt idx="201">
                  <c:v>0.15737046942142996</c:v>
                </c:pt>
                <c:pt idx="202">
                  <c:v>0.16535284854762608</c:v>
                </c:pt>
                <c:pt idx="203">
                  <c:v>0.1697648053037146</c:v>
                </c:pt>
                <c:pt idx="204">
                  <c:v>0.18000953672579256</c:v>
                </c:pt>
                <c:pt idx="205">
                  <c:v>0.18000953672579256</c:v>
                </c:pt>
                <c:pt idx="206">
                  <c:v>0.18000953672579256</c:v>
                </c:pt>
                <c:pt idx="207">
                  <c:v>0.174563803103718</c:v>
                </c:pt>
                <c:pt idx="208">
                  <c:v>0.16594435480810829</c:v>
                </c:pt>
                <c:pt idx="209">
                  <c:v>0.17049707566724862</c:v>
                </c:pt>
                <c:pt idx="210">
                  <c:v>0.17201029669220944</c:v>
                </c:pt>
                <c:pt idx="211">
                  <c:v>0.16596950378482717</c:v>
                </c:pt>
                <c:pt idx="212">
                  <c:v>0.16596950378482717</c:v>
                </c:pt>
                <c:pt idx="213">
                  <c:v>0.16596950378482717</c:v>
                </c:pt>
                <c:pt idx="214">
                  <c:v>0.16799640259572485</c:v>
                </c:pt>
                <c:pt idx="215">
                  <c:v>0.1753362341662752</c:v>
                </c:pt>
                <c:pt idx="216">
                  <c:v>0.17530295531896642</c:v>
                </c:pt>
                <c:pt idx="217">
                  <c:v>0.18125038426592255</c:v>
                </c:pt>
                <c:pt idx="218">
                  <c:v>0.18698575106073848</c:v>
                </c:pt>
                <c:pt idx="219">
                  <c:v>0.18698575106073848</c:v>
                </c:pt>
                <c:pt idx="220">
                  <c:v>0.18698575106073848</c:v>
                </c:pt>
                <c:pt idx="221">
                  <c:v>0.18843757597287053</c:v>
                </c:pt>
                <c:pt idx="222">
                  <c:v>0.19255452396089809</c:v>
                </c:pt>
                <c:pt idx="223">
                  <c:v>0.19382038116657241</c:v>
                </c:pt>
                <c:pt idx="224">
                  <c:v>0.19639347940188884</c:v>
                </c:pt>
                <c:pt idx="225">
                  <c:v>0.19208672306532124</c:v>
                </c:pt>
                <c:pt idx="226">
                  <c:v>0.19208672306532124</c:v>
                </c:pt>
                <c:pt idx="227">
                  <c:v>0.19208672306532124</c:v>
                </c:pt>
                <c:pt idx="228">
                  <c:v>0.19048631760152901</c:v>
                </c:pt>
                <c:pt idx="229">
                  <c:v>0.18880242075862427</c:v>
                </c:pt>
                <c:pt idx="230">
                  <c:v>0.18256575212578327</c:v>
                </c:pt>
                <c:pt idx="231">
                  <c:v>0.17748493211540478</c:v>
                </c:pt>
                <c:pt idx="232">
                  <c:v>0.18219180387234629</c:v>
                </c:pt>
                <c:pt idx="233">
                  <c:v>0.18219180387234629</c:v>
                </c:pt>
                <c:pt idx="234">
                  <c:v>0.18219180387234629</c:v>
                </c:pt>
                <c:pt idx="235">
                  <c:v>0.18906154075952727</c:v>
                </c:pt>
                <c:pt idx="236">
                  <c:v>0.19375529296490954</c:v>
                </c:pt>
                <c:pt idx="237">
                  <c:v>0.1965330043715332</c:v>
                </c:pt>
                <c:pt idx="238">
                  <c:v>0.19002648598276053</c:v>
                </c:pt>
                <c:pt idx="239">
                  <c:v>0.19548669592121001</c:v>
                </c:pt>
                <c:pt idx="240">
                  <c:v>0.19548669592121001</c:v>
                </c:pt>
                <c:pt idx="241">
                  <c:v>0.19548669592121001</c:v>
                </c:pt>
                <c:pt idx="242">
                  <c:v>0.19988633965814984</c:v>
                </c:pt>
                <c:pt idx="243">
                  <c:v>0.20028761576528226</c:v>
                </c:pt>
                <c:pt idx="244">
                  <c:v>0.19910215155953209</c:v>
                </c:pt>
                <c:pt idx="245">
                  <c:v>0.20124096085602489</c:v>
                </c:pt>
                <c:pt idx="246">
                  <c:v>0.20119354023214156</c:v>
                </c:pt>
                <c:pt idx="247">
                  <c:v>0.20119354023214156</c:v>
                </c:pt>
                <c:pt idx="248">
                  <c:v>0.20119354023214156</c:v>
                </c:pt>
                <c:pt idx="249">
                  <c:v>0.20605285147589186</c:v>
                </c:pt>
                <c:pt idx="250">
                  <c:v>0.20426875634290625</c:v>
                </c:pt>
                <c:pt idx="251">
                  <c:v>0.20238344261706259</c:v>
                </c:pt>
                <c:pt idx="252">
                  <c:v>0.19676554685473463</c:v>
                </c:pt>
                <c:pt idx="253">
                  <c:v>0.19136332798732611</c:v>
                </c:pt>
                <c:pt idx="254">
                  <c:v>0.19136332798732611</c:v>
                </c:pt>
                <c:pt idx="255">
                  <c:v>0.19136332798732611</c:v>
                </c:pt>
                <c:pt idx="256">
                  <c:v>0.19442463213516376</c:v>
                </c:pt>
                <c:pt idx="257">
                  <c:v>0.18946771481835456</c:v>
                </c:pt>
                <c:pt idx="258">
                  <c:v>0.19283384059795822</c:v>
                </c:pt>
                <c:pt idx="259">
                  <c:v>0.1954500586731838</c:v>
                </c:pt>
                <c:pt idx="260">
                  <c:v>0.18966389984961096</c:v>
                </c:pt>
                <c:pt idx="261">
                  <c:v>0.18966389984961096</c:v>
                </c:pt>
                <c:pt idx="262">
                  <c:v>0.18966389984961096</c:v>
                </c:pt>
                <c:pt idx="263">
                  <c:v>0.1714592193122759</c:v>
                </c:pt>
                <c:pt idx="264">
                  <c:v>0.17306106800854493</c:v>
                </c:pt>
                <c:pt idx="265">
                  <c:v>0.18067082533806442</c:v>
                </c:pt>
                <c:pt idx="266">
                  <c:v>0.19112162369641908</c:v>
                </c:pt>
                <c:pt idx="267">
                  <c:v>0.19295653688299721</c:v>
                </c:pt>
                <c:pt idx="268">
                  <c:v>0.19295653688299721</c:v>
                </c:pt>
                <c:pt idx="269">
                  <c:v>0.19295653688299721</c:v>
                </c:pt>
                <c:pt idx="270">
                  <c:v>0.19185662289336533</c:v>
                </c:pt>
                <c:pt idx="271">
                  <c:v>0.17258568074970454</c:v>
                </c:pt>
                <c:pt idx="272">
                  <c:v>0.17659243207218295</c:v>
                </c:pt>
                <c:pt idx="273">
                  <c:v>0.1719377599174004</c:v>
                </c:pt>
                <c:pt idx="274">
                  <c:v>0.17625922239098743</c:v>
                </c:pt>
                <c:pt idx="275">
                  <c:v>0.17625922239098743</c:v>
                </c:pt>
                <c:pt idx="276">
                  <c:v>0.17625922239098743</c:v>
                </c:pt>
                <c:pt idx="277">
                  <c:v>0.16229417289442821</c:v>
                </c:pt>
                <c:pt idx="278">
                  <c:v>0.17348408574273036</c:v>
                </c:pt>
                <c:pt idx="279">
                  <c:v>0.17785279524276804</c:v>
                </c:pt>
                <c:pt idx="280">
                  <c:v>0.18971798509126714</c:v>
                </c:pt>
                <c:pt idx="281">
                  <c:v>0.18787443331136472</c:v>
                </c:pt>
                <c:pt idx="282">
                  <c:v>0.18787443331136472</c:v>
                </c:pt>
                <c:pt idx="283">
                  <c:v>0.18787443331136472</c:v>
                </c:pt>
                <c:pt idx="284">
                  <c:v>0.18463953498415792</c:v>
                </c:pt>
                <c:pt idx="285">
                  <c:v>0.18348994807399066</c:v>
                </c:pt>
                <c:pt idx="286">
                  <c:v>0.18654082386702456</c:v>
                </c:pt>
                <c:pt idx="287">
                  <c:v>0.20142327261553178</c:v>
                </c:pt>
                <c:pt idx="288">
                  <c:v>0.21016816147861789</c:v>
                </c:pt>
                <c:pt idx="289">
                  <c:v>0.21016816147861789</c:v>
                </c:pt>
                <c:pt idx="290">
                  <c:v>0.21016816147861789</c:v>
                </c:pt>
                <c:pt idx="291">
                  <c:v>0.21215647126758369</c:v>
                </c:pt>
                <c:pt idx="292">
                  <c:v>0.21653844164600541</c:v>
                </c:pt>
                <c:pt idx="293">
                  <c:v>0.22091676243443573</c:v>
                </c:pt>
                <c:pt idx="294">
                  <c:v>0.22178608380354745</c:v>
                </c:pt>
                <c:pt idx="295">
                  <c:v>0.22135690908849398</c:v>
                </c:pt>
                <c:pt idx="296">
                  <c:v>0.22135690908849398</c:v>
                </c:pt>
                <c:pt idx="297">
                  <c:v>0.22135690908849398</c:v>
                </c:pt>
                <c:pt idx="298">
                  <c:v>0.22810324773689544</c:v>
                </c:pt>
                <c:pt idx="299">
                  <c:v>0.23265676509880051</c:v>
                </c:pt>
                <c:pt idx="300">
                  <c:v>0.22569508634281177</c:v>
                </c:pt>
                <c:pt idx="301">
                  <c:v>0.22576477344664922</c:v>
                </c:pt>
                <c:pt idx="302">
                  <c:v>0.23410934538741743</c:v>
                </c:pt>
                <c:pt idx="303">
                  <c:v>0.23410934538741743</c:v>
                </c:pt>
                <c:pt idx="304">
                  <c:v>0.23410934538741743</c:v>
                </c:pt>
                <c:pt idx="305">
                  <c:v>0.23763008164451135</c:v>
                </c:pt>
                <c:pt idx="306">
                  <c:v>0.24051796006548984</c:v>
                </c:pt>
                <c:pt idx="307">
                  <c:v>0.24516987019970402</c:v>
                </c:pt>
                <c:pt idx="308">
                  <c:v>0.25438956640522048</c:v>
                </c:pt>
                <c:pt idx="309">
                  <c:v>0.2557079581765731</c:v>
                </c:pt>
                <c:pt idx="310">
                  <c:v>0.2557079581765731</c:v>
                </c:pt>
                <c:pt idx="311">
                  <c:v>0.2557079581765731</c:v>
                </c:pt>
                <c:pt idx="312">
                  <c:v>0.25455168963572805</c:v>
                </c:pt>
                <c:pt idx="313">
                  <c:v>0.25208976547848111</c:v>
                </c:pt>
                <c:pt idx="314">
                  <c:v>0.2503962774510502</c:v>
                </c:pt>
                <c:pt idx="315">
                  <c:v>0.25652107739520136</c:v>
                </c:pt>
                <c:pt idx="316">
                  <c:v>0.26759424659109343</c:v>
                </c:pt>
                <c:pt idx="317">
                  <c:v>0.26759424659109343</c:v>
                </c:pt>
                <c:pt idx="318">
                  <c:v>0.26759424659109343</c:v>
                </c:pt>
                <c:pt idx="319">
                  <c:v>0.27138912996558245</c:v>
                </c:pt>
                <c:pt idx="320">
                  <c:v>0.2815321572348472</c:v>
                </c:pt>
                <c:pt idx="321">
                  <c:v>0.28212232942148802</c:v>
                </c:pt>
                <c:pt idx="322">
                  <c:v>0.27806847387211947</c:v>
                </c:pt>
                <c:pt idx="323">
                  <c:v>0.27873774162982401</c:v>
                </c:pt>
                <c:pt idx="324">
                  <c:v>0.27873774162982401</c:v>
                </c:pt>
                <c:pt idx="325">
                  <c:v>0.27873774162982401</c:v>
                </c:pt>
                <c:pt idx="326">
                  <c:v>0.27962543019076508</c:v>
                </c:pt>
                <c:pt idx="327">
                  <c:v>0.27529015534275486</c:v>
                </c:pt>
                <c:pt idx="328">
                  <c:v>0.28313925663204204</c:v>
                </c:pt>
                <c:pt idx="329">
                  <c:v>0.28327424978001348</c:v>
                </c:pt>
                <c:pt idx="330">
                  <c:v>0.24294349056129932</c:v>
                </c:pt>
                <c:pt idx="331">
                  <c:v>0.24294349056129932</c:v>
                </c:pt>
                <c:pt idx="332">
                  <c:v>0.24294349056129932</c:v>
                </c:pt>
                <c:pt idx="333">
                  <c:v>0.25623178832637733</c:v>
                </c:pt>
                <c:pt idx="334">
                  <c:v>0.23789137537446919</c:v>
                </c:pt>
                <c:pt idx="335">
                  <c:v>0.22608384404355647</c:v>
                </c:pt>
                <c:pt idx="336">
                  <c:v>0.23730292945033923</c:v>
                </c:pt>
                <c:pt idx="337">
                  <c:v>0.23140546730347908</c:v>
                </c:pt>
                <c:pt idx="338">
                  <c:v>0.23140546730347908</c:v>
                </c:pt>
                <c:pt idx="339">
                  <c:v>0.23140546730347908</c:v>
                </c:pt>
                <c:pt idx="340">
                  <c:v>0.2421559084186751</c:v>
                </c:pt>
                <c:pt idx="341">
                  <c:v>0.27088080440535195</c:v>
                </c:pt>
                <c:pt idx="342">
                  <c:v>0.26626430798378209</c:v>
                </c:pt>
                <c:pt idx="343">
                  <c:v>0.26393640689158332</c:v>
                </c:pt>
                <c:pt idx="344">
                  <c:v>0.26632614563666634</c:v>
                </c:pt>
                <c:pt idx="345">
                  <c:v>0.26632614563666634</c:v>
                </c:pt>
                <c:pt idx="346">
                  <c:v>0.26632614563666634</c:v>
                </c:pt>
                <c:pt idx="347">
                  <c:v>0.25940583703211328</c:v>
                </c:pt>
                <c:pt idx="348">
                  <c:v>0.25029610906033667</c:v>
                </c:pt>
                <c:pt idx="349">
                  <c:v>0.26497376679920576</c:v>
                </c:pt>
                <c:pt idx="350">
                  <c:v>0.25720079095359311</c:v>
                </c:pt>
                <c:pt idx="351">
                  <c:v>0.25028420696541898</c:v>
                </c:pt>
                <c:pt idx="352">
                  <c:v>0.25028420696541898</c:v>
                </c:pt>
                <c:pt idx="353">
                  <c:v>0.25028420696541898</c:v>
                </c:pt>
                <c:pt idx="354">
                  <c:v>0.23174202258607138</c:v>
                </c:pt>
                <c:pt idx="355">
                  <c:v>0.25467229399727459</c:v>
                </c:pt>
                <c:pt idx="356">
                  <c:v>0.25966966732984331</c:v>
                </c:pt>
                <c:pt idx="357">
                  <c:v>0.27038027038552032</c:v>
                </c:pt>
                <c:pt idx="358">
                  <c:v>0.26848481934966856</c:v>
                </c:pt>
                <c:pt idx="359">
                  <c:v>0.26848481934966856</c:v>
                </c:pt>
                <c:pt idx="360">
                  <c:v>0.26848481934966856</c:v>
                </c:pt>
                <c:pt idx="361">
                  <c:v>0.28065361551189966</c:v>
                </c:pt>
                <c:pt idx="362">
                  <c:v>0.28433281940890592</c:v>
                </c:pt>
                <c:pt idx="363">
                  <c:v>0.2791858357379286</c:v>
                </c:pt>
                <c:pt idx="364">
                  <c:v>0.27953229152011017</c:v>
                </c:pt>
                <c:pt idx="365">
                  <c:v>0.27437147003636198</c:v>
                </c:pt>
                <c:pt idx="366">
                  <c:v>0.27437147003636198</c:v>
                </c:pt>
                <c:pt idx="367">
                  <c:v>0.27437147003636198</c:v>
                </c:pt>
                <c:pt idx="368">
                  <c:v>0.28696202496095197</c:v>
                </c:pt>
                <c:pt idx="369">
                  <c:v>0.28758957460280016</c:v>
                </c:pt>
                <c:pt idx="370">
                  <c:v>0.26744423460532657</c:v>
                </c:pt>
                <c:pt idx="371">
                  <c:v>0.26502820140814093</c:v>
                </c:pt>
                <c:pt idx="372">
                  <c:v>0.25768163004442401</c:v>
                </c:pt>
                <c:pt idx="373">
                  <c:v>0.25768163004442401</c:v>
                </c:pt>
                <c:pt idx="374">
                  <c:v>0.25768163004442401</c:v>
                </c:pt>
                <c:pt idx="375">
                  <c:v>0.25775368683191585</c:v>
                </c:pt>
                <c:pt idx="376">
                  <c:v>0.26664009981210085</c:v>
                </c:pt>
                <c:pt idx="377">
                  <c:v>0.26769997620432834</c:v>
                </c:pt>
                <c:pt idx="378">
                  <c:v>0.25183311151429066</c:v>
                </c:pt>
                <c:pt idx="379">
                  <c:v>0.25103268766390457</c:v>
                </c:pt>
                <c:pt idx="380">
                  <c:v>0.25103268766390457</c:v>
                </c:pt>
                <c:pt idx="381">
                  <c:v>0.25103268766390457</c:v>
                </c:pt>
                <c:pt idx="382">
                  <c:v>0.25529140675484668</c:v>
                </c:pt>
                <c:pt idx="383">
                  <c:v>0.2422045262688701</c:v>
                </c:pt>
                <c:pt idx="384">
                  <c:v>0.23280023978552181</c:v>
                </c:pt>
                <c:pt idx="385">
                  <c:v>0.22867645596054501</c:v>
                </c:pt>
                <c:pt idx="386">
                  <c:v>0.2074758489704574</c:v>
                </c:pt>
                <c:pt idx="387">
                  <c:v>0.2074758489704574</c:v>
                </c:pt>
                <c:pt idx="388">
                  <c:v>0.2074758489704574</c:v>
                </c:pt>
                <c:pt idx="389">
                  <c:v>0.20216601893154618</c:v>
                </c:pt>
                <c:pt idx="390">
                  <c:v>0.19385967101534177</c:v>
                </c:pt>
                <c:pt idx="391">
                  <c:v>0.19429751187687969</c:v>
                </c:pt>
                <c:pt idx="392">
                  <c:v>0.19783202152247228</c:v>
                </c:pt>
                <c:pt idx="393">
                  <c:v>0.21405072921885021</c:v>
                </c:pt>
                <c:pt idx="394">
                  <c:v>0.21405072921885021</c:v>
                </c:pt>
                <c:pt idx="395">
                  <c:v>0.21405072921885021</c:v>
                </c:pt>
                <c:pt idx="396">
                  <c:v>0.22976554075864059</c:v>
                </c:pt>
                <c:pt idx="397">
                  <c:v>0.23577574042604924</c:v>
                </c:pt>
                <c:pt idx="398">
                  <c:v>0.2399608098584507</c:v>
                </c:pt>
                <c:pt idx="399">
                  <c:v>0.2055237172184394</c:v>
                </c:pt>
                <c:pt idx="400">
                  <c:v>0.20775710896674268</c:v>
                </c:pt>
                <c:pt idx="401">
                  <c:v>0.20775710896674268</c:v>
                </c:pt>
                <c:pt idx="402">
                  <c:v>0.20775710896674268</c:v>
                </c:pt>
                <c:pt idx="403">
                  <c:v>0.2065709362970351</c:v>
                </c:pt>
                <c:pt idx="404">
                  <c:v>0.21544660293950699</c:v>
                </c:pt>
                <c:pt idx="405">
                  <c:v>0.23348661993751052</c:v>
                </c:pt>
                <c:pt idx="406">
                  <c:v>0.21731154458088356</c:v>
                </c:pt>
                <c:pt idx="407">
                  <c:v>0.20592893964667794</c:v>
                </c:pt>
                <c:pt idx="408">
                  <c:v>0.20592893964667794</c:v>
                </c:pt>
                <c:pt idx="409">
                  <c:v>0.20592893964667794</c:v>
                </c:pt>
                <c:pt idx="410">
                  <c:v>0.20442865984262057</c:v>
                </c:pt>
                <c:pt idx="411">
                  <c:v>0.2154011341598934</c:v>
                </c:pt>
                <c:pt idx="412">
                  <c:v>0.21822577994127898</c:v>
                </c:pt>
                <c:pt idx="413">
                  <c:v>0.19949443254875449</c:v>
                </c:pt>
                <c:pt idx="414">
                  <c:v>0.19215317902081183</c:v>
                </c:pt>
                <c:pt idx="415">
                  <c:v>0.19215317902081183</c:v>
                </c:pt>
                <c:pt idx="416">
                  <c:v>0.19215317902081183</c:v>
                </c:pt>
                <c:pt idx="417">
                  <c:v>0.18893123295184197</c:v>
                </c:pt>
                <c:pt idx="418">
                  <c:v>0.17815354247267209</c:v>
                </c:pt>
                <c:pt idx="419">
                  <c:v>0.16522431558354</c:v>
                </c:pt>
                <c:pt idx="420">
                  <c:v>0.18063393899892646</c:v>
                </c:pt>
                <c:pt idx="421">
                  <c:v>0.19526091479699431</c:v>
                </c:pt>
                <c:pt idx="422">
                  <c:v>0.19526091479699431</c:v>
                </c:pt>
                <c:pt idx="423">
                  <c:v>0.19526091479699431</c:v>
                </c:pt>
                <c:pt idx="424">
                  <c:v>0.1953417829571093</c:v>
                </c:pt>
                <c:pt idx="425">
                  <c:v>0.18874528460950457</c:v>
                </c:pt>
                <c:pt idx="426">
                  <c:v>0.207981085608681</c:v>
                </c:pt>
                <c:pt idx="427">
                  <c:v>0.20138093577013222</c:v>
                </c:pt>
                <c:pt idx="428" formatCode="0.0%">
                  <c:v>0.19713607720271908</c:v>
                </c:pt>
                <c:pt idx="429" formatCode="0.0%">
                  <c:v>0.19713607720271908</c:v>
                </c:pt>
                <c:pt idx="430" formatCode="0.0%">
                  <c:v>0.19713607720271908</c:v>
                </c:pt>
                <c:pt idx="431" formatCode="0.0%">
                  <c:v>0.1694764213666437</c:v>
                </c:pt>
                <c:pt idx="432" formatCode="0.0%">
                  <c:v>0.16039397553055251</c:v>
                </c:pt>
                <c:pt idx="433" formatCode="0.0%">
                  <c:v>0.17228153936961532</c:v>
                </c:pt>
                <c:pt idx="434" formatCode="0.0%">
                  <c:v>0.17286072522400531</c:v>
                </c:pt>
                <c:pt idx="435" formatCode="0.0%">
                  <c:v>0.16481950590185207</c:v>
                </c:pt>
                <c:pt idx="436" formatCode="0.0%">
                  <c:v>0.16481950590185207</c:v>
                </c:pt>
                <c:pt idx="437" formatCode="0.0%">
                  <c:v>0.16481950590185207</c:v>
                </c:pt>
                <c:pt idx="438" formatCode="0.0%">
                  <c:v>0.15509267526664858</c:v>
                </c:pt>
                <c:pt idx="439" formatCode="0.0%">
                  <c:v>0.16670250459235064</c:v>
                </c:pt>
                <c:pt idx="440" formatCode="0.0%">
                  <c:v>0.19696417244803982</c:v>
                </c:pt>
                <c:pt idx="441" formatCode="0.0%">
                  <c:v>0.20600744551034297</c:v>
                </c:pt>
                <c:pt idx="442" formatCode="0.0%">
                  <c:v>0.22307040827913441</c:v>
                </c:pt>
                <c:pt idx="443" formatCode="0.0%">
                  <c:v>0.22307040827913441</c:v>
                </c:pt>
                <c:pt idx="444" formatCode="0.0%">
                  <c:v>0.22307040827913441</c:v>
                </c:pt>
                <c:pt idx="445" formatCode="0.0%">
                  <c:v>0.22174747597594077</c:v>
                </c:pt>
                <c:pt idx="446" formatCode="0.0%">
                  <c:v>0.23775494638647388</c:v>
                </c:pt>
                <c:pt idx="447" formatCode="0.0%">
                  <c:v>0.23103595436339019</c:v>
                </c:pt>
                <c:pt idx="448" formatCode="0.0%">
                  <c:v>0.24057715785208317</c:v>
                </c:pt>
                <c:pt idx="449" formatCode="0.0%">
                  <c:v>0.24442872739441682</c:v>
                </c:pt>
                <c:pt idx="450" formatCode="0.0%">
                  <c:v>0.24442872739441682</c:v>
                </c:pt>
                <c:pt idx="451" formatCode="0.0%">
                  <c:v>0.24442872739441682</c:v>
                </c:pt>
                <c:pt idx="452" formatCode="0.0%">
                  <c:v>0.25082589937946637</c:v>
                </c:pt>
                <c:pt idx="453" formatCode="0.0%">
                  <c:v>0.25468101907528351</c:v>
                </c:pt>
                <c:pt idx="454" formatCode="0.0%">
                  <c:v>0.24491106036254393</c:v>
                </c:pt>
                <c:pt idx="455" formatCode="0.0%">
                  <c:v>0.23281235661742911</c:v>
                </c:pt>
                <c:pt idx="456" formatCode="0.0%">
                  <c:v>0.24475745226087114</c:v>
                </c:pt>
                <c:pt idx="457" formatCode="0.0%">
                  <c:v>0.24475745226087114</c:v>
                </c:pt>
                <c:pt idx="458" formatCode="0.0%">
                  <c:v>0.24475745226087114</c:v>
                </c:pt>
                <c:pt idx="459" formatCode="0.0%">
                  <c:v>0.25991953111800342</c:v>
                </c:pt>
                <c:pt idx="460" formatCode="0.0%">
                  <c:v>0.25449924603102986</c:v>
                </c:pt>
                <c:pt idx="461" formatCode="0.0%">
                  <c:v>0.24137886025127472</c:v>
                </c:pt>
                <c:pt idx="462" formatCode="0.0%">
                  <c:v>0.24110946618798962</c:v>
                </c:pt>
                <c:pt idx="463" formatCode="0.0%">
                  <c:v>0.24502378745552164</c:v>
                </c:pt>
                <c:pt idx="464" formatCode="0.0%">
                  <c:v>0.24502378745552164</c:v>
                </c:pt>
                <c:pt idx="465" formatCode="0.0%">
                  <c:v>0.24502378745552164</c:v>
                </c:pt>
                <c:pt idx="466" formatCode="0.0%">
                  <c:v>0.22603996280251337</c:v>
                </c:pt>
                <c:pt idx="467" formatCode="0.0%">
                  <c:v>0.22393499254576782</c:v>
                </c:pt>
                <c:pt idx="468" formatCode="0.0%">
                  <c:v>0.2373875642143139</c:v>
                </c:pt>
                <c:pt idx="469" formatCode="0.0%">
                  <c:v>0.23656845922673569</c:v>
                </c:pt>
                <c:pt idx="470" formatCode="0.0%">
                  <c:v>0.23565876810793568</c:v>
                </c:pt>
                <c:pt idx="471" formatCode="0.0%">
                  <c:v>0.23565876810793568</c:v>
                </c:pt>
                <c:pt idx="472" formatCode="0.0%">
                  <c:v>0.23565876810793568</c:v>
                </c:pt>
                <c:pt idx="473" formatCode="0.0%">
                  <c:v>0.23074967744073846</c:v>
                </c:pt>
                <c:pt idx="474" formatCode="0.0%">
                  <c:v>0.24178307981260816</c:v>
                </c:pt>
                <c:pt idx="475" formatCode="0.0%">
                  <c:v>0.23660206933357444</c:v>
                </c:pt>
                <c:pt idx="476" formatCode="0.0%">
                  <c:v>0.22537399246855158</c:v>
                </c:pt>
                <c:pt idx="477" formatCode="0.0%">
                  <c:v>0.20299833798414796</c:v>
                </c:pt>
                <c:pt idx="478" formatCode="0.0%">
                  <c:v>0.20299833798414796</c:v>
                </c:pt>
                <c:pt idx="479" formatCode="0.0%">
                  <c:v>0.20299833798414796</c:v>
                </c:pt>
                <c:pt idx="480" formatCode="0.0%">
                  <c:v>0.2049876526463936</c:v>
                </c:pt>
                <c:pt idx="481" formatCode="0.0%">
                  <c:v>0.18728024599796483</c:v>
                </c:pt>
                <c:pt idx="482" formatCode="0.0%">
                  <c:v>0.20044791591592825</c:v>
                </c:pt>
                <c:pt idx="483" formatCode="0.0%">
                  <c:v>0.22270157497294149</c:v>
                </c:pt>
                <c:pt idx="484" formatCode="0.0%">
                  <c:v>0.19621622723812734</c:v>
                </c:pt>
                <c:pt idx="485" formatCode="0.0%">
                  <c:v>0.19621622723812734</c:v>
                </c:pt>
                <c:pt idx="486" formatCode="0.0%">
                  <c:v>0.19621622723812734</c:v>
                </c:pt>
                <c:pt idx="487" formatCode="0.0%">
                  <c:v>0.19929601868887431</c:v>
                </c:pt>
                <c:pt idx="488" formatCode="0.0%">
                  <c:v>0.2025146998821809</c:v>
                </c:pt>
                <c:pt idx="489" formatCode="0.0%">
                  <c:v>0.22149779613514781</c:v>
                </c:pt>
                <c:pt idx="490" formatCode="0.0%">
                  <c:v>0.19237172835882405</c:v>
                </c:pt>
                <c:pt idx="491" formatCode="0.0%">
                  <c:v>0.17494052744742475</c:v>
                </c:pt>
                <c:pt idx="492" formatCode="0.0%">
                  <c:v>0.17494052744742475</c:v>
                </c:pt>
                <c:pt idx="493" formatCode="0.0%">
                  <c:v>0.17494052744742475</c:v>
                </c:pt>
                <c:pt idx="494" formatCode="0.0%">
                  <c:v>0.14440644102545222</c:v>
                </c:pt>
                <c:pt idx="495" formatCode="0.0%">
                  <c:v>0.1441333039693366</c:v>
                </c:pt>
                <c:pt idx="496" formatCode="0.0%">
                  <c:v>0.13492552737875171</c:v>
                </c:pt>
                <c:pt idx="497" formatCode="0.0%">
                  <c:v>0.14224073165990234</c:v>
                </c:pt>
                <c:pt idx="498" formatCode="0.0%">
                  <c:v>0.17038418208504852</c:v>
                </c:pt>
                <c:pt idx="499" formatCode="0.0%">
                  <c:v>0.17038418208504852</c:v>
                </c:pt>
                <c:pt idx="500" formatCode="0.0%">
                  <c:v>0.17038418208504852</c:v>
                </c:pt>
                <c:pt idx="501" formatCode="0.0%">
                  <c:v>0.16699209733172424</c:v>
                </c:pt>
                <c:pt idx="502" formatCode="0.0%">
                  <c:v>0.17550577747593366</c:v>
                </c:pt>
                <c:pt idx="503" formatCode="0.0%">
                  <c:v>0.14735020094600457</c:v>
                </c:pt>
                <c:pt idx="504" formatCode="0.0%">
                  <c:v>0.13212671102986534</c:v>
                </c:pt>
                <c:pt idx="505" formatCode="0.0%">
                  <c:v>0.1394054604226875</c:v>
                </c:pt>
                <c:pt idx="506" formatCode="0.0%">
                  <c:v>0.1394054604226875</c:v>
                </c:pt>
                <c:pt idx="507" formatCode="0.0%">
                  <c:v>0.1394054604226875</c:v>
                </c:pt>
                <c:pt idx="508" formatCode="0.0%">
                  <c:v>0.14520159252820178</c:v>
                </c:pt>
                <c:pt idx="509" formatCode="0.0%">
                  <c:v>0.12891765158005883</c:v>
                </c:pt>
                <c:pt idx="510" formatCode="0.0%">
                  <c:v>0.14148820462507786</c:v>
                </c:pt>
                <c:pt idx="511" formatCode="0.0%">
                  <c:v>0.15441947914634041</c:v>
                </c:pt>
                <c:pt idx="512" formatCode="0.0%">
                  <c:v>0.17948503111112005</c:v>
                </c:pt>
                <c:pt idx="513" formatCode="0.0%">
                  <c:v>0.17948503111112005</c:v>
                </c:pt>
                <c:pt idx="514" formatCode="0.0%">
                  <c:v>0.17948503111112005</c:v>
                </c:pt>
                <c:pt idx="515" formatCode="0.0%">
                  <c:v>0.17930277441612291</c:v>
                </c:pt>
                <c:pt idx="516" formatCode="0.0%">
                  <c:v>0.17955540383192797</c:v>
                </c:pt>
                <c:pt idx="517" formatCode="0.0%">
                  <c:v>0.17562409833075221</c:v>
                </c:pt>
                <c:pt idx="518" formatCode="0.0%">
                  <c:v>0.18582659947795108</c:v>
                </c:pt>
                <c:pt idx="519" formatCode="0.0%">
                  <c:v>0.17212640785815153</c:v>
                </c:pt>
                <c:pt idx="520" formatCode="0.0%">
                  <c:v>0.17212640785815153</c:v>
                </c:pt>
                <c:pt idx="521" formatCode="0.0%">
                  <c:v>0.17212640785815153</c:v>
                </c:pt>
                <c:pt idx="522" formatCode="0.0%">
                  <c:v>0.17769491377831456</c:v>
                </c:pt>
                <c:pt idx="523" formatCode="0.0%">
                  <c:v>0.18382915163429331</c:v>
                </c:pt>
                <c:pt idx="524" formatCode="0.0%">
                  <c:v>0.174420168844686</c:v>
                </c:pt>
                <c:pt idx="525" formatCode="0.0%">
                  <c:v>0.15955273208893828</c:v>
                </c:pt>
                <c:pt idx="526" formatCode="0.0%">
                  <c:v>0.14058937733215798</c:v>
                </c:pt>
                <c:pt idx="527" formatCode="0.0%">
                  <c:v>0.14058937733215798</c:v>
                </c:pt>
                <c:pt idx="528" formatCode="0.0%">
                  <c:v>0.14058937733215798</c:v>
                </c:pt>
                <c:pt idx="529" formatCode="0.0%">
                  <c:v>0.11058212484683523</c:v>
                </c:pt>
                <c:pt idx="530" formatCode="0.0%">
                  <c:v>0.10481004633454404</c:v>
                </c:pt>
                <c:pt idx="531" formatCode="0.0%">
                  <c:v>0.11672073834138558</c:v>
                </c:pt>
                <c:pt idx="532" formatCode="0.0%">
                  <c:v>8.1028518850493753E-2</c:v>
                </c:pt>
                <c:pt idx="533" formatCode="0.0%">
                  <c:v>8.2760471970083238E-2</c:v>
                </c:pt>
                <c:pt idx="534" formatCode="0.0%">
                  <c:v>8.2760471970083238E-2</c:v>
                </c:pt>
                <c:pt idx="535" formatCode="0.0%">
                  <c:v>8.2760471970083238E-2</c:v>
                </c:pt>
                <c:pt idx="536" formatCode="0.0%">
                  <c:v>7.7603200125201818E-2</c:v>
                </c:pt>
                <c:pt idx="537" formatCode="0.0%">
                  <c:v>9.5337321029923039E-2</c:v>
                </c:pt>
                <c:pt idx="538" formatCode="0.0%">
                  <c:v>8.6682647738079766E-2</c:v>
                </c:pt>
                <c:pt idx="539" formatCode="0.0%">
                  <c:v>9.8677318028007624E-2</c:v>
                </c:pt>
                <c:pt idx="540" formatCode="0.0%">
                  <c:v>0.12610104404517058</c:v>
                </c:pt>
                <c:pt idx="541" formatCode="0.0%">
                  <c:v>0.12610104404517058</c:v>
                </c:pt>
                <c:pt idx="542" formatCode="0.0%">
                  <c:v>0.12610104404517058</c:v>
                </c:pt>
                <c:pt idx="543" formatCode="0.0%">
                  <c:v>0.12395983464002597</c:v>
                </c:pt>
                <c:pt idx="544" formatCode="0.0%">
                  <c:v>0.11814901318501754</c:v>
                </c:pt>
                <c:pt idx="545" formatCode="0.0%">
                  <c:v>0.11658246164780024</c:v>
                </c:pt>
                <c:pt idx="546" formatCode="0.0%">
                  <c:v>0.10631439564197137</c:v>
                </c:pt>
                <c:pt idx="547" formatCode="0.0%">
                  <c:v>0.11779257186799867</c:v>
                </c:pt>
                <c:pt idx="548" formatCode="0.0%">
                  <c:v>0.11779257186799867</c:v>
                </c:pt>
                <c:pt idx="549" formatCode="0.0%">
                  <c:v>0.11779257186799867</c:v>
                </c:pt>
                <c:pt idx="550" formatCode="0.0%">
                  <c:v>0.11743127840444217</c:v>
                </c:pt>
                <c:pt idx="551" formatCode="0.0%">
                  <c:v>0.13199121380173537</c:v>
                </c:pt>
                <c:pt idx="552" formatCode="0.0%">
                  <c:v>0.13892031879367323</c:v>
                </c:pt>
                <c:pt idx="553" formatCode="0.0%">
                  <c:v>0.15976871713872626</c:v>
                </c:pt>
                <c:pt idx="554" formatCode="0.0%">
                  <c:v>0.16086094394675926</c:v>
                </c:pt>
                <c:pt idx="555" formatCode="0.0%">
                  <c:v>0.16086094394675926</c:v>
                </c:pt>
                <c:pt idx="556" formatCode="0.0%">
                  <c:v>0.16086094394675926</c:v>
                </c:pt>
                <c:pt idx="557" formatCode="0.0%">
                  <c:v>0.15605095017827167</c:v>
                </c:pt>
                <c:pt idx="558" formatCode="0.0%">
                  <c:v>0.15094220661970367</c:v>
                </c:pt>
                <c:pt idx="559" formatCode="0.0%">
                  <c:v>0.1409696338991438</c:v>
                </c:pt>
                <c:pt idx="560" formatCode="0.0%">
                  <c:v>0.1437889614453374</c:v>
                </c:pt>
                <c:pt idx="561" formatCode="0.0%">
                  <c:v>0.15307103231462066</c:v>
                </c:pt>
                <c:pt idx="562" formatCode="0.0%">
                  <c:v>0.15307103231462066</c:v>
                </c:pt>
                <c:pt idx="563" formatCode="0.0%">
                  <c:v>0.15307103231462066</c:v>
                </c:pt>
                <c:pt idx="564" formatCode="0.0%">
                  <c:v>0.14221738093846142</c:v>
                </c:pt>
                <c:pt idx="565" formatCode="0.0%">
                  <c:v>0.16026977631421957</c:v>
                </c:pt>
                <c:pt idx="566" formatCode="0.0%">
                  <c:v>0.17112015236335482</c:v>
                </c:pt>
                <c:pt idx="567" formatCode="0.0%">
                  <c:v>0.1818952554356052</c:v>
                </c:pt>
                <c:pt idx="568" formatCode="0.0%">
                  <c:v>0.17246172555093153</c:v>
                </c:pt>
                <c:pt idx="569" formatCode="0.0%">
                  <c:v>0.17246172555093153</c:v>
                </c:pt>
                <c:pt idx="570" formatCode="0.0%">
                  <c:v>0.17246172555093153</c:v>
                </c:pt>
                <c:pt idx="571" formatCode="0.0%">
                  <c:v>0.17379137927759644</c:v>
                </c:pt>
                <c:pt idx="572" formatCode="0.0%">
                  <c:v>0.17322321147639358</c:v>
                </c:pt>
                <c:pt idx="573" formatCode="0.0%">
                  <c:v>0.19490382204909437</c:v>
                </c:pt>
                <c:pt idx="574" formatCode="0.0%">
                  <c:v>0.20545438814122791</c:v>
                </c:pt>
                <c:pt idx="575" formatCode="0.0%">
                  <c:v>0.21493346910339681</c:v>
                </c:pt>
                <c:pt idx="576" formatCode="0.0%">
                  <c:v>0.21493346910339681</c:v>
                </c:pt>
                <c:pt idx="577" formatCode="0.0%">
                  <c:v>0.21493346910339681</c:v>
                </c:pt>
                <c:pt idx="578" formatCode="0.0%">
                  <c:v>0.20717620311614809</c:v>
                </c:pt>
                <c:pt idx="579" formatCode="0.0%">
                  <c:v>0.20609544762810741</c:v>
                </c:pt>
                <c:pt idx="580" formatCode="0.0%">
                  <c:v>0.22491800235106282</c:v>
                </c:pt>
                <c:pt idx="581" formatCode="0.0%">
                  <c:v>0.218961099953912</c:v>
                </c:pt>
                <c:pt idx="582" formatCode="0.0%">
                  <c:v>0.22162799459363214</c:v>
                </c:pt>
                <c:pt idx="583" formatCode="0.0%">
                  <c:v>0.22162799459363214</c:v>
                </c:pt>
                <c:pt idx="584" formatCode="0.0%">
                  <c:v>0.22162799459363214</c:v>
                </c:pt>
                <c:pt idx="585" formatCode="0.0%">
                  <c:v>0.21793985902684837</c:v>
                </c:pt>
                <c:pt idx="586" formatCode="0.0%">
                  <c:v>0.21140376674601996</c:v>
                </c:pt>
                <c:pt idx="587" formatCode="0.0%">
                  <c:v>0.21844128679977004</c:v>
                </c:pt>
                <c:pt idx="588" formatCode="0.0%">
                  <c:v>0.22156255033241165</c:v>
                </c:pt>
                <c:pt idx="589" formatCode="0.0%">
                  <c:v>0.24694531362778308</c:v>
                </c:pt>
                <c:pt idx="590" formatCode="0.0%">
                  <c:v>0.24694531362778308</c:v>
                </c:pt>
                <c:pt idx="591" formatCode="0.0%">
                  <c:v>0.24694531362778308</c:v>
                </c:pt>
                <c:pt idx="592" formatCode="0.0%">
                  <c:v>0.25571664086216872</c:v>
                </c:pt>
                <c:pt idx="593" formatCode="0.0%">
                  <c:v>0.25835245008280966</c:v>
                </c:pt>
                <c:pt idx="594" formatCode="0.0%">
                  <c:v>0.25237191110742713</c:v>
                </c:pt>
                <c:pt idx="595" formatCode="0.0%">
                  <c:v>0.25746340705993248</c:v>
                </c:pt>
                <c:pt idx="596" formatCode="0.0%">
                  <c:v>0.25159197024582935</c:v>
                </c:pt>
                <c:pt idx="597" formatCode="0.0%">
                  <c:v>0.25159197024582935</c:v>
                </c:pt>
                <c:pt idx="598" formatCode="0.0%">
                  <c:v>0.25159197024582935</c:v>
                </c:pt>
                <c:pt idx="599" formatCode="0.0%">
                  <c:v>0.23909290111700998</c:v>
                </c:pt>
                <c:pt idx="600" formatCode="0.0%">
                  <c:v>0.23407277695055839</c:v>
                </c:pt>
                <c:pt idx="601" formatCode="0.0%">
                  <c:v>0.23496038760676299</c:v>
                </c:pt>
                <c:pt idx="602" formatCode="0.0%">
                  <c:v>0.25201812586901001</c:v>
                </c:pt>
                <c:pt idx="603" formatCode="0.0%">
                  <c:v>0.21847804123270251</c:v>
                </c:pt>
                <c:pt idx="604" formatCode="0.0%">
                  <c:v>0.21847804123270251</c:v>
                </c:pt>
                <c:pt idx="605" formatCode="0.0%">
                  <c:v>0.21847804123270251</c:v>
                </c:pt>
                <c:pt idx="606" formatCode="0.0%">
                  <c:v>0.21016717515558711</c:v>
                </c:pt>
                <c:pt idx="607" formatCode="0.0%">
                  <c:v>0.20027408889832146</c:v>
                </c:pt>
                <c:pt idx="608" formatCode="0.0%">
                  <c:v>0.1853425161594906</c:v>
                </c:pt>
                <c:pt idx="609" formatCode="0.0%">
                  <c:v>0.19058097981670158</c:v>
                </c:pt>
                <c:pt idx="610" formatCode="0.0%">
                  <c:v>0.17705902633760659</c:v>
                </c:pt>
                <c:pt idx="611" formatCode="0.0%">
                  <c:v>0.17705902633760659</c:v>
                </c:pt>
                <c:pt idx="612" formatCode="0.0%">
                  <c:v>0.17705902633760659</c:v>
                </c:pt>
                <c:pt idx="613" formatCode="0.0%">
                  <c:v>0.18577725213037127</c:v>
                </c:pt>
                <c:pt idx="614" formatCode="0.0%">
                  <c:v>0.18261088397856981</c:v>
                </c:pt>
                <c:pt idx="615" formatCode="0.0%">
                  <c:v>0.18798897293644032</c:v>
                </c:pt>
                <c:pt idx="616" formatCode="0.0%">
                  <c:v>0.19616144939048211</c:v>
                </c:pt>
                <c:pt idx="617" formatCode="0.0%">
                  <c:v>0.2064734869149332</c:v>
                </c:pt>
                <c:pt idx="618" formatCode="0.0%">
                  <c:v>0.2064734869149332</c:v>
                </c:pt>
                <c:pt idx="619" formatCode="0.0%">
                  <c:v>0.2064734869149332</c:v>
                </c:pt>
                <c:pt idx="620" formatCode="0.0%">
                  <c:v>0.21152784356792081</c:v>
                </c:pt>
                <c:pt idx="621" formatCode="0.0%">
                  <c:v>0.18564352031820902</c:v>
                </c:pt>
                <c:pt idx="622" formatCode="0.0%">
                  <c:v>0.18498259382595422</c:v>
                </c:pt>
                <c:pt idx="623" formatCode="0.0%">
                  <c:v>0.17432222551324203</c:v>
                </c:pt>
                <c:pt idx="624" formatCode="0.0%">
                  <c:v>0.15933673461371911</c:v>
                </c:pt>
                <c:pt idx="625" formatCode="0.0%">
                  <c:v>0.15933673461371911</c:v>
                </c:pt>
                <c:pt idx="626" formatCode="0.0%">
                  <c:v>0.15933673461371911</c:v>
                </c:pt>
                <c:pt idx="627" formatCode="0.0%">
                  <c:v>0.16515266559683781</c:v>
                </c:pt>
                <c:pt idx="628" formatCode="0.0%">
                  <c:v>0.15755411609744827</c:v>
                </c:pt>
                <c:pt idx="629" formatCode="0.0%">
                  <c:v>0.15405166115501218</c:v>
                </c:pt>
                <c:pt idx="630" formatCode="0.0%">
                  <c:v>0.1489571708162522</c:v>
                </c:pt>
                <c:pt idx="631" formatCode="0.0%">
                  <c:v>0.13857211844940381</c:v>
                </c:pt>
                <c:pt idx="632" formatCode="0.0%">
                  <c:v>0.13857211844940381</c:v>
                </c:pt>
                <c:pt idx="633" formatCode="0.0%">
                  <c:v>0.13857211844940381</c:v>
                </c:pt>
                <c:pt idx="634" formatCode="0.0%">
                  <c:v>0.13032991339912228</c:v>
                </c:pt>
                <c:pt idx="635" formatCode="0.0%">
                  <c:v>0.13227992833671692</c:v>
                </c:pt>
                <c:pt idx="636" formatCode="0.0%">
                  <c:v>0.14342888116648098</c:v>
                </c:pt>
                <c:pt idx="637" formatCode="0.0%">
                  <c:v>0.11240123221114189</c:v>
                </c:pt>
                <c:pt idx="638" formatCode="0.0%">
                  <c:v>9.9926961965288677E-2</c:v>
                </c:pt>
                <c:pt idx="639" formatCode="0.0%">
                  <c:v>9.9926961965288677E-2</c:v>
                </c:pt>
                <c:pt idx="640" formatCode="0.0%">
                  <c:v>9.9926961965288677E-2</c:v>
                </c:pt>
                <c:pt idx="641" formatCode="0.0%">
                  <c:v>0.11887169402307009</c:v>
                </c:pt>
                <c:pt idx="642" formatCode="0.0%">
                  <c:v>0.13889628791070721</c:v>
                </c:pt>
                <c:pt idx="643" formatCode="0.0%">
                  <c:v>0.14824883733934072</c:v>
                </c:pt>
                <c:pt idx="644" formatCode="0.0%">
                  <c:v>0.14147234760230545</c:v>
                </c:pt>
                <c:pt idx="645" formatCode="0.0%">
                  <c:v>0.12114428362666814</c:v>
                </c:pt>
                <c:pt idx="646" formatCode="0.0%">
                  <c:v>0.12114428362666814</c:v>
                </c:pt>
                <c:pt idx="647" formatCode="0.0%">
                  <c:v>0.12114428362666814</c:v>
                </c:pt>
                <c:pt idx="648" formatCode="0.0%">
                  <c:v>0.11974026702099777</c:v>
                </c:pt>
                <c:pt idx="649" formatCode="0.0%">
                  <c:v>0.10813745855117247</c:v>
                </c:pt>
                <c:pt idx="650" formatCode="0.0%">
                  <c:v>0.10576165714001064</c:v>
                </c:pt>
                <c:pt idx="651" formatCode="0.0%">
                  <c:v>0.12061712713215172</c:v>
                </c:pt>
                <c:pt idx="652" formatCode="0.0%">
                  <c:v>0.10294736478870277</c:v>
                </c:pt>
                <c:pt idx="653" formatCode="0.0%">
                  <c:v>0.10294736478870277</c:v>
                </c:pt>
                <c:pt idx="654" formatCode="0.0%">
                  <c:v>0.10294736478870277</c:v>
                </c:pt>
                <c:pt idx="655" formatCode="0.0%">
                  <c:v>0.11889558344849079</c:v>
                </c:pt>
                <c:pt idx="656" formatCode="0.0%">
                  <c:v>0.12764397981070602</c:v>
                </c:pt>
                <c:pt idx="657" formatCode="0.0%">
                  <c:v>0.12517903035563194</c:v>
                </c:pt>
                <c:pt idx="658" formatCode="0.0%">
                  <c:v>0.11470614087247057</c:v>
                </c:pt>
                <c:pt idx="659" formatCode="0.0%">
                  <c:v>0.13391538835938405</c:v>
                </c:pt>
                <c:pt idx="660" formatCode="0.0%">
                  <c:v>0.13391538835938405</c:v>
                </c:pt>
                <c:pt idx="661" formatCode="0.0%">
                  <c:v>0.13391538835938405</c:v>
                </c:pt>
                <c:pt idx="662" formatCode="0.0%">
                  <c:v>0.13314959284787548</c:v>
                </c:pt>
                <c:pt idx="663" formatCode="0.0%">
                  <c:v>0.14301998746722774</c:v>
                </c:pt>
                <c:pt idx="664" formatCode="0.0%">
                  <c:v>0.13287526079369669</c:v>
                </c:pt>
                <c:pt idx="665" formatCode="0.0%">
                  <c:v>0.13523492218209768</c:v>
                </c:pt>
                <c:pt idx="666" formatCode="0.0%">
                  <c:v>0.15467323697128024</c:v>
                </c:pt>
                <c:pt idx="667" formatCode="0.0%">
                  <c:v>0.15467323697128024</c:v>
                </c:pt>
                <c:pt idx="668" formatCode="0.0%">
                  <c:v>0.15467323697128024</c:v>
                </c:pt>
                <c:pt idx="669" formatCode="0.0%">
                  <c:v>0.15749159344813918</c:v>
                </c:pt>
                <c:pt idx="670" formatCode="0.0%">
                  <c:v>0.16065412391884634</c:v>
                </c:pt>
                <c:pt idx="671" formatCode="0.0%">
                  <c:v>0.14252816885210989</c:v>
                </c:pt>
                <c:pt idx="672" formatCode="0.0%">
                  <c:v>0.14098475168612112</c:v>
                </c:pt>
                <c:pt idx="673" formatCode="0.0%">
                  <c:v>0.14443769346013086</c:v>
                </c:pt>
                <c:pt idx="674" formatCode="0.0%">
                  <c:v>0.14443769346013086</c:v>
                </c:pt>
                <c:pt idx="675" formatCode="0.0%">
                  <c:v>0.14443769346013086</c:v>
                </c:pt>
                <c:pt idx="676" formatCode="0.0%">
                  <c:v>0.14450681048137909</c:v>
                </c:pt>
                <c:pt idx="677" formatCode="0.0%">
                  <c:v>0.14574240364914856</c:v>
                </c:pt>
                <c:pt idx="678" formatCode="0.0%">
                  <c:v>0.13204412433826307</c:v>
                </c:pt>
                <c:pt idx="679" formatCode="0.0%">
                  <c:v>0.16404978854121224</c:v>
                </c:pt>
                <c:pt idx="680" formatCode="0.0%">
                  <c:v>0.16848531280342555</c:v>
                </c:pt>
                <c:pt idx="681" formatCode="0.0%">
                  <c:v>0.16848531280342555</c:v>
                </c:pt>
                <c:pt idx="682" formatCode="0.0%">
                  <c:v>0.16848531280342555</c:v>
                </c:pt>
                <c:pt idx="683" formatCode="0.0%">
                  <c:v>0.16062977225875882</c:v>
                </c:pt>
                <c:pt idx="684" formatCode="0.0%">
                  <c:v>0.1690428117496853</c:v>
                </c:pt>
                <c:pt idx="685" formatCode="0.0%">
                  <c:v>0.15589875693602948</c:v>
                </c:pt>
                <c:pt idx="686" formatCode="0.0%">
                  <c:v>0.15697318737181903</c:v>
                </c:pt>
                <c:pt idx="687" formatCode="0.0%">
                  <c:v>0.15993521497280683</c:v>
                </c:pt>
                <c:pt idx="688" formatCode="0.0%">
                  <c:v>0.15993521497280683</c:v>
                </c:pt>
                <c:pt idx="689" formatCode="0.0%">
                  <c:v>0.15993521497280683</c:v>
                </c:pt>
                <c:pt idx="690" formatCode="0.0%">
                  <c:v>0.16483061638975216</c:v>
                </c:pt>
                <c:pt idx="691" formatCode="0.0%">
                  <c:v>0.17321704691275158</c:v>
                </c:pt>
                <c:pt idx="692" formatCode="0.0%">
                  <c:v>0.17217081752386293</c:v>
                </c:pt>
                <c:pt idx="693" formatCode="0.0%">
                  <c:v>0.1734311889295708</c:v>
                </c:pt>
                <c:pt idx="694" formatCode="0.0%">
                  <c:v>0.17221942678659188</c:v>
                </c:pt>
                <c:pt idx="695" formatCode="0.0%">
                  <c:v>0.17221942678659188</c:v>
                </c:pt>
                <c:pt idx="696" formatCode="0.0%">
                  <c:v>0.17221942678659188</c:v>
                </c:pt>
                <c:pt idx="697" formatCode="0.0%">
                  <c:v>0.15828487149165979</c:v>
                </c:pt>
                <c:pt idx="698" formatCode="0.0%">
                  <c:v>0.16383655253212709</c:v>
                </c:pt>
                <c:pt idx="699" formatCode="0.0%">
                  <c:v>0.19612992167933099</c:v>
                </c:pt>
                <c:pt idx="700" formatCode="0.0%">
                  <c:v>0.18300109832213196</c:v>
                </c:pt>
                <c:pt idx="701" formatCode="0.0%">
                  <c:v>0.18087921485914876</c:v>
                </c:pt>
                <c:pt idx="702" formatCode="0.0%">
                  <c:v>0.18087921485914876</c:v>
                </c:pt>
                <c:pt idx="703" formatCode="0.0%">
                  <c:v>0.18087921485914876</c:v>
                </c:pt>
                <c:pt idx="704" formatCode="0.0%">
                  <c:v>0.16210874407902082</c:v>
                </c:pt>
                <c:pt idx="705" formatCode="0.0%">
                  <c:v>0.15046783835493543</c:v>
                </c:pt>
                <c:pt idx="706" formatCode="0.0%">
                  <c:v>0.14554749642995191</c:v>
                </c:pt>
                <c:pt idx="707" formatCode="0.0%">
                  <c:v>0.14853447038633832</c:v>
                </c:pt>
                <c:pt idx="708" formatCode="0.0%">
                  <c:v>0.14739955004102839</c:v>
                </c:pt>
                <c:pt idx="709" formatCode="0.0%">
                  <c:v>0.14739955004102839</c:v>
                </c:pt>
                <c:pt idx="710" formatCode="0.0%">
                  <c:v>0.14739955004102839</c:v>
                </c:pt>
                <c:pt idx="711" formatCode="0.0%">
                  <c:v>0.15549041912921638</c:v>
                </c:pt>
                <c:pt idx="712" formatCode="0.0%">
                  <c:v>0.15528256174380189</c:v>
                </c:pt>
                <c:pt idx="713" formatCode="0.0%">
                  <c:v>0.1516727905485746</c:v>
                </c:pt>
                <c:pt idx="714" formatCode="0.0%">
                  <c:v>0.12389722180178751</c:v>
                </c:pt>
                <c:pt idx="715" formatCode="0.0%">
                  <c:v>0.11530299344343958</c:v>
                </c:pt>
                <c:pt idx="716" formatCode="0.0%">
                  <c:v>0.11530299344343958</c:v>
                </c:pt>
                <c:pt idx="717" formatCode="0.0%">
                  <c:v>0.11530299344343958</c:v>
                </c:pt>
                <c:pt idx="718" formatCode="0.0%">
                  <c:v>0.11164805257246059</c:v>
                </c:pt>
                <c:pt idx="719" formatCode="0.0%">
                  <c:v>0.10720506057982888</c:v>
                </c:pt>
                <c:pt idx="720" formatCode="0.0%">
                  <c:v>0.12273753160467123</c:v>
                </c:pt>
                <c:pt idx="721" formatCode="0.0%">
                  <c:v>0.11364685586296901</c:v>
                </c:pt>
                <c:pt idx="722" formatCode="0.0%">
                  <c:v>0.11479547668168692</c:v>
                </c:pt>
                <c:pt idx="723" formatCode="0.0%">
                  <c:v>0.11479547668168692</c:v>
                </c:pt>
                <c:pt idx="724" formatCode="0.0%">
                  <c:v>0.11479547668168692</c:v>
                </c:pt>
                <c:pt idx="725" formatCode="0.0%">
                  <c:v>0.11512891244172366</c:v>
                </c:pt>
                <c:pt idx="726" formatCode="0.0%">
                  <c:v>0.11010587947869439</c:v>
                </c:pt>
                <c:pt idx="727" formatCode="0.0%">
                  <c:v>0.10382404448393828</c:v>
                </c:pt>
                <c:pt idx="728" formatCode="0.0%">
                  <c:v>0.11258741757651138</c:v>
                </c:pt>
                <c:pt idx="729" formatCode="0.0%">
                  <c:v>0.10836518318812224</c:v>
                </c:pt>
                <c:pt idx="730" formatCode="0.0%">
                  <c:v>0.10836518318812224</c:v>
                </c:pt>
                <c:pt idx="731" formatCode="0.0%">
                  <c:v>0.10836518318812224</c:v>
                </c:pt>
                <c:pt idx="732" formatCode="0.0%">
                  <c:v>0.11008593565592434</c:v>
                </c:pt>
                <c:pt idx="733" formatCode="0.0%">
                  <c:v>0.12093884993964438</c:v>
                </c:pt>
                <c:pt idx="734" formatCode="0.0%">
                  <c:v>0.12643499467654437</c:v>
                </c:pt>
                <c:pt idx="735" formatCode="0.0%">
                  <c:v>0.12541025852778362</c:v>
                </c:pt>
                <c:pt idx="736" formatCode="0.0%">
                  <c:v>0.13824895695409012</c:v>
                </c:pt>
                <c:pt idx="737" formatCode="0.0%">
                  <c:v>0.13824895695409012</c:v>
                </c:pt>
                <c:pt idx="738" formatCode="0.0%">
                  <c:v>0.13824895695409012</c:v>
                </c:pt>
                <c:pt idx="739" formatCode="0.0%">
                  <c:v>0.13185893130755133</c:v>
                </c:pt>
                <c:pt idx="740" formatCode="0.0%">
                  <c:v>0.13636641539566269</c:v>
                </c:pt>
                <c:pt idx="741" formatCode="0.0%">
                  <c:v>0.14525367600498384</c:v>
                </c:pt>
                <c:pt idx="742" formatCode="0.0%">
                  <c:v>0.14713672067344036</c:v>
                </c:pt>
                <c:pt idx="743" formatCode="0.0%">
                  <c:v>0.15216805596432123</c:v>
                </c:pt>
                <c:pt idx="744" formatCode="0.0%">
                  <c:v>0.15216805596432123</c:v>
                </c:pt>
                <c:pt idx="745" formatCode="0.0%">
                  <c:v>0.15216805596432123</c:v>
                </c:pt>
                <c:pt idx="746" formatCode="0.0%">
                  <c:v>0.15266160370527374</c:v>
                </c:pt>
                <c:pt idx="747" formatCode="0.0%">
                  <c:v>0.15502184527252694</c:v>
                </c:pt>
                <c:pt idx="748" formatCode="0.0%">
                  <c:v>0.14374381641409584</c:v>
                </c:pt>
                <c:pt idx="749" formatCode="0.0%">
                  <c:v>0.13756881311836566</c:v>
                </c:pt>
                <c:pt idx="750" formatCode="0.0%">
                  <c:v>0.14917172816397553</c:v>
                </c:pt>
                <c:pt idx="751" formatCode="0.0%">
                  <c:v>0.14917172816397553</c:v>
                </c:pt>
                <c:pt idx="752" formatCode="0.0%">
                  <c:v>0.14917172816397553</c:v>
                </c:pt>
                <c:pt idx="753" formatCode="0.0%">
                  <c:v>0.15682466552930818</c:v>
                </c:pt>
                <c:pt idx="754" formatCode="0.0%">
                  <c:v>0.15609264074897625</c:v>
                </c:pt>
                <c:pt idx="755" formatCode="0.0%">
                  <c:v>0.15375974292167527</c:v>
                </c:pt>
                <c:pt idx="756" formatCode="0.0%">
                  <c:v>0.16801121029934493</c:v>
                </c:pt>
                <c:pt idx="757" formatCode="0.0%">
                  <c:v>0.17251542934100073</c:v>
                </c:pt>
                <c:pt idx="758" formatCode="0.0%">
                  <c:v>0.17251542934100073</c:v>
                </c:pt>
                <c:pt idx="759" formatCode="0.0%">
                  <c:v>0.17251542934100073</c:v>
                </c:pt>
                <c:pt idx="760" formatCode="0.0%">
                  <c:v>0.15863812618533715</c:v>
                </c:pt>
                <c:pt idx="761" formatCode="0.0%">
                  <c:v>0.16768313303006394</c:v>
                </c:pt>
                <c:pt idx="762" formatCode="0.0%">
                  <c:v>0.17198294120245933</c:v>
                </c:pt>
                <c:pt idx="763" formatCode="0.0%">
                  <c:v>0.18401204208063945</c:v>
                </c:pt>
                <c:pt idx="764" formatCode="0.0%">
                  <c:v>0.18309095699489902</c:v>
                </c:pt>
                <c:pt idx="765" formatCode="0.0%">
                  <c:v>0.18309095699489902</c:v>
                </c:pt>
                <c:pt idx="766" formatCode="0.0%">
                  <c:v>0.18309095699489902</c:v>
                </c:pt>
                <c:pt idx="767" formatCode="0.0%">
                  <c:v>0.18356177040476851</c:v>
                </c:pt>
                <c:pt idx="768" formatCode="0.0%">
                  <c:v>0.19783904326108598</c:v>
                </c:pt>
                <c:pt idx="769" formatCode="0.0%">
                  <c:v>0.18797997176082545</c:v>
                </c:pt>
                <c:pt idx="770" formatCode="0.0%">
                  <c:v>0.18024814402660666</c:v>
                </c:pt>
                <c:pt idx="771" formatCode="0.0%">
                  <c:v>0.18675296650850484</c:v>
                </c:pt>
                <c:pt idx="772" formatCode="0.0%">
                  <c:v>0.18675296650850484</c:v>
                </c:pt>
                <c:pt idx="773" formatCode="0.0%">
                  <c:v>0.18675296650850484</c:v>
                </c:pt>
                <c:pt idx="774" formatCode="0.0%">
                  <c:v>0.192393864936449</c:v>
                </c:pt>
                <c:pt idx="775" formatCode="0.0%">
                  <c:v>0.19401737172680414</c:v>
                </c:pt>
                <c:pt idx="776" formatCode="0.0%">
                  <c:v>0.19864177855025317</c:v>
                </c:pt>
                <c:pt idx="777" formatCode="0.0%">
                  <c:v>0.1900947262598163</c:v>
                </c:pt>
                <c:pt idx="778" formatCode="0.0%">
                  <c:v>0.18508723656902931</c:v>
                </c:pt>
                <c:pt idx="779" formatCode="0.0%">
                  <c:v>0.18508723656902931</c:v>
                </c:pt>
                <c:pt idx="780" formatCode="0.0%">
                  <c:v>0.18508723656902931</c:v>
                </c:pt>
                <c:pt idx="781" formatCode="0.0%">
                  <c:v>0.18455923110661673</c:v>
                </c:pt>
                <c:pt idx="782" formatCode="0.0%">
                  <c:v>0.16723956631066442</c:v>
                </c:pt>
                <c:pt idx="783" formatCode="0.0%">
                  <c:v>0.16801144062484469</c:v>
                </c:pt>
                <c:pt idx="784" formatCode="0.0%">
                  <c:v>0.17483738619346353</c:v>
                </c:pt>
                <c:pt idx="785" formatCode="0.0%">
                  <c:v>0.16716418300817892</c:v>
                </c:pt>
                <c:pt idx="786" formatCode="0.0%">
                  <c:v>0.16716418300817892</c:v>
                </c:pt>
                <c:pt idx="787" formatCode="0.0%">
                  <c:v>0.16716418300817892</c:v>
                </c:pt>
                <c:pt idx="788" formatCode="0.0%">
                  <c:v>0.16552928900300798</c:v>
                </c:pt>
                <c:pt idx="789" formatCode="0.0%">
                  <c:v>0.16206895430033441</c:v>
                </c:pt>
                <c:pt idx="790" formatCode="0.0%">
                  <c:v>0.1544199007558214</c:v>
                </c:pt>
                <c:pt idx="791" formatCode="0.0%">
                  <c:v>0.16568941463091305</c:v>
                </c:pt>
                <c:pt idx="792" formatCode="0.0%">
                  <c:v>0.18291397301090512</c:v>
                </c:pt>
                <c:pt idx="793" formatCode="0.0%">
                  <c:v>0.18291397301090512</c:v>
                </c:pt>
                <c:pt idx="794" formatCode="0.0%">
                  <c:v>0.18291397301090512</c:v>
                </c:pt>
                <c:pt idx="795" formatCode="0.0%">
                  <c:v>0.17736794370242848</c:v>
                </c:pt>
                <c:pt idx="796" formatCode="0.0%">
                  <c:v>0.17166143028189992</c:v>
                </c:pt>
                <c:pt idx="797" formatCode="0.0%">
                  <c:v>0.17412330432748518</c:v>
                </c:pt>
                <c:pt idx="798" formatCode="0.0%">
                  <c:v>0.15835579534739311</c:v>
                </c:pt>
                <c:pt idx="799" formatCode="0.0%">
                  <c:v>0.13139157512011693</c:v>
                </c:pt>
                <c:pt idx="800" formatCode="0.0%">
                  <c:v>0.13139157512011693</c:v>
                </c:pt>
                <c:pt idx="801" formatCode="0.0%">
                  <c:v>0.13139157512011693</c:v>
                </c:pt>
                <c:pt idx="802" formatCode="0.0%">
                  <c:v>0.12237339468712108</c:v>
                </c:pt>
                <c:pt idx="803" formatCode="0.0%">
                  <c:v>0.13309798365855913</c:v>
                </c:pt>
                <c:pt idx="804" formatCode="0.0%">
                  <c:v>0.13992954202908806</c:v>
                </c:pt>
                <c:pt idx="805" formatCode="0.0%">
                  <c:v>0.14574188910861893</c:v>
                </c:pt>
                <c:pt idx="806" formatCode="0.0%">
                  <c:v>0.13570222919294564</c:v>
                </c:pt>
                <c:pt idx="807" formatCode="0.0%">
                  <c:v>0.13570222919294564</c:v>
                </c:pt>
                <c:pt idx="808" formatCode="0.0%">
                  <c:v>0.13570222919294564</c:v>
                </c:pt>
                <c:pt idx="809" formatCode="0.0%">
                  <c:v>0.13494718912548564</c:v>
                </c:pt>
                <c:pt idx="810" formatCode="0.0%">
                  <c:v>0.14380577713029369</c:v>
                </c:pt>
                <c:pt idx="811" formatCode="0.0%">
                  <c:v>0.13333928756825059</c:v>
                </c:pt>
                <c:pt idx="812" formatCode="0.0%">
                  <c:v>0.12970872668783387</c:v>
                </c:pt>
                <c:pt idx="813" formatCode="0.0%">
                  <c:v>0.14124078537090726</c:v>
                </c:pt>
                <c:pt idx="814" formatCode="0.0%">
                  <c:v>0.14124078537090726</c:v>
                </c:pt>
                <c:pt idx="815" formatCode="0.0%">
                  <c:v>0.14124078537090726</c:v>
                </c:pt>
                <c:pt idx="816" formatCode="0.0%">
                  <c:v>0.14178438399810503</c:v>
                </c:pt>
                <c:pt idx="817" formatCode="0.0%">
                  <c:v>0.13801199312882645</c:v>
                </c:pt>
                <c:pt idx="818" formatCode="0.0%">
                  <c:v>0.15234442972510137</c:v>
                </c:pt>
                <c:pt idx="819" formatCode="0.0%">
                  <c:v>0.15260603925754565</c:v>
                </c:pt>
                <c:pt idx="820" formatCode="0.0%">
                  <c:v>0.17034073746252504</c:v>
                </c:pt>
                <c:pt idx="821" formatCode="0.0%">
                  <c:v>0.17034073746252504</c:v>
                </c:pt>
                <c:pt idx="822" formatCode="0.0%">
                  <c:v>0.17034073746252504</c:v>
                </c:pt>
                <c:pt idx="823" formatCode="0.0%">
                  <c:v>0.17246854837446349</c:v>
                </c:pt>
                <c:pt idx="824" formatCode="0.0%">
                  <c:v>0.16109249928804559</c:v>
                </c:pt>
                <c:pt idx="825" formatCode="0.0%">
                  <c:v>0.16270698497021299</c:v>
                </c:pt>
                <c:pt idx="826" formatCode="0.0%">
                  <c:v>0.16370086168833795</c:v>
                </c:pt>
                <c:pt idx="827" formatCode="0.0%">
                  <c:v>0.16414449975993506</c:v>
                </c:pt>
                <c:pt idx="828" formatCode="0.0%">
                  <c:v>0.16414449975993506</c:v>
                </c:pt>
                <c:pt idx="829" formatCode="0.0%">
                  <c:v>0.16414449975993506</c:v>
                </c:pt>
                <c:pt idx="830" formatCode="0.0%">
                  <c:v>0.17180304800318694</c:v>
                </c:pt>
                <c:pt idx="831" formatCode="0.0%">
                  <c:v>0.16889267925692594</c:v>
                </c:pt>
                <c:pt idx="832" formatCode="0.0%">
                  <c:v>0.16122592200201497</c:v>
                </c:pt>
                <c:pt idx="833" formatCode="0.0%">
                  <c:v>0.16680724097817404</c:v>
                </c:pt>
                <c:pt idx="834" formatCode="0.0%">
                  <c:v>0.17013121515317864</c:v>
                </c:pt>
                <c:pt idx="835" formatCode="0.0%">
                  <c:v>0.17013121515317864</c:v>
                </c:pt>
                <c:pt idx="836" formatCode="0.0%">
                  <c:v>0.17013121515317864</c:v>
                </c:pt>
                <c:pt idx="837" formatCode="0.0%">
                  <c:v>0.18097252488922039</c:v>
                </c:pt>
                <c:pt idx="838" formatCode="0.0%">
                  <c:v>0.17879113324976545</c:v>
                </c:pt>
                <c:pt idx="839" formatCode="0.0%">
                  <c:v>0.17712901208452464</c:v>
                </c:pt>
                <c:pt idx="840" formatCode="0.0%">
                  <c:v>0.17115056544733803</c:v>
                </c:pt>
                <c:pt idx="841" formatCode="0.0%">
                  <c:v>0.17047924479639007</c:v>
                </c:pt>
                <c:pt idx="842" formatCode="0.0%">
                  <c:v>0.17047924479639007</c:v>
                </c:pt>
                <c:pt idx="843" formatCode="0.0%">
                  <c:v>0.17047924479639007</c:v>
                </c:pt>
                <c:pt idx="844" formatCode="0.0%">
                  <c:v>0.16602404878573013</c:v>
                </c:pt>
                <c:pt idx="845" formatCode="0.0%">
                  <c:v>0.15646675379877423</c:v>
                </c:pt>
                <c:pt idx="846" formatCode="0.0%">
                  <c:v>0.14639701501362581</c:v>
                </c:pt>
                <c:pt idx="847" formatCode="0.0%">
                  <c:v>0.16375577985285147</c:v>
                </c:pt>
                <c:pt idx="848" formatCode="0.0%">
                  <c:v>0.16893825018937278</c:v>
                </c:pt>
                <c:pt idx="849" formatCode="0.0%">
                  <c:v>0.16893825018937278</c:v>
                </c:pt>
                <c:pt idx="850" formatCode="0.0%">
                  <c:v>0.16893825018937278</c:v>
                </c:pt>
                <c:pt idx="851" formatCode="0.0%">
                  <c:v>0.17446310721439601</c:v>
                </c:pt>
                <c:pt idx="852" formatCode="0.0%">
                  <c:v>0.16306343615810989</c:v>
                </c:pt>
                <c:pt idx="853" formatCode="0.0%">
                  <c:v>0.15195345481305808</c:v>
                </c:pt>
                <c:pt idx="854" formatCode="0.0%">
                  <c:v>0.15198164151704746</c:v>
                </c:pt>
                <c:pt idx="855" formatCode="0.0%">
                  <c:v>0.16797445586891668</c:v>
                </c:pt>
                <c:pt idx="856" formatCode="0.0%">
                  <c:v>0.16797445586891668</c:v>
                </c:pt>
                <c:pt idx="857" formatCode="0.0%">
                  <c:v>0.16797445586891668</c:v>
                </c:pt>
                <c:pt idx="858" formatCode="0.0%">
                  <c:v>0.16991624389168863</c:v>
                </c:pt>
                <c:pt idx="859" formatCode="0.0%">
                  <c:v>0.17037584849904036</c:v>
                </c:pt>
                <c:pt idx="860" formatCode="0.0%">
                  <c:v>0.17146462461914141</c:v>
                </c:pt>
                <c:pt idx="861" formatCode="0.0%">
                  <c:v>0.17476886291767627</c:v>
                </c:pt>
                <c:pt idx="862" formatCode="0.0%">
                  <c:v>0.17796889122838791</c:v>
                </c:pt>
                <c:pt idx="863" formatCode="0.0%">
                  <c:v>0.17796889122838791</c:v>
                </c:pt>
                <c:pt idx="864" formatCode="0.0%">
                  <c:v>0.17796889122838791</c:v>
                </c:pt>
                <c:pt idx="865" formatCode="0.0%">
                  <c:v>0.18235208076381554</c:v>
                </c:pt>
                <c:pt idx="866" formatCode="0.0%">
                  <c:v>0.17602447411798239</c:v>
                </c:pt>
                <c:pt idx="867" formatCode="0.0%">
                  <c:v>0.18763269925531589</c:v>
                </c:pt>
                <c:pt idx="868" formatCode="0.0%">
                  <c:v>0.20115645512917227</c:v>
                </c:pt>
                <c:pt idx="869" formatCode="0.0%">
                  <c:v>0.20028272499017219</c:v>
                </c:pt>
                <c:pt idx="870" formatCode="0.0%">
                  <c:v>0.20028272499017219</c:v>
                </c:pt>
                <c:pt idx="871" formatCode="0.0%">
                  <c:v>0.20028272499017219</c:v>
                </c:pt>
                <c:pt idx="872" formatCode="0.0%">
                  <c:v>0.20091885431986384</c:v>
                </c:pt>
                <c:pt idx="873" formatCode="0.0%">
                  <c:v>0.19184426626174855</c:v>
                </c:pt>
                <c:pt idx="874" formatCode="0.0%">
                  <c:v>0.18223020503505608</c:v>
                </c:pt>
                <c:pt idx="875" formatCode="0.0%">
                  <c:v>0.18833722790848384</c:v>
                </c:pt>
                <c:pt idx="876" formatCode="0.0%">
                  <c:v>0.20379777402900573</c:v>
                </c:pt>
                <c:pt idx="877" formatCode="0.0%">
                  <c:v>0.20379777402900573</c:v>
                </c:pt>
                <c:pt idx="878" formatCode="0.0%">
                  <c:v>0.20379777402900573</c:v>
                </c:pt>
                <c:pt idx="879" formatCode="0.0%">
                  <c:v>0.20423645006970731</c:v>
                </c:pt>
                <c:pt idx="880" formatCode="0.0%">
                  <c:v>0.20016292208122891</c:v>
                </c:pt>
                <c:pt idx="881" formatCode="0.0%">
                  <c:v>0.19648126441192487</c:v>
                </c:pt>
                <c:pt idx="882" formatCode="0.0%">
                  <c:v>0.20115288143002402</c:v>
                </c:pt>
                <c:pt idx="883" formatCode="0.0%">
                  <c:v>0.22080422209830813</c:v>
                </c:pt>
                <c:pt idx="884" formatCode="0.0%">
                  <c:v>0.22080422209830813</c:v>
                </c:pt>
                <c:pt idx="885" formatCode="0.0%">
                  <c:v>0.22080422209830813</c:v>
                </c:pt>
                <c:pt idx="886" formatCode="0.0%">
                  <c:v>0.22153674742584742</c:v>
                </c:pt>
                <c:pt idx="887" formatCode="0.0%">
                  <c:v>0.22729071778241902</c:v>
                </c:pt>
                <c:pt idx="888" formatCode="0.0%">
                  <c:v>0.22211153097724748</c:v>
                </c:pt>
                <c:pt idx="889" formatCode="0.0%">
                  <c:v>0.22097317536198788</c:v>
                </c:pt>
                <c:pt idx="890" formatCode="0.0%">
                  <c:v>0.22516439356442602</c:v>
                </c:pt>
                <c:pt idx="891" formatCode="0.0%">
                  <c:v>0.22516439356442602</c:v>
                </c:pt>
                <c:pt idx="892" formatCode="0.0%">
                  <c:v>0.22516439356442602</c:v>
                </c:pt>
                <c:pt idx="893" formatCode="0.0%">
                  <c:v>0.23421765334730396</c:v>
                </c:pt>
                <c:pt idx="894" formatCode="0.0%">
                  <c:v>0.23834270365651761</c:v>
                </c:pt>
                <c:pt idx="895" formatCode="0.0%">
                  <c:v>0.23646859298876977</c:v>
                </c:pt>
                <c:pt idx="896" formatCode="0.0%">
                  <c:v>0.24129005517786495</c:v>
                </c:pt>
                <c:pt idx="897" formatCode="0.0%">
                  <c:v>0.23864477160075778</c:v>
                </c:pt>
                <c:pt idx="898" formatCode="0.0%">
                  <c:v>0.23864477160075778</c:v>
                </c:pt>
                <c:pt idx="899" formatCode="0.0%">
                  <c:v>0.23864477160075778</c:v>
                </c:pt>
                <c:pt idx="900" formatCode="0.0%">
                  <c:v>0.2349601698243933</c:v>
                </c:pt>
                <c:pt idx="901" formatCode="0.0%">
                  <c:v>0.23048657921122925</c:v>
                </c:pt>
                <c:pt idx="902" formatCode="0.0%">
                  <c:v>0.21908115756867502</c:v>
                </c:pt>
                <c:pt idx="903" formatCode="0.0%">
                  <c:v>0.21929413953280361</c:v>
                </c:pt>
                <c:pt idx="904" formatCode="0.0%">
                  <c:v>0.21584073222481437</c:v>
                </c:pt>
                <c:pt idx="905" formatCode="0.0%">
                  <c:v>0.21584073222481437</c:v>
                </c:pt>
                <c:pt idx="906" formatCode="0.0%">
                  <c:v>0.21584073222481437</c:v>
                </c:pt>
                <c:pt idx="907" formatCode="0.0%">
                  <c:v>0.20983975689695569</c:v>
                </c:pt>
                <c:pt idx="908" formatCode="0.0%">
                  <c:v>0.21594486232731058</c:v>
                </c:pt>
                <c:pt idx="909" formatCode="0.0%">
                  <c:v>0.22253947821703221</c:v>
                </c:pt>
                <c:pt idx="910" formatCode="0.0%">
                  <c:v>0.22681087723220045</c:v>
                </c:pt>
                <c:pt idx="911" formatCode="0.0%">
                  <c:v>0.2368900893253037</c:v>
                </c:pt>
                <c:pt idx="912" formatCode="0.0%">
                  <c:v>0.2368900893253037</c:v>
                </c:pt>
                <c:pt idx="913" formatCode="0.0%">
                  <c:v>0.2368900893253037</c:v>
                </c:pt>
                <c:pt idx="914" formatCode="0.0%">
                  <c:v>0.24171238360111261</c:v>
                </c:pt>
                <c:pt idx="915" formatCode="0.0%">
                  <c:v>0.24253754412341053</c:v>
                </c:pt>
                <c:pt idx="916" formatCode="0.0%">
                  <c:v>0.24098411368085706</c:v>
                </c:pt>
                <c:pt idx="917" formatCode="0.0%">
                  <c:v>0.22639898329283098</c:v>
                </c:pt>
                <c:pt idx="918" formatCode="0.0%">
                  <c:v>0.21686683051645089</c:v>
                </c:pt>
                <c:pt idx="919" formatCode="0.0%">
                  <c:v>0.21686683051645089</c:v>
                </c:pt>
                <c:pt idx="920" formatCode="0.0%">
                  <c:v>0.21686683051645089</c:v>
                </c:pt>
                <c:pt idx="921" formatCode="0.0%">
                  <c:v>0.21683246053103816</c:v>
                </c:pt>
                <c:pt idx="922" formatCode="0.0%">
                  <c:v>0.22537684715747616</c:v>
                </c:pt>
                <c:pt idx="923" formatCode="0.0%">
                  <c:v>0.22476469531781076</c:v>
                </c:pt>
                <c:pt idx="924" formatCode="0.0%">
                  <c:v>0.23050529354734706</c:v>
                </c:pt>
                <c:pt idx="925" formatCode="0.0%">
                  <c:v>0.225152248943957</c:v>
                </c:pt>
                <c:pt idx="926" formatCode="0.0%">
                  <c:v>0.225152248943957</c:v>
                </c:pt>
                <c:pt idx="927" formatCode="0.0%">
                  <c:v>0.225152248943957</c:v>
                </c:pt>
                <c:pt idx="928" formatCode="0.0%">
                  <c:v>0.22795962137717041</c:v>
                </c:pt>
                <c:pt idx="929" formatCode="0.0%">
                  <c:v>0.23427651290563276</c:v>
                </c:pt>
                <c:pt idx="930" formatCode="0.0%">
                  <c:v>0.2410282669150918</c:v>
                </c:pt>
                <c:pt idx="931" formatCode="0.0%">
                  <c:v>0.23908235141329073</c:v>
                </c:pt>
                <c:pt idx="932" formatCode="0.0%">
                  <c:v>0.24200701114372208</c:v>
                </c:pt>
                <c:pt idx="933" formatCode="0.0%">
                  <c:v>0.24200701114372208</c:v>
                </c:pt>
                <c:pt idx="934" formatCode="0.0%">
                  <c:v>0.24200701114372208</c:v>
                </c:pt>
                <c:pt idx="935" formatCode="0.0%">
                  <c:v>0.24892054953136267</c:v>
                </c:pt>
                <c:pt idx="936" formatCode="0.0%">
                  <c:v>0.25835205090010832</c:v>
                </c:pt>
                <c:pt idx="937" formatCode="0.0%">
                  <c:v>0.25594115804318318</c:v>
                </c:pt>
                <c:pt idx="938" formatCode="0.0%">
                  <c:v>0.2609757077068966</c:v>
                </c:pt>
                <c:pt idx="939" formatCode="0.0%">
                  <c:v>0.26575854261938203</c:v>
                </c:pt>
                <c:pt idx="940" formatCode="0.0%">
                  <c:v>0.26575854261938203</c:v>
                </c:pt>
                <c:pt idx="941" formatCode="0.0%">
                  <c:v>0.26575854261938203</c:v>
                </c:pt>
                <c:pt idx="942" formatCode="0.0%">
                  <c:v>0.26985601590189079</c:v>
                </c:pt>
                <c:pt idx="943" formatCode="0.0%">
                  <c:v>0.26881476142134092</c:v>
                </c:pt>
                <c:pt idx="944" formatCode="0.0%">
                  <c:v>0.253953281136438</c:v>
                </c:pt>
                <c:pt idx="945" formatCode="0.0%">
                  <c:v>0.24887888792695392</c:v>
                </c:pt>
                <c:pt idx="946" formatCode="0.0%">
                  <c:v>0.23774594958447692</c:v>
                </c:pt>
                <c:pt idx="947" formatCode="0.0%">
                  <c:v>0.23774594958447692</c:v>
                </c:pt>
                <c:pt idx="948" formatCode="0.0%">
                  <c:v>0.23774594958447692</c:v>
                </c:pt>
                <c:pt idx="949" formatCode="0.0%">
                  <c:v>0.24606334162704102</c:v>
                </c:pt>
                <c:pt idx="950" formatCode="0.0%">
                  <c:v>0.2450355864597806</c:v>
                </c:pt>
                <c:pt idx="951" formatCode="0.0%">
                  <c:v>0.23725370922465033</c:v>
                </c:pt>
                <c:pt idx="952" formatCode="0.0%">
                  <c:v>0.23681401383076689</c:v>
                </c:pt>
                <c:pt idx="953" formatCode="0.0%">
                  <c:v>0.23615504601178983</c:v>
                </c:pt>
                <c:pt idx="954" formatCode="0.0%">
                  <c:v>0.23615504601178983</c:v>
                </c:pt>
                <c:pt idx="955" formatCode="0.0%">
                  <c:v>0.23615504601178983</c:v>
                </c:pt>
                <c:pt idx="956" formatCode="0.0%">
                  <c:v>0.24417683501695464</c:v>
                </c:pt>
                <c:pt idx="957" formatCode="0.0%">
                  <c:v>0.22888656442656313</c:v>
                </c:pt>
                <c:pt idx="958" formatCode="0.0%">
                  <c:v>0.2234253957988841</c:v>
                </c:pt>
                <c:pt idx="959" formatCode="0.0%">
                  <c:v>0.21643479734336851</c:v>
                </c:pt>
                <c:pt idx="960" formatCode="0.0%">
                  <c:v>0.21535340186623059</c:v>
                </c:pt>
                <c:pt idx="961" formatCode="0.0%">
                  <c:v>0.21535340186623059</c:v>
                </c:pt>
                <c:pt idx="962" formatCode="0.0%">
                  <c:v>0.21535340186623059</c:v>
                </c:pt>
                <c:pt idx="963" formatCode="0.0%">
                  <c:v>0.21829104870561225</c:v>
                </c:pt>
                <c:pt idx="964" formatCode="0.0%">
                  <c:v>0.22295724196200267</c:v>
                </c:pt>
                <c:pt idx="965" formatCode="0.0%">
                  <c:v>0.23476834820285306</c:v>
                </c:pt>
                <c:pt idx="966" formatCode="0.0%">
                  <c:v>0.22536971921795981</c:v>
                </c:pt>
                <c:pt idx="967" formatCode="0.0%">
                  <c:v>0.2340212224668923</c:v>
                </c:pt>
                <c:pt idx="968" formatCode="0.0%">
                  <c:v>0.2340212224668923</c:v>
                </c:pt>
                <c:pt idx="969" formatCode="0.0%">
                  <c:v>0.2340212224668923</c:v>
                </c:pt>
                <c:pt idx="970" formatCode="0.0%">
                  <c:v>0.23978897655514131</c:v>
                </c:pt>
                <c:pt idx="971" formatCode="0.0%">
                  <c:v>0.25363065240485239</c:v>
                </c:pt>
                <c:pt idx="972" formatCode="0.0%">
                  <c:v>0.24827278643478023</c:v>
                </c:pt>
                <c:pt idx="973" formatCode="0.0%">
                  <c:v>0.2540301738714193</c:v>
                </c:pt>
                <c:pt idx="974" formatCode="0.0%">
                  <c:v>0.26145957442949624</c:v>
                </c:pt>
                <c:pt idx="975" formatCode="0.0%">
                  <c:v>0.26145957442949624</c:v>
                </c:pt>
                <c:pt idx="976" formatCode="0.0%">
                  <c:v>0.26145957442949624</c:v>
                </c:pt>
                <c:pt idx="977" formatCode="0.0%">
                  <c:v>0.26552872673207362</c:v>
                </c:pt>
                <c:pt idx="978" formatCode="0.0%">
                  <c:v>0.26725321655296014</c:v>
                </c:pt>
                <c:pt idx="979" formatCode="0.0%">
                  <c:v>0.26050464934088624</c:v>
                </c:pt>
                <c:pt idx="980" formatCode="0.0%">
                  <c:v>0.25691815172539451</c:v>
                </c:pt>
                <c:pt idx="981" formatCode="0.0%">
                  <c:v>0.25630521717018967</c:v>
                </c:pt>
                <c:pt idx="982" formatCode="0.0%">
                  <c:v>0.25630521717018967</c:v>
                </c:pt>
                <c:pt idx="983" formatCode="0.0%">
                  <c:v>0.25630521717018967</c:v>
                </c:pt>
                <c:pt idx="984" formatCode="0.0%">
                  <c:v>0.26131374567067495</c:v>
                </c:pt>
                <c:pt idx="985" formatCode="0.0%">
                  <c:v>0.25995326216583092</c:v>
                </c:pt>
                <c:pt idx="986" formatCode="0.0%">
                  <c:v>0.25740847474157064</c:v>
                </c:pt>
                <c:pt idx="987" formatCode="0.0%">
                  <c:v>0.27674653724570902</c:v>
                </c:pt>
                <c:pt idx="988" formatCode="0.0%">
                  <c:v>0.26887417046406026</c:v>
                </c:pt>
                <c:pt idx="989" formatCode="0.0%">
                  <c:v>0.26887417046406026</c:v>
                </c:pt>
                <c:pt idx="990" formatCode="0.0%">
                  <c:v>0.26887417046406026</c:v>
                </c:pt>
                <c:pt idx="991" formatCode="0.0%">
                  <c:v>0.26406043549150099</c:v>
                </c:pt>
                <c:pt idx="992" formatCode="0.0%">
                  <c:v>0.26019131996547146</c:v>
                </c:pt>
                <c:pt idx="993" formatCode="0.0%">
                  <c:v>0.25043201318491243</c:v>
                </c:pt>
                <c:pt idx="994" formatCode="0.0%">
                  <c:v>0.2364506193822129</c:v>
                </c:pt>
                <c:pt idx="995" formatCode="0.0%">
                  <c:v>0.23585744000474734</c:v>
                </c:pt>
                <c:pt idx="996" formatCode="0.0%">
                  <c:v>0.23585744000474734</c:v>
                </c:pt>
                <c:pt idx="997" formatCode="0.0%">
                  <c:v>0.23585744000474734</c:v>
                </c:pt>
                <c:pt idx="998" formatCode="0.0%">
                  <c:v>0.24437060828493087</c:v>
                </c:pt>
                <c:pt idx="999" formatCode="0.0%">
                  <c:v>0.22866136963531189</c:v>
                </c:pt>
                <c:pt idx="1000" formatCode="0.0%">
                  <c:v>0.23561023211563609</c:v>
                </c:pt>
                <c:pt idx="1001" formatCode="0.0%">
                  <c:v>0.2358085658823387</c:v>
                </c:pt>
                <c:pt idx="1002" formatCode="0.0%">
                  <c:v>0.2330312784864958</c:v>
                </c:pt>
                <c:pt idx="1003" formatCode="0.0%">
                  <c:v>0.2330312784864958</c:v>
                </c:pt>
                <c:pt idx="1004" formatCode="0.0%">
                  <c:v>0.2330312784864958</c:v>
                </c:pt>
                <c:pt idx="1005" formatCode="0.0%">
                  <c:v>0.23779100032838002</c:v>
                </c:pt>
                <c:pt idx="1006" formatCode="0.0%">
                  <c:v>0.22360936776387447</c:v>
                </c:pt>
                <c:pt idx="1007" formatCode="0.0%">
                  <c:v>0.22435563700650718</c:v>
                </c:pt>
                <c:pt idx="1008" formatCode="0.0%">
                  <c:v>0.2225343177438468</c:v>
                </c:pt>
                <c:pt idx="1009" formatCode="0.0%">
                  <c:v>0.23372055183602497</c:v>
                </c:pt>
                <c:pt idx="1010" formatCode="0.0%">
                  <c:v>0.23372055183602497</c:v>
                </c:pt>
                <c:pt idx="1011" formatCode="0.0%">
                  <c:v>0.23372055183602497</c:v>
                </c:pt>
                <c:pt idx="1012" formatCode="0.0%">
                  <c:v>0.23788605635545679</c:v>
                </c:pt>
                <c:pt idx="1013" formatCode="0.0%">
                  <c:v>0.24431614555136774</c:v>
                </c:pt>
                <c:pt idx="1014" formatCode="0.0%">
                  <c:v>0.24759743654229113</c:v>
                </c:pt>
                <c:pt idx="1015" formatCode="0.0%">
                  <c:v>0.25048498232466132</c:v>
                </c:pt>
                <c:pt idx="1016" formatCode="0.0%">
                  <c:v>0.24683421877667697</c:v>
                </c:pt>
                <c:pt idx="1017" formatCode="0.0%">
                  <c:v>0.24683421877667697</c:v>
                </c:pt>
                <c:pt idx="1018" formatCode="0.0%">
                  <c:v>0.24683421877667697</c:v>
                </c:pt>
                <c:pt idx="1019" formatCode="0.0%">
                  <c:v>0.24992489457337214</c:v>
                </c:pt>
                <c:pt idx="1020" formatCode="0.0%">
                  <c:v>0.24881562732701995</c:v>
                </c:pt>
                <c:pt idx="1021" formatCode="0.0%">
                  <c:v>0.23815931018228539</c:v>
                </c:pt>
                <c:pt idx="1022" formatCode="0.0%">
                  <c:v>0.22283537032063377</c:v>
                </c:pt>
                <c:pt idx="1023" formatCode="0.0%">
                  <c:v>0.20668769290451877</c:v>
                </c:pt>
                <c:pt idx="1024" formatCode="0.0%">
                  <c:v>0.20668769290451877</c:v>
                </c:pt>
                <c:pt idx="1025" formatCode="0.0%">
                  <c:v>0.20668769290451877</c:v>
                </c:pt>
                <c:pt idx="1026" formatCode="0.0%">
                  <c:v>0.19939234257825447</c:v>
                </c:pt>
                <c:pt idx="1027" formatCode="0.0%">
                  <c:v>0.20907668781030211</c:v>
                </c:pt>
                <c:pt idx="1028" formatCode="0.0%">
                  <c:v>0.19905388410810873</c:v>
                </c:pt>
                <c:pt idx="1029" formatCode="0.0%">
                  <c:v>0.19041874539638726</c:v>
                </c:pt>
                <c:pt idx="1030" formatCode="0.0%">
                  <c:v>0.18437308220918028</c:v>
                </c:pt>
                <c:pt idx="1031" formatCode="0.0%">
                  <c:v>0.18437308220918028</c:v>
                </c:pt>
                <c:pt idx="1032" formatCode="0.0%">
                  <c:v>0.18437308220918028</c:v>
                </c:pt>
                <c:pt idx="1033" formatCode="0.0%">
                  <c:v>0.19003129130265564</c:v>
                </c:pt>
                <c:pt idx="1034" formatCode="0.0%">
                  <c:v>0.19903908686160407</c:v>
                </c:pt>
                <c:pt idx="1035" formatCode="0.0%">
                  <c:v>0.21409910087406245</c:v>
                </c:pt>
                <c:pt idx="1036" formatCode="0.0%">
                  <c:v>0.22820170012137539</c:v>
                </c:pt>
                <c:pt idx="1037" formatCode="0.0%">
                  <c:v>0.22890593830973502</c:v>
                </c:pt>
                <c:pt idx="1038" formatCode="0.0%">
                  <c:v>0.22890593830973502</c:v>
                </c:pt>
                <c:pt idx="1039" formatCode="0.0%">
                  <c:v>0.22890593830973502</c:v>
                </c:pt>
                <c:pt idx="1040" formatCode="0.0%">
                  <c:v>0.23215836046206006</c:v>
                </c:pt>
                <c:pt idx="1041" formatCode="0.0%">
                  <c:v>0.23700381625132549</c:v>
                </c:pt>
                <c:pt idx="1042" formatCode="0.0%">
                  <c:v>0.23461461205648021</c:v>
                </c:pt>
                <c:pt idx="1043" formatCode="0.0%">
                  <c:v>0.22995235881582388</c:v>
                </c:pt>
                <c:pt idx="1044" formatCode="0.0%">
                  <c:v>0.2424162401157659</c:v>
                </c:pt>
                <c:pt idx="1045" formatCode="0.0%">
                  <c:v>0.2424162401157659</c:v>
                </c:pt>
                <c:pt idx="1046" formatCode="0.0%">
                  <c:v>0.2424162401157659</c:v>
                </c:pt>
                <c:pt idx="1047" formatCode="0.0%">
                  <c:v>0.24224632505686941</c:v>
                </c:pt>
                <c:pt idx="1048" formatCode="0.0%">
                  <c:v>0.24881079870035805</c:v>
                </c:pt>
                <c:pt idx="1049" formatCode="0.0%">
                  <c:v>0.2534093173290688</c:v>
                </c:pt>
                <c:pt idx="1050" formatCode="0.0%">
                  <c:v>0.25139507882735429</c:v>
                </c:pt>
                <c:pt idx="1051" formatCode="0.0%">
                  <c:v>0.25371822555073847</c:v>
                </c:pt>
                <c:pt idx="1052" formatCode="0.0%">
                  <c:v>0.25371822555073847</c:v>
                </c:pt>
                <c:pt idx="1053" formatCode="0.0%">
                  <c:v>0.25371822555073847</c:v>
                </c:pt>
                <c:pt idx="1054" formatCode="0.0%">
                  <c:v>0.25634492341440152</c:v>
                </c:pt>
                <c:pt idx="1055" formatCode="0.0%">
                  <c:v>0.25525562457899981</c:v>
                </c:pt>
                <c:pt idx="1056" formatCode="0.0%">
                  <c:v>0.26440565575987235</c:v>
                </c:pt>
                <c:pt idx="1057" formatCode="0.0%">
                  <c:v>0.26159694350137896</c:v>
                </c:pt>
                <c:pt idx="1058" formatCode="0.0%">
                  <c:v>0.2595314618692548</c:v>
                </c:pt>
                <c:pt idx="1059" formatCode="0.0%">
                  <c:v>0.2595314618692548</c:v>
                </c:pt>
                <c:pt idx="1060" formatCode="0.0%">
                  <c:v>0.2595314618692548</c:v>
                </c:pt>
                <c:pt idx="1061" formatCode="0.0%">
                  <c:v>0.2574343279310905</c:v>
                </c:pt>
                <c:pt idx="1062" formatCode="0.0%">
                  <c:v>0.25476162490899085</c:v>
                </c:pt>
                <c:pt idx="1063" formatCode="0.0%">
                  <c:v>0.25568949343040687</c:v>
                </c:pt>
                <c:pt idx="1064" formatCode="0.0%">
                  <c:v>0.26737993848473507</c:v>
                </c:pt>
                <c:pt idx="1065" formatCode="0.0%">
                  <c:v>0.2820539802695245</c:v>
                </c:pt>
                <c:pt idx="1066" formatCode="0.0%">
                  <c:v>0.2820539802695245</c:v>
                </c:pt>
                <c:pt idx="1067" formatCode="0.0%">
                  <c:v>0.2820539802695245</c:v>
                </c:pt>
                <c:pt idx="1068" formatCode="0.0%">
                  <c:v>0.2787800852563973</c:v>
                </c:pt>
                <c:pt idx="1069" formatCode="0.0%">
                  <c:v>0.27767709410932667</c:v>
                </c:pt>
                <c:pt idx="1070" formatCode="0.0%">
                  <c:v>0.27895409557829792</c:v>
                </c:pt>
                <c:pt idx="1071" formatCode="0.0%">
                  <c:v>0.2853167744392488</c:v>
                </c:pt>
                <c:pt idx="1072" formatCode="0.0%">
                  <c:v>0.2917224598577724</c:v>
                </c:pt>
                <c:pt idx="1073" formatCode="0.0%">
                  <c:v>0.2917224598577724</c:v>
                </c:pt>
                <c:pt idx="1074" formatCode="0.0%">
                  <c:v>0.2917224598577724</c:v>
                </c:pt>
                <c:pt idx="1075" formatCode="0.0%">
                  <c:v>0.29791628866691128</c:v>
                </c:pt>
                <c:pt idx="1076" formatCode="0.0%">
                  <c:v>0.29829367310159283</c:v>
                </c:pt>
                <c:pt idx="1077" formatCode="0.0%">
                  <c:v>0.30888379340332961</c:v>
                </c:pt>
                <c:pt idx="1078" formatCode="0.0%">
                  <c:v>0.29819736589080892</c:v>
                </c:pt>
                <c:pt idx="1079" formatCode="0.0%">
                  <c:v>0.30740162094561868</c:v>
                </c:pt>
                <c:pt idx="1080" formatCode="0.0%">
                  <c:v>0.30740162094561868</c:v>
                </c:pt>
                <c:pt idx="1081" formatCode="0.0%">
                  <c:v>0.30740162094561868</c:v>
                </c:pt>
                <c:pt idx="1082" formatCode="0.0%">
                  <c:v>0.30919694783428836</c:v>
                </c:pt>
                <c:pt idx="1083" formatCode="0.0%">
                  <c:v>0.30930679731022226</c:v>
                </c:pt>
                <c:pt idx="1084" formatCode="0.0%">
                  <c:v>0.29911352508804301</c:v>
                </c:pt>
                <c:pt idx="1085" formatCode="0.0%">
                  <c:v>0.30589299633513717</c:v>
                </c:pt>
                <c:pt idx="1086" formatCode="0.0%">
                  <c:v>0.30499244959719618</c:v>
                </c:pt>
                <c:pt idx="1087" formatCode="0.0%">
                  <c:v>0.30499244959719618</c:v>
                </c:pt>
                <c:pt idx="1088" formatCode="0.0%">
                  <c:v>0.30499244959719618</c:v>
                </c:pt>
                <c:pt idx="1089" formatCode="0.0%">
                  <c:v>0.30521037226002934</c:v>
                </c:pt>
                <c:pt idx="1090" formatCode="0.0%">
                  <c:v>0.30792293604514354</c:v>
                </c:pt>
                <c:pt idx="1091" formatCode="0.0%">
                  <c:v>0.30527046499422539</c:v>
                </c:pt>
                <c:pt idx="1092" formatCode="0.0%">
                  <c:v>0.30778551987567171</c:v>
                </c:pt>
                <c:pt idx="1093" formatCode="0.0%">
                  <c:v>0.31177433225998979</c:v>
                </c:pt>
                <c:pt idx="1094" formatCode="0.0%">
                  <c:v>0.31177433225998979</c:v>
                </c:pt>
                <c:pt idx="1095" formatCode="0.0%">
                  <c:v>0.31177433225998979</c:v>
                </c:pt>
                <c:pt idx="1096" formatCode="0.0%">
                  <c:v>0.31192534479024431</c:v>
                </c:pt>
                <c:pt idx="1097" formatCode="0.0%">
                  <c:v>0.31441471832640472</c:v>
                </c:pt>
                <c:pt idx="1098" formatCode="0.0%">
                  <c:v>0.30643086714141676</c:v>
                </c:pt>
                <c:pt idx="1099" formatCode="0.0%">
                  <c:v>0.30027504713403291</c:v>
                </c:pt>
                <c:pt idx="1100" formatCode="0.0%">
                  <c:v>0.29953308118485128</c:v>
                </c:pt>
                <c:pt idx="1101" formatCode="0.0%">
                  <c:v>0.29953308118485128</c:v>
                </c:pt>
                <c:pt idx="1102" formatCode="0.0%">
                  <c:v>0.29953308118485128</c:v>
                </c:pt>
                <c:pt idx="1103" formatCode="0.0%">
                  <c:v>0.31198514961518697</c:v>
                </c:pt>
                <c:pt idx="1104" formatCode="0.0%">
                  <c:v>0.31559751174778028</c:v>
                </c:pt>
                <c:pt idx="1105" formatCode="0.0%">
                  <c:v>0.31443781801445708</c:v>
                </c:pt>
                <c:pt idx="1106" formatCode="0.0%">
                  <c:v>0.31617571706087916</c:v>
                </c:pt>
                <c:pt idx="1107" formatCode="0.0%">
                  <c:v>0.31829429353425526</c:v>
                </c:pt>
                <c:pt idx="1108" formatCode="0.0%">
                  <c:v>0.31829429353425526</c:v>
                </c:pt>
                <c:pt idx="1109" formatCode="0.0%">
                  <c:v>0.31829429353425526</c:v>
                </c:pt>
                <c:pt idx="1110" formatCode="0.0%">
                  <c:v>0.31904328850406272</c:v>
                </c:pt>
                <c:pt idx="1111" formatCode="0.0%">
                  <c:v>0.31851722874132321</c:v>
                </c:pt>
                <c:pt idx="1112" formatCode="0.0%">
                  <c:v>0.30924219950391463</c:v>
                </c:pt>
                <c:pt idx="1113" formatCode="0.0%">
                  <c:v>0.31779992049452888</c:v>
                </c:pt>
                <c:pt idx="1114" formatCode="0.0%">
                  <c:v>0.32770258854600232</c:v>
                </c:pt>
                <c:pt idx="1115" formatCode="0.0%">
                  <c:v>0.32770258854600232</c:v>
                </c:pt>
                <c:pt idx="1116" formatCode="0.0%">
                  <c:v>0.32770258854600232</c:v>
                </c:pt>
                <c:pt idx="1117" formatCode="0.0%">
                  <c:v>0.33184536794361008</c:v>
                </c:pt>
                <c:pt idx="1118" formatCode="0.0%">
                  <c:v>0.33937538422721786</c:v>
                </c:pt>
                <c:pt idx="1119" formatCode="0.0%">
                  <c:v>0.33722426520863052</c:v>
                </c:pt>
                <c:pt idx="1120" formatCode="0.0%">
                  <c:v>0.34999629900666773</c:v>
                </c:pt>
                <c:pt idx="1121" formatCode="0.0%">
                  <c:v>0.34696250758371433</c:v>
                </c:pt>
                <c:pt idx="1122" formatCode="0.0%">
                  <c:v>0.34696250758371433</c:v>
                </c:pt>
                <c:pt idx="1123" formatCode="0.0%">
                  <c:v>0.34696250758371433</c:v>
                </c:pt>
                <c:pt idx="1124" formatCode="0.0%">
                  <c:v>0.3634007576940107</c:v>
                </c:pt>
                <c:pt idx="1125" formatCode="0.0%">
                  <c:v>0.35746469415012683</c:v>
                </c:pt>
                <c:pt idx="1126" formatCode="0.0%">
                  <c:v>0.34164561376186298</c:v>
                </c:pt>
                <c:pt idx="1127" formatCode="0.0%">
                  <c:v>0.35475977018457738</c:v>
                </c:pt>
                <c:pt idx="1128" formatCode="0.0%">
                  <c:v>0.36721966536612199</c:v>
                </c:pt>
                <c:pt idx="1129" formatCode="0.0%">
                  <c:v>0.36721966536612199</c:v>
                </c:pt>
                <c:pt idx="1130" formatCode="0.0%">
                  <c:v>0.36721966536612199</c:v>
                </c:pt>
                <c:pt idx="1131" formatCode="0.0%">
                  <c:v>0.37141270435079604</c:v>
                </c:pt>
                <c:pt idx="1132" formatCode="0.0%">
                  <c:v>0.37585308734263179</c:v>
                </c:pt>
                <c:pt idx="1133" formatCode="0.0%">
                  <c:v>0.38182148895702428</c:v>
                </c:pt>
                <c:pt idx="1134" formatCode="0.0%">
                  <c:v>0.38068899372399156</c:v>
                </c:pt>
                <c:pt idx="1135" formatCode="0.0%">
                  <c:v>0.38331697818302046</c:v>
                </c:pt>
                <c:pt idx="1136" formatCode="0.0%">
                  <c:v>0.38331697818302046</c:v>
                </c:pt>
                <c:pt idx="1137" formatCode="0.0%">
                  <c:v>0.38331697818302046</c:v>
                </c:pt>
                <c:pt idx="1138" formatCode="0.0%">
                  <c:v>0.38540221770294891</c:v>
                </c:pt>
                <c:pt idx="1139" formatCode="0.0%">
                  <c:v>0.37650836084627914</c:v>
                </c:pt>
                <c:pt idx="1140" formatCode="0.0%">
                  <c:v>0.38619897834991035</c:v>
                </c:pt>
                <c:pt idx="1141" formatCode="0.0%">
                  <c:v>0.39172717166765353</c:v>
                </c:pt>
                <c:pt idx="1142" formatCode="0.0%">
                  <c:v>0.38998217055730433</c:v>
                </c:pt>
                <c:pt idx="1143" formatCode="0.0%">
                  <c:v>0.38998217055730433</c:v>
                </c:pt>
                <c:pt idx="1144" formatCode="0.0%">
                  <c:v>0.38998217055730433</c:v>
                </c:pt>
                <c:pt idx="1145" formatCode="0.0%">
                  <c:v>0.39116654015686292</c:v>
                </c:pt>
                <c:pt idx="1146" formatCode="0.0%">
                  <c:v>0.37950165947577347</c:v>
                </c:pt>
                <c:pt idx="1147" formatCode="0.0%">
                  <c:v>0.38131576817071905</c:v>
                </c:pt>
                <c:pt idx="1148" formatCode="0.0%">
                  <c:v>0.40394767093916639</c:v>
                </c:pt>
                <c:pt idx="1149" formatCode="0.0%">
                  <c:v>0.40397619106407634</c:v>
                </c:pt>
                <c:pt idx="1150" formatCode="0.0%">
                  <c:v>0.40397619106407634</c:v>
                </c:pt>
                <c:pt idx="1151" formatCode="0.0%">
                  <c:v>0.40397619106407634</c:v>
                </c:pt>
                <c:pt idx="1152" formatCode="0.0%">
                  <c:v>0.39644989843222278</c:v>
                </c:pt>
                <c:pt idx="1153" formatCode="0.0%">
                  <c:v>0.39972322970092788</c:v>
                </c:pt>
                <c:pt idx="1154" formatCode="0.0%">
                  <c:v>0.39682591302179843</c:v>
                </c:pt>
                <c:pt idx="1155" formatCode="0.0%">
                  <c:v>0.40462430793762622</c:v>
                </c:pt>
                <c:pt idx="1156" formatCode="0.0%">
                  <c:v>0.41355317108285589</c:v>
                </c:pt>
                <c:pt idx="1157" formatCode="0.0%">
                  <c:v>0.41355317108285589</c:v>
                </c:pt>
                <c:pt idx="1158" formatCode="0.0%">
                  <c:v>0.41355317108285589</c:v>
                </c:pt>
                <c:pt idx="1159" formatCode="0.0%">
                  <c:v>0.4099711309503084</c:v>
                </c:pt>
                <c:pt idx="1160" formatCode="0.0%">
                  <c:v>0.39841766966804781</c:v>
                </c:pt>
                <c:pt idx="1161" formatCode="0.0%">
                  <c:v>0.40220423423266538</c:v>
                </c:pt>
                <c:pt idx="1162" formatCode="0.0%">
                  <c:v>0.41303782826155439</c:v>
                </c:pt>
                <c:pt idx="1163" formatCode="0.0%">
                  <c:v>0.40592557278496827</c:v>
                </c:pt>
                <c:pt idx="1164" formatCode="0.0%">
                  <c:v>0.40592557278496827</c:v>
                </c:pt>
                <c:pt idx="1165" formatCode="0.0%">
                  <c:v>0.40592557278496827</c:v>
                </c:pt>
                <c:pt idx="1166" formatCode="0.0%">
                  <c:v>0.405831240436479</c:v>
                </c:pt>
                <c:pt idx="1167" formatCode="0.0%">
                  <c:v>0.41990714335845014</c:v>
                </c:pt>
                <c:pt idx="1168" formatCode="0.0%">
                  <c:v>0.4160127709461659</c:v>
                </c:pt>
                <c:pt idx="1169" formatCode="0.0%">
                  <c:v>0.41884796398740404</c:v>
                </c:pt>
                <c:pt idx="1170" formatCode="0.0%">
                  <c:v>0.40966693079520866</c:v>
                </c:pt>
                <c:pt idx="1171" formatCode="0.0%">
                  <c:v>0.40966693079520866</c:v>
                </c:pt>
                <c:pt idx="1172" formatCode="0.0%">
                  <c:v>0.40966693079520866</c:v>
                </c:pt>
                <c:pt idx="1173" formatCode="0.0%">
                  <c:v>0.41709266621685515</c:v>
                </c:pt>
                <c:pt idx="1174" formatCode="0.0%">
                  <c:v>0.42399620653179254</c:v>
                </c:pt>
                <c:pt idx="1175" formatCode="0.0%">
                  <c:v>0.43349487799754544</c:v>
                </c:pt>
                <c:pt idx="1176" formatCode="0.0%">
                  <c:v>0.44263257807229595</c:v>
                </c:pt>
                <c:pt idx="1177" formatCode="0.0%">
                  <c:v>0.44506336576547995</c:v>
                </c:pt>
                <c:pt idx="1178" formatCode="0.0%">
                  <c:v>0.44506336576547995</c:v>
                </c:pt>
                <c:pt idx="1179" formatCode="0.0%">
                  <c:v>0.44506336576547995</c:v>
                </c:pt>
                <c:pt idx="1180" formatCode="0.0%">
                  <c:v>0.43875501722277876</c:v>
                </c:pt>
                <c:pt idx="1181" formatCode="0.0%">
                  <c:v>0.4385986972988502</c:v>
                </c:pt>
                <c:pt idx="1182" formatCode="0.0%">
                  <c:v>0.44779930567607434</c:v>
                </c:pt>
                <c:pt idx="1183" formatCode="0.0%">
                  <c:v>0.45178550319973054</c:v>
                </c:pt>
                <c:pt idx="1184" formatCode="0.0%">
                  <c:v>0.4525529340360589</c:v>
                </c:pt>
                <c:pt idx="1185" formatCode="0.0%">
                  <c:v>0.4525529340360589</c:v>
                </c:pt>
                <c:pt idx="1186" formatCode="0.0%">
                  <c:v>0.4525529340360589</c:v>
                </c:pt>
                <c:pt idx="1187" formatCode="0.0%">
                  <c:v>0.45490824877973551</c:v>
                </c:pt>
                <c:pt idx="1188" formatCode="0.0%">
                  <c:v>0.44486562775186028</c:v>
                </c:pt>
                <c:pt idx="1189" formatCode="0.0%">
                  <c:v>0.43900906925883787</c:v>
                </c:pt>
                <c:pt idx="1190" formatCode="0.0%">
                  <c:v>0.42503923330114274</c:v>
                </c:pt>
                <c:pt idx="1191" formatCode="0.0%">
                  <c:v>0.43726887224207273</c:v>
                </c:pt>
                <c:pt idx="1192" formatCode="0.0%">
                  <c:v>0.43726887224207273</c:v>
                </c:pt>
                <c:pt idx="1193" formatCode="0.0%">
                  <c:v>0.43726887224207273</c:v>
                </c:pt>
                <c:pt idx="1194" formatCode="0.0%">
                  <c:v>0.43556066774345908</c:v>
                </c:pt>
                <c:pt idx="1195" formatCode="0.0%">
                  <c:v>0.43733813959255147</c:v>
                </c:pt>
                <c:pt idx="1196" formatCode="0.0%">
                  <c:v>0.43928533960019789</c:v>
                </c:pt>
                <c:pt idx="1197" formatCode="0.0%">
                  <c:v>0.44972889242494063</c:v>
                </c:pt>
                <c:pt idx="1198" formatCode="0.0%">
                  <c:v>0.44304761961402817</c:v>
                </c:pt>
                <c:pt idx="1199" formatCode="0.0%">
                  <c:v>0.44304761961402817</c:v>
                </c:pt>
                <c:pt idx="1200" formatCode="0.0%">
                  <c:v>0.44304761961402817</c:v>
                </c:pt>
                <c:pt idx="1201" formatCode="0.0%">
                  <c:v>0.42907729496609986</c:v>
                </c:pt>
                <c:pt idx="1202" formatCode="0.0%">
                  <c:v>0.4177531295629075</c:v>
                </c:pt>
                <c:pt idx="1203" formatCode="0.0%">
                  <c:v>0.41139427697157716</c:v>
                </c:pt>
                <c:pt idx="1204" formatCode="0.0%">
                  <c:v>0.40944352550875918</c:v>
                </c:pt>
                <c:pt idx="1205" formatCode="0.0%">
                  <c:v>0.39615962808787086</c:v>
                </c:pt>
                <c:pt idx="1206" formatCode="0.0%">
                  <c:v>0.39615962808787086</c:v>
                </c:pt>
                <c:pt idx="1207" formatCode="0.0%">
                  <c:v>0.39615962808787086</c:v>
                </c:pt>
                <c:pt idx="1208" formatCode="0.0%">
                  <c:v>0.41081108529008958</c:v>
                </c:pt>
                <c:pt idx="1209" formatCode="0.0%">
                  <c:v>0.42028259165005238</c:v>
                </c:pt>
                <c:pt idx="1210" formatCode="0.0%">
                  <c:v>0.42371423508727218</c:v>
                </c:pt>
                <c:pt idx="1211" formatCode="0.0%">
                  <c:v>0.41337796777853753</c:v>
                </c:pt>
                <c:pt idx="1212" formatCode="0.0%">
                  <c:v>0.43061708124034054</c:v>
                </c:pt>
                <c:pt idx="1213" formatCode="0.0%">
                  <c:v>0.43061708124034054</c:v>
                </c:pt>
                <c:pt idx="1214" formatCode="0.0%">
                  <c:v>0.43061708124034054</c:v>
                </c:pt>
                <c:pt idx="1215" formatCode="0.0%">
                  <c:v>0.43238667484623167</c:v>
                </c:pt>
                <c:pt idx="1216" formatCode="0.0%">
                  <c:v>0.41862996941142766</c:v>
                </c:pt>
                <c:pt idx="1217" formatCode="0.0%">
                  <c:v>0.41549885690424415</c:v>
                </c:pt>
                <c:pt idx="1218" formatCode="0.0%">
                  <c:v>0.42649972268193265</c:v>
                </c:pt>
                <c:pt idx="1219" formatCode="0.0%">
                  <c:v>0.4327797315810068</c:v>
                </c:pt>
                <c:pt idx="1220" formatCode="0.0%">
                  <c:v>0.4327797315810068</c:v>
                </c:pt>
                <c:pt idx="1221" formatCode="0.0%">
                  <c:v>0.4327797315810068</c:v>
                </c:pt>
                <c:pt idx="1222" formatCode="0.0%">
                  <c:v>0.44337055684380033</c:v>
                </c:pt>
                <c:pt idx="1223" formatCode="0.0%">
                  <c:v>0.4480779155805939</c:v>
                </c:pt>
                <c:pt idx="1224" formatCode="0.0%">
                  <c:v>0.44949489910069046</c:v>
                </c:pt>
                <c:pt idx="1225" formatCode="0.0%">
                  <c:v>0.45176374689470122</c:v>
                </c:pt>
                <c:pt idx="1226" formatCode="0.0%">
                  <c:v>0.45830943599228874</c:v>
                </c:pt>
                <c:pt idx="1227" formatCode="0.0%">
                  <c:v>0.45830943599228874</c:v>
                </c:pt>
                <c:pt idx="1228" formatCode="0.0%">
                  <c:v>0.45830943599228874</c:v>
                </c:pt>
                <c:pt idx="1229" formatCode="0.0%">
                  <c:v>0.45450583301827518</c:v>
                </c:pt>
                <c:pt idx="1230" formatCode="0.0%">
                  <c:v>0.45766649038210178</c:v>
                </c:pt>
                <c:pt idx="1231" formatCode="0.0%">
                  <c:v>0.46828916392431152</c:v>
                </c:pt>
                <c:pt idx="1232" formatCode="0.0%">
                  <c:v>0.46724284537698424</c:v>
                </c:pt>
                <c:pt idx="1233" formatCode="0.0%">
                  <c:v>0.46837956880571058</c:v>
                </c:pt>
                <c:pt idx="1234" formatCode="0.0%">
                  <c:v>0.46837956880571058</c:v>
                </c:pt>
                <c:pt idx="1235" formatCode="0.0%">
                  <c:v>0.46837956880571058</c:v>
                </c:pt>
                <c:pt idx="1236" formatCode="0.0%">
                  <c:v>0.47199641071680676</c:v>
                </c:pt>
                <c:pt idx="1237" formatCode="0.0%">
                  <c:v>0.47275274829676306</c:v>
                </c:pt>
                <c:pt idx="1238" formatCode="0.0%">
                  <c:v>0.47125257201909848</c:v>
                </c:pt>
                <c:pt idx="1239" formatCode="0.0%">
                  <c:v>0.4644258045982616</c:v>
                </c:pt>
                <c:pt idx="1240" formatCode="0.0%">
                  <c:v>0.46658562248620711</c:v>
                </c:pt>
                <c:pt idx="1241" formatCode="0.0%">
                  <c:v>0.46658562248620711</c:v>
                </c:pt>
                <c:pt idx="1242" formatCode="0.0%">
                  <c:v>0.46658562248620711</c:v>
                </c:pt>
                <c:pt idx="1243" formatCode="0.0%">
                  <c:v>0.46834711029305853</c:v>
                </c:pt>
                <c:pt idx="1244" formatCode="0.0%">
                  <c:v>0.46439204318252736</c:v>
                </c:pt>
                <c:pt idx="1245" formatCode="0.0%">
                  <c:v>0.45724960315068047</c:v>
                </c:pt>
                <c:pt idx="1246" formatCode="0.0%">
                  <c:v>0.44775466093185656</c:v>
                </c:pt>
                <c:pt idx="1247" formatCode="0.0%">
                  <c:v>0.45409872296044168</c:v>
                </c:pt>
                <c:pt idx="1248" formatCode="0.0%">
                  <c:v>0.45409872296044168</c:v>
                </c:pt>
                <c:pt idx="1249" formatCode="0.0%">
                  <c:v>0.45409872296044168</c:v>
                </c:pt>
                <c:pt idx="1250" formatCode="0.0%">
                  <c:v>0.45831019880530588</c:v>
                </c:pt>
                <c:pt idx="1251" formatCode="0.0%">
                  <c:v>0.45470860763215287</c:v>
                </c:pt>
                <c:pt idx="1252" formatCode="0.0%">
                  <c:v>0.46941542696177663</c:v>
                </c:pt>
                <c:pt idx="1253" formatCode="0.0%">
                  <c:v>0.47182977622801192</c:v>
                </c:pt>
                <c:pt idx="1254" formatCode="0.0%">
                  <c:v>0.47698012711430576</c:v>
                </c:pt>
                <c:pt idx="1255" formatCode="0.0%">
                  <c:v>0.47698012711430576</c:v>
                </c:pt>
                <c:pt idx="1256" formatCode="0.0%">
                  <c:v>0.47698012711430576</c:v>
                </c:pt>
                <c:pt idx="1257" formatCode="0.0%">
                  <c:v>0.48835388222886167</c:v>
                </c:pt>
                <c:pt idx="1258" formatCode="0.0%">
                  <c:v>0.48860712065433659</c:v>
                </c:pt>
                <c:pt idx="1259" formatCode="0.0%">
                  <c:v>0.48575231848889644</c:v>
                </c:pt>
                <c:pt idx="1260" formatCode="0.0%">
                  <c:v>0.4929536665159131</c:v>
                </c:pt>
                <c:pt idx="1261" formatCode="0.0%">
                  <c:v>0.50044142347145448</c:v>
                </c:pt>
                <c:pt idx="1262" formatCode="0.0%">
                  <c:v>0.50044142347145448</c:v>
                </c:pt>
                <c:pt idx="1263" formatCode="0.0%">
                  <c:v>0.50044142347145448</c:v>
                </c:pt>
                <c:pt idx="1264" formatCode="0.0%">
                  <c:v>0.50226933982537503</c:v>
                </c:pt>
                <c:pt idx="1265" formatCode="0.0%">
                  <c:v>0.50573360071699081</c:v>
                </c:pt>
                <c:pt idx="1266" formatCode="0.0%">
                  <c:v>0.50645362295669716</c:v>
                </c:pt>
                <c:pt idx="1267" formatCode="0.0%">
                  <c:v>0.50879420379356932</c:v>
                </c:pt>
                <c:pt idx="1268" formatCode="0.0%">
                  <c:v>0.50873415406607136</c:v>
                </c:pt>
                <c:pt idx="1269" formatCode="0.0%">
                  <c:v>0.50873415406607136</c:v>
                </c:pt>
                <c:pt idx="1270" formatCode="0.0%">
                  <c:v>0.50873415406607136</c:v>
                </c:pt>
                <c:pt idx="1271" formatCode="0.0%">
                  <c:v>0.50214347579329288</c:v>
                </c:pt>
                <c:pt idx="1272" formatCode="0.0%">
                  <c:v>0.51092516292465007</c:v>
                </c:pt>
                <c:pt idx="1273" formatCode="0.0%">
                  <c:v>0.51354135337659246</c:v>
                </c:pt>
                <c:pt idx="1274" formatCode="0.0%">
                  <c:v>0.50944316304616566</c:v>
                </c:pt>
                <c:pt idx="1275" formatCode="0.0%">
                  <c:v>0.50541536482720661</c:v>
                </c:pt>
                <c:pt idx="1276" formatCode="0.0%">
                  <c:v>0.50541536482720661</c:v>
                </c:pt>
                <c:pt idx="1277" formatCode="0.0%">
                  <c:v>0.50541536482720661</c:v>
                </c:pt>
                <c:pt idx="1278" formatCode="0.0%">
                  <c:v>0.50722895439564752</c:v>
                </c:pt>
                <c:pt idx="1279" formatCode="0.0%">
                  <c:v>0.511122169390681</c:v>
                </c:pt>
                <c:pt idx="1280" formatCode="0.0%">
                  <c:v>0.51407882107631542</c:v>
                </c:pt>
                <c:pt idx="1281" formatCode="0.0%">
                  <c:v>0.51794698857958399</c:v>
                </c:pt>
                <c:pt idx="1282" formatCode="0.0%">
                  <c:v>0.52053599630931502</c:v>
                </c:pt>
                <c:pt idx="1283" formatCode="0.0%">
                  <c:v>0.52053599630931502</c:v>
                </c:pt>
                <c:pt idx="1284" formatCode="0.0%">
                  <c:v>0.52053599630931502</c:v>
                </c:pt>
                <c:pt idx="1285" formatCode="0.0%">
                  <c:v>0.52017386160413248</c:v>
                </c:pt>
                <c:pt idx="1286" formatCode="0.0%">
                  <c:v>0.52223252826320421</c:v>
                </c:pt>
                <c:pt idx="1287" formatCode="0.0%">
                  <c:v>0.53419586906389982</c:v>
                </c:pt>
                <c:pt idx="1288" formatCode="0.0%">
                  <c:v>0.52568939129710746</c:v>
                </c:pt>
                <c:pt idx="1289" formatCode="0.0%">
                  <c:v>0.5295893133574151</c:v>
                </c:pt>
                <c:pt idx="1290" formatCode="0.0%">
                  <c:v>0.5295893133574151</c:v>
                </c:pt>
                <c:pt idx="1291" formatCode="0.0%">
                  <c:v>0.5295893133574151</c:v>
                </c:pt>
                <c:pt idx="1292" formatCode="0.0%">
                  <c:v>0.52889600244907398</c:v>
                </c:pt>
                <c:pt idx="1293" formatCode="0.0%">
                  <c:v>0.53882266264876677</c:v>
                </c:pt>
                <c:pt idx="1294" formatCode="0.0%">
                  <c:v>0.51719500437544608</c:v>
                </c:pt>
                <c:pt idx="1295" formatCode="0.0%">
                  <c:v>0.50844784741684323</c:v>
                </c:pt>
                <c:pt idx="1296" formatCode="0.0%">
                  <c:v>0.49982665284701172</c:v>
                </c:pt>
                <c:pt idx="1297" formatCode="0.0%">
                  <c:v>0.49982665284701172</c:v>
                </c:pt>
                <c:pt idx="1298" formatCode="0.0%">
                  <c:v>0.49982665284701172</c:v>
                </c:pt>
                <c:pt idx="1299" formatCode="0.0%">
                  <c:v>0.51184350291609038</c:v>
                </c:pt>
                <c:pt idx="1300" formatCode="0.0%">
                  <c:v>0.51593899625249062</c:v>
                </c:pt>
                <c:pt idx="1301" formatCode="0.0%">
                  <c:v>0.48975092567450274</c:v>
                </c:pt>
                <c:pt idx="1302" formatCode="0.0%">
                  <c:v>0.4788158374978187</c:v>
                </c:pt>
                <c:pt idx="1303" formatCode="0.0%">
                  <c:v>0.49128354759714282</c:v>
                </c:pt>
                <c:pt idx="1304" formatCode="0.0%">
                  <c:v>0.49128354759714282</c:v>
                </c:pt>
                <c:pt idx="1305" formatCode="0.0%">
                  <c:v>0.49128354759714282</c:v>
                </c:pt>
                <c:pt idx="1306" formatCode="0.0%">
                  <c:v>0.49840034933948429</c:v>
                </c:pt>
                <c:pt idx="1307" formatCode="0.0%">
                  <c:v>0.49434811534172896</c:v>
                </c:pt>
                <c:pt idx="1308" formatCode="0.0%">
                  <c:v>0.51599787472693548</c:v>
                </c:pt>
                <c:pt idx="1309" formatCode="0.0%">
                  <c:v>0.50004931709062217</c:v>
                </c:pt>
                <c:pt idx="1310" formatCode="0.0%">
                  <c:v>0.45246007723723236</c:v>
                </c:pt>
                <c:pt idx="1311" formatCode="0.0%">
                  <c:v>0.45246007723723236</c:v>
                </c:pt>
                <c:pt idx="1312" formatCode="0.0%">
                  <c:v>0.45246007723723236</c:v>
                </c:pt>
                <c:pt idx="1313" formatCode="0.0%">
                  <c:v>0.39866979343830733</c:v>
                </c:pt>
                <c:pt idx="1314" formatCode="0.0%">
                  <c:v>0.42112660778871996</c:v>
                </c:pt>
                <c:pt idx="1315" formatCode="0.0%">
                  <c:v>0.42068216161382083</c:v>
                </c:pt>
                <c:pt idx="1316" formatCode="0.0%">
                  <c:v>0.44462889841460312</c:v>
                </c:pt>
                <c:pt idx="1317" formatCode="0.0%">
                  <c:v>0.4525017968919357</c:v>
                </c:pt>
                <c:pt idx="1318" formatCode="0.0%">
                  <c:v>0.4525017968919357</c:v>
                </c:pt>
                <c:pt idx="1319" formatCode="0.0%">
                  <c:v>0.4525017968919357</c:v>
                </c:pt>
                <c:pt idx="1320" formatCode="0.0%">
                  <c:v>0.45207953643944476</c:v>
                </c:pt>
                <c:pt idx="1321" formatCode="0.0%">
                  <c:v>0.46997196717498807</c:v>
                </c:pt>
                <c:pt idx="1322" formatCode="0.0%">
                  <c:v>0.46776192724497323</c:v>
                </c:pt>
                <c:pt idx="1323" formatCode="0.0%">
                  <c:v>0.49200071371651322</c:v>
                </c:pt>
                <c:pt idx="1324" formatCode="0.0%">
                  <c:v>0.49958715069625981</c:v>
                </c:pt>
                <c:pt idx="1325" formatCode="0.0%">
                  <c:v>0.49958715069625981</c:v>
                </c:pt>
                <c:pt idx="1326" formatCode="0.0%">
                  <c:v>0.49958715069625981</c:v>
                </c:pt>
                <c:pt idx="1327" formatCode="0.0%">
                  <c:v>0.50401435417502682</c:v>
                </c:pt>
                <c:pt idx="1328" formatCode="0.0%">
                  <c:v>0.49704121924931288</c:v>
                </c:pt>
                <c:pt idx="1329" formatCode="0.0%">
                  <c:v>0.50035022146925423</c:v>
                </c:pt>
                <c:pt idx="1330" formatCode="0.0%">
                  <c:v>0.49311211588629417</c:v>
                </c:pt>
                <c:pt idx="1331" formatCode="0.0%">
                  <c:v>0.50005221863648075</c:v>
                </c:pt>
                <c:pt idx="1332" formatCode="0.0%">
                  <c:v>0.50005221863648075</c:v>
                </c:pt>
                <c:pt idx="1333" formatCode="0.0%">
                  <c:v>0.50005221863648075</c:v>
                </c:pt>
                <c:pt idx="1334" formatCode="0.0%">
                  <c:v>0.49792045090399883</c:v>
                </c:pt>
                <c:pt idx="1335" formatCode="0.0%">
                  <c:v>0.50057215497187546</c:v>
                </c:pt>
                <c:pt idx="1336" formatCode="0.0%">
                  <c:v>0.4988705198986767</c:v>
                </c:pt>
                <c:pt idx="1337" formatCode="0.0%">
                  <c:v>0.50713379183760676</c:v>
                </c:pt>
                <c:pt idx="1338" formatCode="0.0%">
                  <c:v>0.51903975406004832</c:v>
                </c:pt>
                <c:pt idx="1339" formatCode="0.0%">
                  <c:v>0.51903975406004832</c:v>
                </c:pt>
                <c:pt idx="1340" formatCode="0.0%">
                  <c:v>0.51903975406004832</c:v>
                </c:pt>
                <c:pt idx="1341" formatCode="0.0%">
                  <c:v>0.51778089653583093</c:v>
                </c:pt>
                <c:pt idx="1342" formatCode="0.0%">
                  <c:v>0.49702421904977373</c:v>
                </c:pt>
                <c:pt idx="1343" formatCode="0.0%">
                  <c:v>0.48262636581506596</c:v>
                </c:pt>
                <c:pt idx="1344" formatCode="0.0%">
                  <c:v>0.48018804424178002</c:v>
                </c:pt>
                <c:pt idx="1345" formatCode="0.0%">
                  <c:v>0.45656100466349953</c:v>
                </c:pt>
                <c:pt idx="1346" formatCode="0.0%">
                  <c:v>0.45656100466349953</c:v>
                </c:pt>
                <c:pt idx="1347" formatCode="0.0%">
                  <c:v>0.45656100466349953</c:v>
                </c:pt>
                <c:pt idx="1348" formatCode="0.0%">
                  <c:v>0.47565897403884205</c:v>
                </c:pt>
                <c:pt idx="1349" formatCode="0.0%">
                  <c:v>0.48118254008712369</c:v>
                </c:pt>
                <c:pt idx="1350" formatCode="0.0%">
                  <c:v>0.49177226329868434</c:v>
                </c:pt>
                <c:pt idx="1351" formatCode="0.0%">
                  <c:v>0.50249975833559435</c:v>
                </c:pt>
                <c:pt idx="1352" formatCode="0.0%">
                  <c:v>0.50577176283927516</c:v>
                </c:pt>
                <c:pt idx="1353" formatCode="0.0%">
                  <c:v>0.50577176283927516</c:v>
                </c:pt>
                <c:pt idx="1354" formatCode="0.0%">
                  <c:v>0.50577176283927516</c:v>
                </c:pt>
                <c:pt idx="1355" formatCode="0.0%">
                  <c:v>0.50371417720576717</c:v>
                </c:pt>
                <c:pt idx="1356" formatCode="0.0%">
                  <c:v>0.50419674299685113</c:v>
                </c:pt>
                <c:pt idx="1357" formatCode="0.0%">
                  <c:v>0.50038548442719188</c:v>
                </c:pt>
                <c:pt idx="1358" formatCode="0.0%">
                  <c:v>0.52270710031301293</c:v>
                </c:pt>
                <c:pt idx="1359" formatCode="0.0%">
                  <c:v>0.51681440808091028</c:v>
                </c:pt>
                <c:pt idx="1360" formatCode="0.0%">
                  <c:v>0.51681440808091028</c:v>
                </c:pt>
                <c:pt idx="1361" formatCode="0.0%">
                  <c:v>0.51681440808091028</c:v>
                </c:pt>
                <c:pt idx="1362" formatCode="0.0%">
                  <c:v>0.52305569016944276</c:v>
                </c:pt>
                <c:pt idx="1363" formatCode="0.0%">
                  <c:v>0.5282819732396018</c:v>
                </c:pt>
                <c:pt idx="1364" formatCode="0.0%">
                  <c:v>0.5240024915340723</c:v>
                </c:pt>
                <c:pt idx="1365" formatCode="0.0%">
                  <c:v>0.537547365848425</c:v>
                </c:pt>
                <c:pt idx="1366" formatCode="0.0%">
                  <c:v>0.54039305646407199</c:v>
                </c:pt>
                <c:pt idx="1367" formatCode="0.0%">
                  <c:v>0.54039305646407199</c:v>
                </c:pt>
                <c:pt idx="1368" formatCode="0.0%">
                  <c:v>0.54039305646407199</c:v>
                </c:pt>
                <c:pt idx="1369" formatCode="0.0%">
                  <c:v>0.54069723707649586</c:v>
                </c:pt>
                <c:pt idx="1370" formatCode="0.0%">
                  <c:v>0.54225352685230777</c:v>
                </c:pt>
                <c:pt idx="1371" formatCode="0.0%">
                  <c:v>0.5477541334775734</c:v>
                </c:pt>
                <c:pt idx="1372" formatCode="0.0%">
                  <c:v>0.54445478483050069</c:v>
                </c:pt>
                <c:pt idx="1373" formatCode="0.0%">
                  <c:v>0.55989487731769083</c:v>
                </c:pt>
                <c:pt idx="1374" formatCode="0.0%">
                  <c:v>0.55989487731769083</c:v>
                </c:pt>
                <c:pt idx="1375" formatCode="0.0%">
                  <c:v>0.55989487731769083</c:v>
                </c:pt>
                <c:pt idx="1376" formatCode="0.0%">
                  <c:v>0.55248868957073005</c:v>
                </c:pt>
                <c:pt idx="1377" formatCode="0.0%">
                  <c:v>0.55538096795600322</c:v>
                </c:pt>
                <c:pt idx="1378" formatCode="0.0%">
                  <c:v>0.5658775887084101</c:v>
                </c:pt>
                <c:pt idx="1379" formatCode="0.0%">
                  <c:v>0.56922497225690449</c:v>
                </c:pt>
                <c:pt idx="1380" formatCode="0.0%">
                  <c:v>0.57454858435516087</c:v>
                </c:pt>
                <c:pt idx="1381" formatCode="0.0%">
                  <c:v>0.57454858435516087</c:v>
                </c:pt>
                <c:pt idx="1382" formatCode="0.0%">
                  <c:v>0.57454858435516087</c:v>
                </c:pt>
                <c:pt idx="1383" formatCode="0.0%">
                  <c:v>0.58696216020002312</c:v>
                </c:pt>
                <c:pt idx="1384" formatCode="0.0%">
                  <c:v>0.57803123905043974</c:v>
                </c:pt>
                <c:pt idx="1385" formatCode="0.0%">
                  <c:v>0.58323650955294282</c:v>
                </c:pt>
                <c:pt idx="1386" formatCode="0.0%">
                  <c:v>0.5899893909956424</c:v>
                </c:pt>
                <c:pt idx="1387" formatCode="0.0%">
                  <c:v>0.59433521885895058</c:v>
                </c:pt>
                <c:pt idx="1388" formatCode="0.0%">
                  <c:v>0.59433521885895058</c:v>
                </c:pt>
                <c:pt idx="1389" formatCode="0.0%">
                  <c:v>0.59433521885895058</c:v>
                </c:pt>
                <c:pt idx="1390" formatCode="0.0%">
                  <c:v>0.59118087748460313</c:v>
                </c:pt>
                <c:pt idx="1391" formatCode="0.0%">
                  <c:v>0.59098973518392683</c:v>
                </c:pt>
                <c:pt idx="1392" formatCode="0.0%">
                  <c:v>0.58347423179982116</c:v>
                </c:pt>
                <c:pt idx="1393" formatCode="0.0%">
                  <c:v>0.58286813163588025</c:v>
                </c:pt>
                <c:pt idx="1394" formatCode="0.0%">
                  <c:v>0.57781241995925936</c:v>
                </c:pt>
                <c:pt idx="1395" formatCode="0.0%">
                  <c:v>0.57781241995925936</c:v>
                </c:pt>
                <c:pt idx="1396" formatCode="0.0%">
                  <c:v>0.57781241995925936</c:v>
                </c:pt>
                <c:pt idx="1397" formatCode="0.0%">
                  <c:v>0.58348642271277329</c:v>
                </c:pt>
                <c:pt idx="1398" formatCode="0.0%">
                  <c:v>0.58728509520680061</c:v>
                </c:pt>
                <c:pt idx="1399" formatCode="0.0%">
                  <c:v>0.57166348370128672</c:v>
                </c:pt>
                <c:pt idx="1400" formatCode="0.0%">
                  <c:v>0.54905584859667977</c:v>
                </c:pt>
                <c:pt idx="1401" formatCode="0.0%">
                  <c:v>0.55525819283265543</c:v>
                </c:pt>
                <c:pt idx="1402" formatCode="0.0%">
                  <c:v>0.55525819283265543</c:v>
                </c:pt>
                <c:pt idx="1403" formatCode="0.0%">
                  <c:v>0.55525819283265543</c:v>
                </c:pt>
                <c:pt idx="1404" formatCode="0.0%">
                  <c:v>0.54782867398456037</c:v>
                </c:pt>
                <c:pt idx="1405" formatCode="0.0%">
                  <c:v>0.56296128298088577</c:v>
                </c:pt>
                <c:pt idx="1406" formatCode="0.0%">
                  <c:v>0.60797766086696414</c:v>
                </c:pt>
                <c:pt idx="1407" formatCode="0.0%">
                  <c:v>0.61243674997306752</c:v>
                </c:pt>
                <c:pt idx="1408" formatCode="0.0%">
                  <c:v>0.62233207684980985</c:v>
                </c:pt>
                <c:pt idx="1409" formatCode="0.0%">
                  <c:v>0.62233207684980985</c:v>
                </c:pt>
                <c:pt idx="1410" formatCode="0.0%">
                  <c:v>0.62233207684980985</c:v>
                </c:pt>
                <c:pt idx="1411" formatCode="0.0%">
                  <c:v>0.63823618210320598</c:v>
                </c:pt>
                <c:pt idx="1412" formatCode="0.0%">
                  <c:v>0.6327316833649016</c:v>
                </c:pt>
                <c:pt idx="1413" formatCode="0.0%">
                  <c:v>0.63222048098196038</c:v>
                </c:pt>
                <c:pt idx="1414" formatCode="0.0%">
                  <c:v>0.62719416903625869</c:v>
                </c:pt>
                <c:pt idx="1415" formatCode="0.0%">
                  <c:v>0.61715537219348793</c:v>
                </c:pt>
                <c:pt idx="1416" formatCode="0.0%">
                  <c:v>0.61715537219348793</c:v>
                </c:pt>
                <c:pt idx="1417" formatCode="0.0%">
                  <c:v>0.61715537219348793</c:v>
                </c:pt>
                <c:pt idx="1418" formatCode="0.0%">
                  <c:v>0.61743499192313378</c:v>
                </c:pt>
                <c:pt idx="1419" formatCode="0.0%">
                  <c:v>0.62246925342592474</c:v>
                </c:pt>
                <c:pt idx="1420" formatCode="0.0%">
                  <c:v>0.62994292092052606</c:v>
                </c:pt>
                <c:pt idx="1421" formatCode="0.0%">
                  <c:v>0.63829469444662179</c:v>
                </c:pt>
                <c:pt idx="1422" formatCode="0.0%">
                  <c:v>0.65931326760638886</c:v>
                </c:pt>
                <c:pt idx="1423" formatCode="0.0%">
                  <c:v>0.65931326760638886</c:v>
                </c:pt>
                <c:pt idx="1424" formatCode="0.0%">
                  <c:v>0.65931326760638886</c:v>
                </c:pt>
                <c:pt idx="1425" formatCode="0.0%">
                  <c:v>0.65407099013178827</c:v>
                </c:pt>
                <c:pt idx="1426" formatCode="0.0%">
                  <c:v>0.65786365671769031</c:v>
                </c:pt>
                <c:pt idx="1427" formatCode="0.0%">
                  <c:v>0.6422372888046729</c:v>
                </c:pt>
                <c:pt idx="1428" formatCode="0.0%">
                  <c:v>0.64488977424833649</c:v>
                </c:pt>
                <c:pt idx="1429" formatCode="0.0%">
                  <c:v>0.65168475186701103</c:v>
                </c:pt>
                <c:pt idx="1430" formatCode="0.0%">
                  <c:v>0.65168475186701103</c:v>
                </c:pt>
                <c:pt idx="1431" formatCode="0.0%">
                  <c:v>0.65168475186701103</c:v>
                </c:pt>
                <c:pt idx="1432" formatCode="0.0%">
                  <c:v>0.67076505488337657</c:v>
                </c:pt>
                <c:pt idx="1433" formatCode="0.0%">
                  <c:v>0.66959016459914233</c:v>
                </c:pt>
                <c:pt idx="1434" formatCode="0.0%">
                  <c:v>0.67569525002304487</c:v>
                </c:pt>
                <c:pt idx="1435" formatCode="0.0%">
                  <c:v>0.66856457578801154</c:v>
                </c:pt>
                <c:pt idx="1436" formatCode="0.0%">
                  <c:v>0.67334469016205334</c:v>
                </c:pt>
                <c:pt idx="1437" formatCode="0.0%">
                  <c:v>0.67334469016205334</c:v>
                </c:pt>
                <c:pt idx="1438" formatCode="0.0%">
                  <c:v>0.67334469016205334</c:v>
                </c:pt>
                <c:pt idx="1439" formatCode="0.0%">
                  <c:v>0.66341301032492761</c:v>
                </c:pt>
                <c:pt idx="1440" formatCode="0.0%">
                  <c:v>0.66861579968527673</c:v>
                </c:pt>
                <c:pt idx="1441" formatCode="0.0%">
                  <c:v>0.68077019554668627</c:v>
                </c:pt>
                <c:pt idx="1442" formatCode="0.0%">
                  <c:v>0.67769424130999656</c:v>
                </c:pt>
                <c:pt idx="1443" formatCode="0.0%">
                  <c:v>0.67097572673771222</c:v>
                </c:pt>
                <c:pt idx="1444" formatCode="0.0%">
                  <c:v>0.67097572673771222</c:v>
                </c:pt>
                <c:pt idx="1445" formatCode="0.0%">
                  <c:v>0.67097572673771222</c:v>
                </c:pt>
                <c:pt idx="1446" formatCode="0.0%">
                  <c:v>0.67174057730639791</c:v>
                </c:pt>
                <c:pt idx="1447" formatCode="0.0%">
                  <c:v>0.6658581867218919</c:v>
                </c:pt>
                <c:pt idx="1448" formatCode="0.0%">
                  <c:v>0.63444740458320947</c:v>
                </c:pt>
                <c:pt idx="1449" formatCode="0.0%">
                  <c:v>0.63735324025193218</c:v>
                </c:pt>
                <c:pt idx="1450" formatCode="0.0%">
                  <c:v>0.64339964772519154</c:v>
                </c:pt>
                <c:pt idx="1451" formatCode="0.0%">
                  <c:v>0.64339964772519154</c:v>
                </c:pt>
                <c:pt idx="1452" formatCode="0.0%">
                  <c:v>0.64339964772519154</c:v>
                </c:pt>
                <c:pt idx="1453" formatCode="0.0%">
                  <c:v>0.65456671133909794</c:v>
                </c:pt>
                <c:pt idx="1454" formatCode="0.0%">
                  <c:v>0.66855962698340166</c:v>
                </c:pt>
                <c:pt idx="1455" formatCode="0.0%">
                  <c:v>0.6689438749612</c:v>
                </c:pt>
                <c:pt idx="1456" formatCode="0.0%">
                  <c:v>0.66590829640769411</c:v>
                </c:pt>
                <c:pt idx="1457" formatCode="0.0%">
                  <c:v>0.65471157225927701</c:v>
                </c:pt>
                <c:pt idx="1458" formatCode="0.0%">
                  <c:v>0.65471157225927701</c:v>
                </c:pt>
                <c:pt idx="1459" formatCode="0.0%">
                  <c:v>0.65471157225927701</c:v>
                </c:pt>
                <c:pt idx="1460" formatCode="0.0%">
                  <c:v>0.64566494320006085</c:v>
                </c:pt>
                <c:pt idx="1461" formatCode="0.0%">
                  <c:v>0.64469843019980144</c:v>
                </c:pt>
                <c:pt idx="1462" formatCode="0.0%">
                  <c:v>0.64487181273089444</c:v>
                </c:pt>
                <c:pt idx="1463" formatCode="0.0%">
                  <c:v>0.65533748289986216</c:v>
                </c:pt>
                <c:pt idx="1464" formatCode="0.0%">
                  <c:v>0.66722660727550875</c:v>
                </c:pt>
                <c:pt idx="1465" formatCode="0.0%">
                  <c:v>0.66722660727550875</c:v>
                </c:pt>
                <c:pt idx="1466" formatCode="0.0%">
                  <c:v>0.66722660727550875</c:v>
                </c:pt>
                <c:pt idx="1467" formatCode="0.0%">
                  <c:v>0.66184785618097297</c:v>
                </c:pt>
                <c:pt idx="1468" formatCode="0.0%">
                  <c:v>0.65369680023628829</c:v>
                </c:pt>
                <c:pt idx="1469" formatCode="0.0%">
                  <c:v>0.66375218721329932</c:v>
                </c:pt>
                <c:pt idx="1470" formatCode="0.0%">
                  <c:v>0.66310691201375505</c:v>
                </c:pt>
                <c:pt idx="1471" formatCode="0.0%">
                  <c:v>0.64818466582540535</c:v>
                </c:pt>
                <c:pt idx="1472" formatCode="0.0%">
                  <c:v>0.64818466582540535</c:v>
                </c:pt>
                <c:pt idx="1473" formatCode="0.0%">
                  <c:v>0.64818466582540535</c:v>
                </c:pt>
                <c:pt idx="1474" formatCode="0.0%">
                  <c:v>0.65248601191002253</c:v>
                </c:pt>
                <c:pt idx="1475" formatCode="0.0%">
                  <c:v>0.64230474569430729</c:v>
                </c:pt>
                <c:pt idx="1476" formatCode="0.0%">
                  <c:v>0.66562112023519293</c:v>
                </c:pt>
                <c:pt idx="1477" formatCode="0.0%">
                  <c:v>0.66918256314376523</c:v>
                </c:pt>
                <c:pt idx="1478" formatCode="0.0%">
                  <c:v>0.68204260120368843</c:v>
                </c:pt>
                <c:pt idx="1479" formatCode="0.0%">
                  <c:v>0.68204260120368843</c:v>
                </c:pt>
                <c:pt idx="1480" formatCode="0.0%">
                  <c:v>0.68204260120368843</c:v>
                </c:pt>
                <c:pt idx="1481" formatCode="0.0%">
                  <c:v>0.67190210961896268</c:v>
                </c:pt>
                <c:pt idx="1482" formatCode="0.0%">
                  <c:v>0.68356419901142995</c:v>
                </c:pt>
                <c:pt idx="1483" formatCode="0.0%">
                  <c:v>0.68883952520117053</c:v>
                </c:pt>
                <c:pt idx="1484" formatCode="0.0%">
                  <c:v>0.6994177115014909</c:v>
                </c:pt>
                <c:pt idx="1485" formatCode="0.0%">
                  <c:v>0.68191597643634394</c:v>
                </c:pt>
                <c:pt idx="1486" formatCode="0.0%">
                  <c:v>0.68191597643634394</c:v>
                </c:pt>
                <c:pt idx="1487" formatCode="0.0%">
                  <c:v>0.68191597643634394</c:v>
                </c:pt>
                <c:pt idx="1488" formatCode="0.0%">
                  <c:v>0.66759322340546734</c:v>
                </c:pt>
                <c:pt idx="1489" formatCode="0.0%">
                  <c:v>0.68878605324890341</c:v>
                </c:pt>
                <c:pt idx="1490" formatCode="0.0%">
                  <c:v>0.68708555645796654</c:v>
                </c:pt>
                <c:pt idx="1491" formatCode="0.0%">
                  <c:v>0.69548458832832383</c:v>
                </c:pt>
                <c:pt idx="1492" formatCode="0.0%">
                  <c:v>0.69437918564960854</c:v>
                </c:pt>
                <c:pt idx="1493" formatCode="0.0%">
                  <c:v>0.69437918564960854</c:v>
                </c:pt>
                <c:pt idx="1494" formatCode="0.0%">
                  <c:v>0.69437918564960854</c:v>
                </c:pt>
                <c:pt idx="1495" formatCode="0.0%">
                  <c:v>0.68844273369391262</c:v>
                </c:pt>
                <c:pt idx="1496" formatCode="0.0%">
                  <c:v>0.69210825465630621</c:v>
                </c:pt>
                <c:pt idx="1497" formatCode="0.0%">
                  <c:v>0.69480638076463608</c:v>
                </c:pt>
                <c:pt idx="1498" formatCode="0.0%">
                  <c:v>0.71051763094756981</c:v>
                </c:pt>
                <c:pt idx="1499" formatCode="0.0%">
                  <c:v>0.70319954424026887</c:v>
                </c:pt>
                <c:pt idx="1500" formatCode="0.0%">
                  <c:v>0.70319954424026887</c:v>
                </c:pt>
                <c:pt idx="1501" formatCode="0.0%">
                  <c:v>0.70319954424026887</c:v>
                </c:pt>
                <c:pt idx="1502" formatCode="0.0%">
                  <c:v>0.71627603040151799</c:v>
                </c:pt>
                <c:pt idx="1503" formatCode="0.0%">
                  <c:v>0.71181032971524671</c:v>
                </c:pt>
                <c:pt idx="1504" formatCode="0.0%">
                  <c:v>0.70491462223502166</c:v>
                </c:pt>
                <c:pt idx="1505" formatCode="0.0%">
                  <c:v>0.71371468899265922</c:v>
                </c:pt>
                <c:pt idx="1506" formatCode="0.0%">
                  <c:v>0.70546619782798015</c:v>
                </c:pt>
                <c:pt idx="1507" formatCode="0.0%">
                  <c:v>0.70546619782798015</c:v>
                </c:pt>
                <c:pt idx="1508" formatCode="0.0%">
                  <c:v>0.70546619782798015</c:v>
                </c:pt>
                <c:pt idx="1509" formatCode="0.0%">
                  <c:v>0.71237375807502645</c:v>
                </c:pt>
                <c:pt idx="1510" formatCode="0.0%">
                  <c:v>0.71910212388140904</c:v>
                </c:pt>
                <c:pt idx="1511" formatCode="0.0%">
                  <c:v>0.72446201850163527</c:v>
                </c:pt>
                <c:pt idx="1512" formatCode="0.0%">
                  <c:v>0.71055758119607904</c:v>
                </c:pt>
                <c:pt idx="1513" formatCode="0.0%">
                  <c:v>0.69625191078708271</c:v>
                </c:pt>
                <c:pt idx="1514" formatCode="0.0%">
                  <c:v>0.69625191078708271</c:v>
                </c:pt>
                <c:pt idx="1515" formatCode="0.0%">
                  <c:v>0.69625191078708271</c:v>
                </c:pt>
                <c:pt idx="1516" formatCode="0.0%">
                  <c:v>0.68638932048840839</c:v>
                </c:pt>
                <c:pt idx="1517" formatCode="0.0%">
                  <c:v>0.67413576463750813</c:v>
                </c:pt>
                <c:pt idx="1518" formatCode="0.0%">
                  <c:v>0.67722852450722115</c:v>
                </c:pt>
                <c:pt idx="1519" formatCode="0.0%">
                  <c:v>0.66922667958051196</c:v>
                </c:pt>
                <c:pt idx="1520" formatCode="0.0%">
                  <c:v>0.68246054149806834</c:v>
                </c:pt>
                <c:pt idx="1521" formatCode="0.0%">
                  <c:v>0.68246054149806834</c:v>
                </c:pt>
                <c:pt idx="1522" formatCode="0.0%">
                  <c:v>0.68246054149806834</c:v>
                </c:pt>
                <c:pt idx="1523" formatCode="0.0%">
                  <c:v>0.65510208861985797</c:v>
                </c:pt>
                <c:pt idx="1524" formatCode="0.0%">
                  <c:v>0.63015483951984153</c:v>
                </c:pt>
                <c:pt idx="1525" formatCode="0.0%">
                  <c:v>0.61804994031178273</c:v>
                </c:pt>
                <c:pt idx="1526" formatCode="0.0%">
                  <c:v>0.59472139437682581</c:v>
                </c:pt>
                <c:pt idx="1527" formatCode="0.0%">
                  <c:v>0.59026192861797455</c:v>
                </c:pt>
                <c:pt idx="1528" formatCode="0.0%">
                  <c:v>0.59026192861797455</c:v>
                </c:pt>
                <c:pt idx="1529" formatCode="0.0%">
                  <c:v>0.59026192861797455</c:v>
                </c:pt>
                <c:pt idx="1530" formatCode="0.0%">
                  <c:v>0.55895704718848971</c:v>
                </c:pt>
                <c:pt idx="1531" formatCode="0.0%">
                  <c:v>0.53496770897261625</c:v>
                </c:pt>
                <c:pt idx="1532" formatCode="0.0%">
                  <c:v>0.54373425529622066</c:v>
                </c:pt>
                <c:pt idx="1533" formatCode="0.0%">
                  <c:v>0.53586895391223721</c:v>
                </c:pt>
                <c:pt idx="1534" formatCode="0.0%">
                  <c:v>0.56134567970831317</c:v>
                </c:pt>
                <c:pt idx="1535" formatCode="0.0%">
                  <c:v>0.56134567970831317</c:v>
                </c:pt>
                <c:pt idx="1536" formatCode="0.0%">
                  <c:v>0.56134567970831317</c:v>
                </c:pt>
                <c:pt idx="1537" formatCode="0.0%">
                  <c:v>0.56804939175970304</c:v>
                </c:pt>
                <c:pt idx="1538" formatCode="0.0%">
                  <c:v>0.55961407254400997</c:v>
                </c:pt>
                <c:pt idx="1539" formatCode="0.0%">
                  <c:v>0.57785491120275367</c:v>
                </c:pt>
                <c:pt idx="1540" formatCode="0.0%">
                  <c:v>0.57868787956616041</c:v>
                </c:pt>
                <c:pt idx="1541" formatCode="0.0%">
                  <c:v>0.58157203234979027</c:v>
                </c:pt>
                <c:pt idx="1542" formatCode="0.0%">
                  <c:v>0.58157203234979027</c:v>
                </c:pt>
                <c:pt idx="1543" formatCode="0.0%">
                  <c:v>0.58157203234979027</c:v>
                </c:pt>
                <c:pt idx="1544" formatCode="0.0%">
                  <c:v>0.60232273161135164</c:v>
                </c:pt>
                <c:pt idx="1545" formatCode="0.0%">
                  <c:v>0.60492538987637146</c:v>
                </c:pt>
                <c:pt idx="1546" formatCode="0.0%">
                  <c:v>0.59356725574896929</c:v>
                </c:pt>
                <c:pt idx="1547" formatCode="0.0%">
                  <c:v>0.58638910194675897</c:v>
                </c:pt>
                <c:pt idx="1548" formatCode="0.0%">
                  <c:v>0.55868740813751061</c:v>
                </c:pt>
                <c:pt idx="1549" formatCode="0.0%">
                  <c:v>0.55868740813751061</c:v>
                </c:pt>
                <c:pt idx="1550" formatCode="0.0%">
                  <c:v>0.55868740813751061</c:v>
                </c:pt>
                <c:pt idx="1551" formatCode="0.0%">
                  <c:v>0.55645682825199316</c:v>
                </c:pt>
                <c:pt idx="1552" formatCode="0.0%">
                  <c:v>0.56487626162637217</c:v>
                </c:pt>
                <c:pt idx="1553" formatCode="0.0%">
                  <c:v>0.56564310119265937</c:v>
                </c:pt>
                <c:pt idx="1554" formatCode="0.0%">
                  <c:v>0.47691968158955461</c:v>
                </c:pt>
                <c:pt idx="1555" formatCode="0.0%">
                  <c:v>0.41407549667812704</c:v>
                </c:pt>
                <c:pt idx="1556" formatCode="0.0%">
                  <c:v>0.41407549667812704</c:v>
                </c:pt>
                <c:pt idx="1557" formatCode="0.0%">
                  <c:v>0.41407549667812704</c:v>
                </c:pt>
                <c:pt idx="1558" formatCode="0.0%">
                  <c:v>0.38840755312125708</c:v>
                </c:pt>
                <c:pt idx="1559" formatCode="0.0%">
                  <c:v>0.38545040785165041</c:v>
                </c:pt>
                <c:pt idx="1560" formatCode="0.0%">
                  <c:v>0.44796917514215695</c:v>
                </c:pt>
                <c:pt idx="1561" formatCode="0.0%">
                  <c:v>0.41799051215060617</c:v>
                </c:pt>
                <c:pt idx="1562" formatCode="0.0%">
                  <c:v>0.41981304333082192</c:v>
                </c:pt>
                <c:pt idx="1563" formatCode="0.0%">
                  <c:v>0.41981304333082192</c:v>
                </c:pt>
                <c:pt idx="1564" formatCode="0.0%">
                  <c:v>0.41981304333082192</c:v>
                </c:pt>
                <c:pt idx="1565" formatCode="0.0%">
                  <c:v>0.43357618304262419</c:v>
                </c:pt>
                <c:pt idx="1566" formatCode="0.0%">
                  <c:v>0.44305326256998512</c:v>
                </c:pt>
                <c:pt idx="1567" formatCode="0.0%">
                  <c:v>0.41527208797349913</c:v>
                </c:pt>
                <c:pt idx="1568" formatCode="0.0%">
                  <c:v>0.4223530828974813</c:v>
                </c:pt>
                <c:pt idx="1569" formatCode="0.0%">
                  <c:v>0.42329633267219746</c:v>
                </c:pt>
                <c:pt idx="1570" formatCode="0.0%">
                  <c:v>0.42329633267219746</c:v>
                </c:pt>
                <c:pt idx="1571" formatCode="0.0%">
                  <c:v>0.42329633267219746</c:v>
                </c:pt>
                <c:pt idx="1572" formatCode="0.0%">
                  <c:v>0.38669985676038721</c:v>
                </c:pt>
                <c:pt idx="1573" formatCode="0.0%">
                  <c:v>0.41252690872558928</c:v>
                </c:pt>
                <c:pt idx="1574" formatCode="0.0%">
                  <c:v>0.45035942115902972</c:v>
                </c:pt>
                <c:pt idx="1575" formatCode="0.0%">
                  <c:v>0.46812102896112179</c:v>
                </c:pt>
                <c:pt idx="1576" formatCode="0.0%">
                  <c:v>0.47759475271995455</c:v>
                </c:pt>
                <c:pt idx="1577" formatCode="0.0%">
                  <c:v>0.47759475271995455</c:v>
                </c:pt>
                <c:pt idx="1578" formatCode="0.0%">
                  <c:v>0.47759475271995455</c:v>
                </c:pt>
                <c:pt idx="1579" formatCode="0.0%">
                  <c:v>0.48053236656199971</c:v>
                </c:pt>
                <c:pt idx="1580" formatCode="0.0%">
                  <c:v>0.4871104156387574</c:v>
                </c:pt>
                <c:pt idx="1581" formatCode="0.0%">
                  <c:v>0.49335372881279654</c:v>
                </c:pt>
                <c:pt idx="1582" formatCode="0.0%">
                  <c:v>0.50767827226075724</c:v>
                </c:pt>
                <c:pt idx="1583" formatCode="0.0%">
                  <c:v>0.52128691528048787</c:v>
                </c:pt>
                <c:pt idx="1584" formatCode="0.0%">
                  <c:v>0.52128691528048787</c:v>
                </c:pt>
                <c:pt idx="1585" formatCode="0.0%">
                  <c:v>0.52128691528048787</c:v>
                </c:pt>
                <c:pt idx="1586" formatCode="0.0%">
                  <c:v>0.52006711964027175</c:v>
                </c:pt>
                <c:pt idx="1587" formatCode="0.0%">
                  <c:v>0.51200151419697904</c:v>
                </c:pt>
                <c:pt idx="1588" formatCode="0.0%">
                  <c:v>0.5122662279900192</c:v>
                </c:pt>
                <c:pt idx="1589" formatCode="0.0%">
                  <c:v>0.52771774817221195</c:v>
                </c:pt>
                <c:pt idx="1590" formatCode="0.0%">
                  <c:v>0.53124405878645831</c:v>
                </c:pt>
                <c:pt idx="1591" formatCode="0.0%">
                  <c:v>0.53124405878645831</c:v>
                </c:pt>
                <c:pt idx="1592" formatCode="0.0%">
                  <c:v>0.53124405878645831</c:v>
                </c:pt>
                <c:pt idx="1593" formatCode="0.0%">
                  <c:v>0.58691571595942149</c:v>
                </c:pt>
                <c:pt idx="1594" formatCode="0.0%">
                  <c:v>0.59000589861714448</c:v>
                </c:pt>
                <c:pt idx="1595" formatCode="0.0%">
                  <c:v>0.58852936738346784</c:v>
                </c:pt>
                <c:pt idx="1596" formatCode="0.0%">
                  <c:v>0.59674978089887276</c:v>
                </c:pt>
                <c:pt idx="1597" formatCode="0.0%">
                  <c:v>0.6092383522153878</c:v>
                </c:pt>
                <c:pt idx="1598" formatCode="0.0%">
                  <c:v>0.6092383522153878</c:v>
                </c:pt>
                <c:pt idx="1599" formatCode="0.0%">
                  <c:v>0.6092383522153878</c:v>
                </c:pt>
                <c:pt idx="1600" formatCode="0.0%">
                  <c:v>0.59873157713729885</c:v>
                </c:pt>
                <c:pt idx="1601" formatCode="0.0%">
                  <c:v>0.59524045551839977</c:v>
                </c:pt>
                <c:pt idx="1602" formatCode="0.0%">
                  <c:v>0.57162178193397073</c:v>
                </c:pt>
                <c:pt idx="1603" formatCode="0.0%">
                  <c:v>0.57475573731242124</c:v>
                </c:pt>
                <c:pt idx="1604" formatCode="0.0%">
                  <c:v>0.56057492212183968</c:v>
                </c:pt>
                <c:pt idx="1605" formatCode="0.0%">
                  <c:v>0.56057492212183968</c:v>
                </c:pt>
                <c:pt idx="1606" formatCode="0.0%">
                  <c:v>0.56057492212183968</c:v>
                </c:pt>
                <c:pt idx="1607" formatCode="0.0%">
                  <c:v>0.55908208141445981</c:v>
                </c:pt>
                <c:pt idx="1608" formatCode="0.0%">
                  <c:v>0.58446591764802147</c:v>
                </c:pt>
                <c:pt idx="1609" formatCode="0.0%">
                  <c:v>0.58153502208589236</c:v>
                </c:pt>
                <c:pt idx="1610" formatCode="0.0%">
                  <c:v>0.58196103926059661</c:v>
                </c:pt>
                <c:pt idx="1611" formatCode="0.0%">
                  <c:v>0.58046479940786722</c:v>
                </c:pt>
                <c:pt idx="1612" formatCode="0.0%">
                  <c:v>0.58046479940786722</c:v>
                </c:pt>
                <c:pt idx="1613" formatCode="0.0%">
                  <c:v>0.58046479940786722</c:v>
                </c:pt>
                <c:pt idx="1614" formatCode="0.0%">
                  <c:v>0.57536783139929815</c:v>
                </c:pt>
                <c:pt idx="1615" formatCode="0.0%">
                  <c:v>0.58662294945461635</c:v>
                </c:pt>
                <c:pt idx="1616" formatCode="0.0%">
                  <c:v>0.58645245671858703</c:v>
                </c:pt>
                <c:pt idx="1617" formatCode="0.0%">
                  <c:v>0.5795060006487861</c:v>
                </c:pt>
                <c:pt idx="1618" formatCode="0.0%">
                  <c:v>0.59815341482714612</c:v>
                </c:pt>
                <c:pt idx="1619" formatCode="0.0%">
                  <c:v>0.59815341482714612</c:v>
                </c:pt>
                <c:pt idx="1620" formatCode="0.0%">
                  <c:v>0.59815341482714612</c:v>
                </c:pt>
                <c:pt idx="1621" formatCode="0.0%">
                  <c:v>0.59885591544294214</c:v>
                </c:pt>
                <c:pt idx="1622" formatCode="0.0%">
                  <c:v>0.60308801195878037</c:v>
                </c:pt>
                <c:pt idx="1623" formatCode="0.0%">
                  <c:v>0.59443390696151421</c:v>
                </c:pt>
                <c:pt idx="1624" formatCode="0.0%">
                  <c:v>0.58526031023030611</c:v>
                </c:pt>
                <c:pt idx="1625" formatCode="0.0%">
                  <c:v>0.57307703005974731</c:v>
                </c:pt>
                <c:pt idx="1626" formatCode="0.0%">
                  <c:v>0.57307703005974731</c:v>
                </c:pt>
                <c:pt idx="1627" formatCode="0.0%">
                  <c:v>0.57307703005974731</c:v>
                </c:pt>
                <c:pt idx="1628" formatCode="0.0%">
                  <c:v>0.58028658579397496</c:v>
                </c:pt>
                <c:pt idx="1629" formatCode="0.0%">
                  <c:v>0.57679622912267914</c:v>
                </c:pt>
                <c:pt idx="1630" formatCode="0.0%">
                  <c:v>0.57819073359298723</c:v>
                </c:pt>
                <c:pt idx="1631" formatCode="0.0%">
                  <c:v>0.57706241928876867</c:v>
                </c:pt>
                <c:pt idx="1632" formatCode="0.0%">
                  <c:v>0.57039160888852936</c:v>
                </c:pt>
                <c:pt idx="1633" formatCode="0.0%">
                  <c:v>0.57039160888852936</c:v>
                </c:pt>
                <c:pt idx="1634" formatCode="0.0%">
                  <c:v>0.57039160888852936</c:v>
                </c:pt>
                <c:pt idx="1635" formatCode="0.0%">
                  <c:v>0.5761603496388702</c:v>
                </c:pt>
                <c:pt idx="1636" formatCode="0.0%">
                  <c:v>0.58735848475666985</c:v>
                </c:pt>
                <c:pt idx="1637" formatCode="0.0%">
                  <c:v>0.5853085804248559</c:v>
                </c:pt>
                <c:pt idx="1638" formatCode="0.0%">
                  <c:v>0.58685309095769778</c:v>
                </c:pt>
                <c:pt idx="1639" formatCode="0.0%">
                  <c:v>0.59447682615441921</c:v>
                </c:pt>
                <c:pt idx="1640" formatCode="0.0%">
                  <c:v>0.59447682615441921</c:v>
                </c:pt>
                <c:pt idx="1641" formatCode="0.0%">
                  <c:v>0.59447682615441921</c:v>
                </c:pt>
                <c:pt idx="1642" formatCode="0.0%">
                  <c:v>0.59740590766064372</c:v>
                </c:pt>
                <c:pt idx="1643" formatCode="0.0%">
                  <c:v>0.59132714360869698</c:v>
                </c:pt>
                <c:pt idx="1644" formatCode="0.0%">
                  <c:v>0.59811258898313502</c:v>
                </c:pt>
                <c:pt idx="1645" formatCode="0.0%">
                  <c:v>0.61099477027664539</c:v>
                </c:pt>
                <c:pt idx="1646" formatCode="0.0%">
                  <c:v>0.60621839396738753</c:v>
                </c:pt>
                <c:pt idx="1647" formatCode="0.0%">
                  <c:v>0.60621839396738753</c:v>
                </c:pt>
                <c:pt idx="1648" formatCode="0.0%">
                  <c:v>0.60621839396738753</c:v>
                </c:pt>
                <c:pt idx="1649" formatCode="0.0%">
                  <c:v>0.60137144060735837</c:v>
                </c:pt>
                <c:pt idx="1650" formatCode="0.0%">
                  <c:v>0.60648965270434674</c:v>
                </c:pt>
                <c:pt idx="1651" formatCode="0.0%">
                  <c:v>0.612321537370068</c:v>
                </c:pt>
                <c:pt idx="1652" formatCode="0.0%">
                  <c:v>0.62063310788535941</c:v>
                </c:pt>
                <c:pt idx="1653" formatCode="0.0%">
                  <c:v>0.61241789856779205</c:v>
                </c:pt>
                <c:pt idx="1654" formatCode="0.0%">
                  <c:v>0.61241789856779205</c:v>
                </c:pt>
                <c:pt idx="1655" formatCode="0.0%">
                  <c:v>0.61241789856779205</c:v>
                </c:pt>
                <c:pt idx="1656" formatCode="0.0%">
                  <c:v>0.61589375628758714</c:v>
                </c:pt>
                <c:pt idx="1657" formatCode="0.0%">
                  <c:v>0.61946336747219588</c:v>
                </c:pt>
                <c:pt idx="1658" formatCode="0.0%">
                  <c:v>0.62394585023230831</c:v>
                </c:pt>
                <c:pt idx="1659" formatCode="0.0%">
                  <c:v>0.63438422451342913</c:v>
                </c:pt>
                <c:pt idx="1660" formatCode="0.0%">
                  <c:v>0.62912964963272178</c:v>
                </c:pt>
                <c:pt idx="1661" formatCode="0.0%">
                  <c:v>0.62912964963272178</c:v>
                </c:pt>
                <c:pt idx="1662" formatCode="0.0%">
                  <c:v>0.62912964963272178</c:v>
                </c:pt>
                <c:pt idx="1663" formatCode="0.0%">
                  <c:v>0.62500198336299773</c:v>
                </c:pt>
                <c:pt idx="1664" formatCode="0.0%">
                  <c:v>0.62202032282068187</c:v>
                </c:pt>
                <c:pt idx="1665" formatCode="0.0%">
                  <c:v>0.63700042334448681</c:v>
                </c:pt>
                <c:pt idx="1666" formatCode="0.0%">
                  <c:v>0.63619017971824632</c:v>
                </c:pt>
                <c:pt idx="1667" formatCode="0.0%">
                  <c:v>0.64105851267019998</c:v>
                </c:pt>
                <c:pt idx="1668" formatCode="0.0%">
                  <c:v>0.64105851267019998</c:v>
                </c:pt>
                <c:pt idx="1669" formatCode="0.0%">
                  <c:v>0.64105851267019998</c:v>
                </c:pt>
                <c:pt idx="1670" formatCode="0.0%">
                  <c:v>0.65061551774177273</c:v>
                </c:pt>
                <c:pt idx="1671" formatCode="0.0%">
                  <c:v>0.66077264858850815</c:v>
                </c:pt>
                <c:pt idx="1672" formatCode="0.0%">
                  <c:v>0.66379345024103287</c:v>
                </c:pt>
                <c:pt idx="1673" formatCode="0.0%">
                  <c:v>0.66085964985777734</c:v>
                </c:pt>
                <c:pt idx="1674" formatCode="0.0%">
                  <c:v>0.62377918538763166</c:v>
                </c:pt>
                <c:pt idx="1675" formatCode="0.0%">
                  <c:v>0.62377918538763166</c:v>
                </c:pt>
                <c:pt idx="1676" formatCode="0.0%">
                  <c:v>0.62377918538763166</c:v>
                </c:pt>
                <c:pt idx="1677" formatCode="0.0%">
                  <c:v>0.64195904878475007</c:v>
                </c:pt>
                <c:pt idx="1678" formatCode="0.0%">
                  <c:v>0.63953731630571753</c:v>
                </c:pt>
                <c:pt idx="1679" formatCode="0.0%">
                  <c:v>0.64156556525902031</c:v>
                </c:pt>
                <c:pt idx="1680" formatCode="0.0%">
                  <c:v>0.64638758319606693</c:v>
                </c:pt>
                <c:pt idx="1681" formatCode="0.0%">
                  <c:v>0.650599360666541</c:v>
                </c:pt>
                <c:pt idx="1682" formatCode="0.0%">
                  <c:v>0.650599360666541</c:v>
                </c:pt>
                <c:pt idx="1683" formatCode="0.0%">
                  <c:v>0.650599360666541</c:v>
                </c:pt>
                <c:pt idx="1684" formatCode="0.0%">
                  <c:v>0.65487412489064045</c:v>
                </c:pt>
                <c:pt idx="1685" formatCode="0.0%">
                  <c:v>0.66188140793376504</c:v>
                </c:pt>
                <c:pt idx="1686" formatCode="0.0%">
                  <c:v>0.66364602274577211</c:v>
                </c:pt>
                <c:pt idx="1687" formatCode="0.0%">
                  <c:v>0.6703756933000995</c:v>
                </c:pt>
                <c:pt idx="1688" formatCode="0.0%">
                  <c:v>0.66364990867890528</c:v>
                </c:pt>
                <c:pt idx="1689" formatCode="0.0%">
                  <c:v>0.66364990867890528</c:v>
                </c:pt>
                <c:pt idx="1690" formatCode="0.0%">
                  <c:v>0.66364990867890528</c:v>
                </c:pt>
                <c:pt idx="1691" formatCode="0.0%">
                  <c:v>0.66921568852029167</c:v>
                </c:pt>
                <c:pt idx="1692" formatCode="0.0%">
                  <c:v>0.66244670991879329</c:v>
                </c:pt>
                <c:pt idx="1693" formatCode="0.0%">
                  <c:v>0.66039011040697693</c:v>
                </c:pt>
                <c:pt idx="1694" formatCode="0.0%">
                  <c:v>0.66127219049129848</c:v>
                </c:pt>
                <c:pt idx="1695" formatCode="0.0%">
                  <c:v>0.66928510918354622</c:v>
                </c:pt>
                <c:pt idx="1696" formatCode="0.0%">
                  <c:v>0.66928510918354622</c:v>
                </c:pt>
                <c:pt idx="1697" formatCode="0.0%">
                  <c:v>0.66928510918354622</c:v>
                </c:pt>
                <c:pt idx="1698" formatCode="0.0%">
                  <c:v>0.6690830687829975</c:v>
                </c:pt>
                <c:pt idx="1699" formatCode="0.0%">
                  <c:v>0.67378646844119883</c:v>
                </c:pt>
                <c:pt idx="1700" formatCode="0.0%">
                  <c:v>0.68335957966522076</c:v>
                </c:pt>
                <c:pt idx="1701" formatCode="0.0%">
                  <c:v>0.67784991663104621</c:v>
                </c:pt>
                <c:pt idx="1702" formatCode="0.0%">
                  <c:v>0.66464499754297546</c:v>
                </c:pt>
                <c:pt idx="1703" formatCode="0.0%">
                  <c:v>0.66464499754297546</c:v>
                </c:pt>
                <c:pt idx="1704" formatCode="0.0%">
                  <c:v>0.66464499754297546</c:v>
                </c:pt>
                <c:pt idx="1705" formatCode="0.0%">
                  <c:v>0.66450356243682163</c:v>
                </c:pt>
                <c:pt idx="1706" formatCode="0.0%">
                  <c:v>0.65904944327746873</c:v>
                </c:pt>
                <c:pt idx="1707" formatCode="0.0%">
                  <c:v>0.66504215149303914</c:v>
                </c:pt>
                <c:pt idx="1708" formatCode="0.0%">
                  <c:v>0.67957977388750634</c:v>
                </c:pt>
                <c:pt idx="1709" formatCode="0.0%">
                  <c:v>0.66807415762605071</c:v>
                </c:pt>
                <c:pt idx="1710" formatCode="0.0%">
                  <c:v>0.66807415762605071</c:v>
                </c:pt>
                <c:pt idx="1711" formatCode="0.0%">
                  <c:v>0.66807415762605071</c:v>
                </c:pt>
                <c:pt idx="1712" formatCode="0.0%">
                  <c:v>0.67275503903868017</c:v>
                </c:pt>
                <c:pt idx="1713" formatCode="0.0%">
                  <c:v>0.67917095365551405</c:v>
                </c:pt>
                <c:pt idx="1714" formatCode="0.0%">
                  <c:v>0.68549949428370638</c:v>
                </c:pt>
                <c:pt idx="1715" formatCode="0.0%">
                  <c:v>0.69681742084588105</c:v>
                </c:pt>
                <c:pt idx="1716" formatCode="0.0%">
                  <c:v>0.69819070736805999</c:v>
                </c:pt>
                <c:pt idx="1717" formatCode="0.0%">
                  <c:v>0.69819070736805999</c:v>
                </c:pt>
                <c:pt idx="1718" formatCode="0.0%">
                  <c:v>0.69819070736805999</c:v>
                </c:pt>
                <c:pt idx="1719" formatCode="0.0%">
                  <c:v>0.70161487613015339</c:v>
                </c:pt>
                <c:pt idx="1720" formatCode="0.0%">
                  <c:v>0.68867995644636215</c:v>
                </c:pt>
                <c:pt idx="1721" formatCode="0.0%">
                  <c:v>0.68832022813366278</c:v>
                </c:pt>
                <c:pt idx="1722" formatCode="0.0%">
                  <c:v>0.70381258497559174</c:v>
                </c:pt>
                <c:pt idx="1723" formatCode="0.0%">
                  <c:v>0.71085868347684089</c:v>
                </c:pt>
                <c:pt idx="1724" formatCode="0.0%">
                  <c:v>0.71085868347684089</c:v>
                </c:pt>
                <c:pt idx="1725" formatCode="0.0%">
                  <c:v>0.71085868347684089</c:v>
                </c:pt>
                <c:pt idx="1726" formatCode="0.0%">
                  <c:v>0.71454644309105586</c:v>
                </c:pt>
                <c:pt idx="1727" formatCode="0.0%">
                  <c:v>0.70600432401446567</c:v>
                </c:pt>
                <c:pt idx="1728" formatCode="0.0%">
                  <c:v>0.70861929251319167</c:v>
                </c:pt>
                <c:pt idx="1729" formatCode="0.0%">
                  <c:v>0.70830154654771948</c:v>
                </c:pt>
                <c:pt idx="1730" formatCode="0.0%">
                  <c:v>0.71236185314333</c:v>
                </c:pt>
                <c:pt idx="1731" formatCode="0.0%">
                  <c:v>0.71236185314333</c:v>
                </c:pt>
                <c:pt idx="1732" formatCode="0.0%">
                  <c:v>0.71236185314333</c:v>
                </c:pt>
                <c:pt idx="1733" formatCode="0.0%">
                  <c:v>0.71374571793810448</c:v>
                </c:pt>
                <c:pt idx="1734" formatCode="0.0%">
                  <c:v>0.71836034149670469</c:v>
                </c:pt>
                <c:pt idx="1735" formatCode="0.0%">
                  <c:v>0.7262327899659573</c:v>
                </c:pt>
                <c:pt idx="1736" formatCode="0.0%">
                  <c:v>0.73480643965809633</c:v>
                </c:pt>
                <c:pt idx="1737" formatCode="0.0%">
                  <c:v>0.7352986083008608</c:v>
                </c:pt>
                <c:pt idx="1738" formatCode="0.0%">
                  <c:v>0.7352986083008608</c:v>
                </c:pt>
                <c:pt idx="1739" formatCode="0.0%">
                  <c:v>0.7352986083008608</c:v>
                </c:pt>
                <c:pt idx="1740" formatCode="0.0%">
                  <c:v>0.74355871470372736</c:v>
                </c:pt>
                <c:pt idx="1741" formatCode="0.0%">
                  <c:v>0.74463967738979819</c:v>
                </c:pt>
                <c:pt idx="1742" formatCode="0.0%">
                  <c:v>0.75826684806442923</c:v>
                </c:pt>
                <c:pt idx="1743" formatCode="0.0%">
                  <c:v>0.75972765023764055</c:v>
                </c:pt>
                <c:pt idx="1744" formatCode="0.0%">
                  <c:v>0.72260442400904878</c:v>
                </c:pt>
                <c:pt idx="1745" formatCode="0.0%">
                  <c:v>0.72260442400904878</c:v>
                </c:pt>
                <c:pt idx="1746" formatCode="0.0%">
                  <c:v>0.72260442400904878</c:v>
                </c:pt>
                <c:pt idx="1747" formatCode="0.0%">
                  <c:v>0.74121150782832645</c:v>
                </c:pt>
                <c:pt idx="1748" formatCode="0.0%">
                  <c:v>0.73141071968248417</c:v>
                </c:pt>
                <c:pt idx="1749" formatCode="0.0%">
                  <c:v>0.7396550416698906</c:v>
                </c:pt>
                <c:pt idx="1750" formatCode="0.0%">
                  <c:v>0.73008886537173512</c:v>
                </c:pt>
                <c:pt idx="1751" formatCode="0.0%">
                  <c:v>0.7307043955782524</c:v>
                </c:pt>
                <c:pt idx="1752" formatCode="0.0%">
                  <c:v>0.7307043955782524</c:v>
                </c:pt>
                <c:pt idx="1753" formatCode="0.0%">
                  <c:v>0.7307043955782524</c:v>
                </c:pt>
                <c:pt idx="1754" formatCode="0.0%">
                  <c:v>0.75337152194758739</c:v>
                </c:pt>
                <c:pt idx="1755" formatCode="0.0%">
                  <c:v>0.75952505716132546</c:v>
                </c:pt>
                <c:pt idx="1756" formatCode="0.0%">
                  <c:v>0.75127974448102719</c:v>
                </c:pt>
                <c:pt idx="1757" formatCode="0.0%">
                  <c:v>0.75855374261351616</c:v>
                </c:pt>
                <c:pt idx="1758" formatCode="0.0%">
                  <c:v>0.76796873691242984</c:v>
                </c:pt>
                <c:pt idx="1759" formatCode="0.0%">
                  <c:v>0.76796873691242984</c:v>
                </c:pt>
                <c:pt idx="1760" formatCode="0.0%">
                  <c:v>0.76796873691242984</c:v>
                </c:pt>
                <c:pt idx="1761" formatCode="0.0%">
                  <c:v>0.78612447981337741</c:v>
                </c:pt>
                <c:pt idx="1762" formatCode="0.0%">
                  <c:v>0.78438545430234596</c:v>
                </c:pt>
                <c:pt idx="1763" formatCode="0.0%">
                  <c:v>0.78502634285678252</c:v>
                </c:pt>
                <c:pt idx="1764" formatCode="0.0%">
                  <c:v>0.78362973875174191</c:v>
                </c:pt>
                <c:pt idx="1765" formatCode="0.0%">
                  <c:v>0.78907867148244037</c:v>
                </c:pt>
                <c:pt idx="1766" formatCode="0.0%">
                  <c:v>0.78907867148244037</c:v>
                </c:pt>
                <c:pt idx="1767" formatCode="0.0%">
                  <c:v>0.78907867148244037</c:v>
                </c:pt>
                <c:pt idx="1768" formatCode="0.0%">
                  <c:v>0.79422613966110533</c:v>
                </c:pt>
                <c:pt idx="1769" formatCode="0.0%">
                  <c:v>0.77963517664034865</c:v>
                </c:pt>
                <c:pt idx="1770" formatCode="0.0%">
                  <c:v>0.78356170188334229</c:v>
                </c:pt>
                <c:pt idx="1771" formatCode="0.0%">
                  <c:v>0.76410065254170856</c:v>
                </c:pt>
                <c:pt idx="1772" formatCode="0.0%">
                  <c:v>0.75813728025332017</c:v>
                </c:pt>
                <c:pt idx="1773" formatCode="0.0%">
                  <c:v>0.75813728025332017</c:v>
                </c:pt>
                <c:pt idx="1774" formatCode="0.0%">
                  <c:v>0.75813728025332017</c:v>
                </c:pt>
                <c:pt idx="1775" formatCode="0.0%">
                  <c:v>0.78664065710039466</c:v>
                </c:pt>
                <c:pt idx="1776" formatCode="0.0%">
                  <c:v>0.78672855544635356</c:v>
                </c:pt>
                <c:pt idx="1777" formatCode="0.0%">
                  <c:v>0.79124912376226864</c:v>
                </c:pt>
                <c:pt idx="1778" formatCode="0.0%">
                  <c:v>0.76419024805416369</c:v>
                </c:pt>
                <c:pt idx="1779" formatCode="0.0%">
                  <c:v>0.76020541066474978</c:v>
                </c:pt>
                <c:pt idx="1780" formatCode="0.0%">
                  <c:v>0.76020541066474978</c:v>
                </c:pt>
                <c:pt idx="1781" formatCode="0.0%">
                  <c:v>0.76020541066474978</c:v>
                </c:pt>
                <c:pt idx="1782" formatCode="0.0%">
                  <c:v>0.74915994515592099</c:v>
                </c:pt>
                <c:pt idx="1783" formatCode="0.0%">
                  <c:v>0.73086474168756921</c:v>
                </c:pt>
                <c:pt idx="1784" formatCode="0.0%">
                  <c:v>0.73823248740698033</c:v>
                </c:pt>
                <c:pt idx="1785" formatCode="0.0%">
                  <c:v>0.72621876139159014</c:v>
                </c:pt>
                <c:pt idx="1786" formatCode="0.0%">
                  <c:v>0.73387603542659829</c:v>
                </c:pt>
                <c:pt idx="1787" formatCode="0.0%">
                  <c:v>0.73387603542659829</c:v>
                </c:pt>
                <c:pt idx="1788" formatCode="0.0%">
                  <c:v>0.73387603542659829</c:v>
                </c:pt>
                <c:pt idx="1789" formatCode="0.0%">
                  <c:v>0.75023565210383514</c:v>
                </c:pt>
                <c:pt idx="1790" formatCode="0.0%">
                  <c:v>0.76100745430528638</c:v>
                </c:pt>
                <c:pt idx="1791" formatCode="0.0%">
                  <c:v>0.77299304391416712</c:v>
                </c:pt>
                <c:pt idx="1792" formatCode="0.0%">
                  <c:v>0.77327818772275803</c:v>
                </c:pt>
                <c:pt idx="1793" formatCode="0.0%">
                  <c:v>0.77946650693384101</c:v>
                </c:pt>
                <c:pt idx="1794" formatCode="0.0%">
                  <c:v>0.77946650693384101</c:v>
                </c:pt>
                <c:pt idx="1795" formatCode="0.0%">
                  <c:v>0.77946650693384101</c:v>
                </c:pt>
                <c:pt idx="1796" formatCode="0.0%">
                  <c:v>0.76880490652156508</c:v>
                </c:pt>
                <c:pt idx="1797" formatCode="0.0%">
                  <c:v>0.77589101655857118</c:v>
                </c:pt>
                <c:pt idx="1798" formatCode="0.0%">
                  <c:v>0.77355096295310743</c:v>
                </c:pt>
                <c:pt idx="1799" formatCode="0.0%">
                  <c:v>0.77822601040501438</c:v>
                </c:pt>
                <c:pt idx="1800" formatCode="0.0%">
                  <c:v>0.78351950985790209</c:v>
                </c:pt>
                <c:pt idx="1801" formatCode="0.0%">
                  <c:v>0.78351950985790209</c:v>
                </c:pt>
                <c:pt idx="1802" formatCode="0.0%">
                  <c:v>0.78351950985790209</c:v>
                </c:pt>
                <c:pt idx="1803" formatCode="0.0%">
                  <c:v>0.78223523488118929</c:v>
                </c:pt>
                <c:pt idx="1804" formatCode="0.0%">
                  <c:v>0.77883183526618327</c:v>
                </c:pt>
                <c:pt idx="1805" formatCode="0.0%">
                  <c:v>0.78644591486311666</c:v>
                </c:pt>
                <c:pt idx="1806" formatCode="0.0%">
                  <c:v>0.77524400124167159</c:v>
                </c:pt>
                <c:pt idx="1807" formatCode="0.0%">
                  <c:v>0.76698463075099566</c:v>
                </c:pt>
                <c:pt idx="1808" formatCode="0.0%">
                  <c:v>0.76698463075099566</c:v>
                </c:pt>
                <c:pt idx="1809" formatCode="0.0%">
                  <c:v>0.76698463075099566</c:v>
                </c:pt>
                <c:pt idx="1810" formatCode="0.0%">
                  <c:v>0.7617649829211266</c:v>
                </c:pt>
                <c:pt idx="1811" formatCode="0.0%">
                  <c:v>0.75234113314453221</c:v>
                </c:pt>
                <c:pt idx="1812" formatCode="0.0%">
                  <c:v>0.741095675619307</c:v>
                </c:pt>
                <c:pt idx="1813" formatCode="0.0%">
                  <c:v>0.75584433013725405</c:v>
                </c:pt>
                <c:pt idx="1814" formatCode="0.0%">
                  <c:v>0.77099392421013757</c:v>
                </c:pt>
                <c:pt idx="1815" formatCode="0.0%">
                  <c:v>0.77099392421013757</c:v>
                </c:pt>
                <c:pt idx="1816" formatCode="0.0%">
                  <c:v>0.77099392421013757</c:v>
                </c:pt>
                <c:pt idx="1817" formatCode="0.0%">
                  <c:v>0.77524561865506825</c:v>
                </c:pt>
                <c:pt idx="1818" formatCode="0.0%">
                  <c:v>0.78144363154959395</c:v>
                </c:pt>
                <c:pt idx="1819" formatCode="0.0%">
                  <c:v>0.78532419935955322</c:v>
                </c:pt>
                <c:pt idx="1820" formatCode="0.0%">
                  <c:v>0.7854258401806794</c:v>
                </c:pt>
                <c:pt idx="1821" formatCode="0.0%">
                  <c:v>0.78592735614466502</c:v>
                </c:pt>
                <c:pt idx="1822" formatCode="0.0%">
                  <c:v>0.78592735614466502</c:v>
                </c:pt>
                <c:pt idx="1823" formatCode="0.0%">
                  <c:v>0.78592735614466502</c:v>
                </c:pt>
                <c:pt idx="1824" formatCode="0.0%">
                  <c:v>0.78399338436816091</c:v>
                </c:pt>
                <c:pt idx="1825" formatCode="0.0%">
                  <c:v>0.78403924913959544</c:v>
                </c:pt>
                <c:pt idx="1826" formatCode="0.0%">
                  <c:v>0.77683190937357749</c:v>
                </c:pt>
              </c:numCache>
            </c:numRef>
          </c:val>
          <c:smooth val="0"/>
          <c:extLst>
            <c:ext xmlns:c16="http://schemas.microsoft.com/office/drawing/2014/chart" uri="{C3380CC4-5D6E-409C-BE32-E72D297353CC}">
              <c16:uniqueId val="{0000000A-3824-4B8F-B311-B8D727625BCA}"/>
            </c:ext>
          </c:extLst>
        </c:ser>
        <c:ser>
          <c:idx val="12"/>
          <c:order val="11"/>
          <c:tx>
            <c:strRef>
              <c:f>Sheet1!$N$1</c:f>
              <c:strCache>
                <c:ptCount val="1"/>
                <c:pt idx="0">
                  <c:v>EAA Fund Global Large-Cap Blend Equity (57.2%)</c:v>
                </c:pt>
              </c:strCache>
            </c:strRef>
          </c:tx>
          <c:spPr>
            <a:ln w="28575" cap="rnd">
              <a:solidFill>
                <a:schemeClr val="accent1">
                  <a:lumMod val="80000"/>
                  <a:lumOff val="20000"/>
                </a:schemeClr>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N$2:$N$2069</c:f>
              <c:numCache>
                <c:formatCode>0.00%</c:formatCode>
                <c:ptCount val="2068"/>
                <c:pt idx="0">
                  <c:v>0</c:v>
                </c:pt>
                <c:pt idx="1">
                  <c:v>-1.2010091478487084E-6</c:v>
                </c:pt>
                <c:pt idx="2">
                  <c:v>-1.6513875783630284E-6</c:v>
                </c:pt>
                <c:pt idx="3">
                  <c:v>-2.1017660088773481E-6</c:v>
                </c:pt>
                <c:pt idx="4">
                  <c:v>-3.6075742535021504E-3</c:v>
                </c:pt>
                <c:pt idx="5">
                  <c:v>-2.5915000368777895E-3</c:v>
                </c:pt>
                <c:pt idx="6">
                  <c:v>2.2848840844216056E-3</c:v>
                </c:pt>
                <c:pt idx="7">
                  <c:v>1.425087849108536E-2</c:v>
                </c:pt>
                <c:pt idx="8">
                  <c:v>2.347798035565191E-2</c:v>
                </c:pt>
                <c:pt idx="9">
                  <c:v>2.3474686185572153E-2</c:v>
                </c:pt>
                <c:pt idx="10">
                  <c:v>2.3474386715564888E-2</c:v>
                </c:pt>
                <c:pt idx="11">
                  <c:v>2.6471496302202836E-2</c:v>
                </c:pt>
                <c:pt idx="12">
                  <c:v>2.7130809861802874E-2</c:v>
                </c:pt>
                <c:pt idx="13">
                  <c:v>2.7936346234572796E-2</c:v>
                </c:pt>
                <c:pt idx="14">
                  <c:v>3.1582831501453509E-2</c:v>
                </c:pt>
                <c:pt idx="15">
                  <c:v>2.6848957343185872E-2</c:v>
                </c:pt>
                <c:pt idx="16">
                  <c:v>2.6848653717471648E-2</c:v>
                </c:pt>
                <c:pt idx="17">
                  <c:v>2.6848198278903085E-2</c:v>
                </c:pt>
                <c:pt idx="18">
                  <c:v>2.7214315550594108E-2</c:v>
                </c:pt>
                <c:pt idx="19">
                  <c:v>2.9326374185424414E-2</c:v>
                </c:pt>
                <c:pt idx="20">
                  <c:v>3.8938812030817331E-2</c:v>
                </c:pt>
                <c:pt idx="21">
                  <c:v>4.0350422344075841E-2</c:v>
                </c:pt>
                <c:pt idx="22">
                  <c:v>3.4904939091641156E-2</c:v>
                </c:pt>
                <c:pt idx="23">
                  <c:v>3.4904486666204236E-2</c:v>
                </c:pt>
                <c:pt idx="24">
                  <c:v>3.4904185049246479E-2</c:v>
                </c:pt>
                <c:pt idx="25">
                  <c:v>3.7072433334349737E-2</c:v>
                </c:pt>
                <c:pt idx="26">
                  <c:v>3.4931733128713775E-2</c:v>
                </c:pt>
                <c:pt idx="27">
                  <c:v>2.3416414697681204E-2</c:v>
                </c:pt>
                <c:pt idx="28">
                  <c:v>2.0026226494360911E-2</c:v>
                </c:pt>
                <c:pt idx="29">
                  <c:v>7.3279630043204232E-3</c:v>
                </c:pt>
                <c:pt idx="30">
                  <c:v>7.3275097756277316E-3</c:v>
                </c:pt>
                <c:pt idx="31">
                  <c:v>6.7511539548831935E-3</c:v>
                </c:pt>
                <c:pt idx="32">
                  <c:v>1.6919273798785356E-2</c:v>
                </c:pt>
                <c:pt idx="33">
                  <c:v>3.2995531303347148E-2</c:v>
                </c:pt>
                <c:pt idx="34">
                  <c:v>3.9794468338020007E-2</c:v>
                </c:pt>
                <c:pt idx="35">
                  <c:v>4.6886753408062989E-2</c:v>
                </c:pt>
                <c:pt idx="36">
                  <c:v>5.0288936095518155E-2</c:v>
                </c:pt>
                <c:pt idx="37">
                  <c:v>5.0288630917583392E-2</c:v>
                </c:pt>
                <c:pt idx="38">
                  <c:v>5.0288173150681244E-2</c:v>
                </c:pt>
                <c:pt idx="39">
                  <c:v>5.5850346215518272E-2</c:v>
                </c:pt>
                <c:pt idx="40">
                  <c:v>5.4735823696216809E-2</c:v>
                </c:pt>
                <c:pt idx="41">
                  <c:v>5.3847816081145937E-2</c:v>
                </c:pt>
                <c:pt idx="42">
                  <c:v>5.6070200777770939E-2</c:v>
                </c:pt>
                <c:pt idx="43">
                  <c:v>6.0799718026604242E-2</c:v>
                </c:pt>
                <c:pt idx="44">
                  <c:v>6.0799263702226512E-2</c:v>
                </c:pt>
                <c:pt idx="45">
                  <c:v>6.0799718026604242E-2</c:v>
                </c:pt>
                <c:pt idx="46">
                  <c:v>6.4462188515978347E-2</c:v>
                </c:pt>
                <c:pt idx="47">
                  <c:v>6.6617536744250708E-2</c:v>
                </c:pt>
                <c:pt idx="48">
                  <c:v>6.7667557730723901E-2</c:v>
                </c:pt>
                <c:pt idx="49">
                  <c:v>5.9519836005917315E-2</c:v>
                </c:pt>
                <c:pt idx="50">
                  <c:v>5.7290803681215439E-2</c:v>
                </c:pt>
                <c:pt idx="51">
                  <c:v>5.7290652353270841E-2</c:v>
                </c:pt>
                <c:pt idx="52">
                  <c:v>5.7292619616520851E-2</c:v>
                </c:pt>
                <c:pt idx="53">
                  <c:v>5.0024893624807734E-2</c:v>
                </c:pt>
                <c:pt idx="54">
                  <c:v>4.4712082234963334E-2</c:v>
                </c:pt>
                <c:pt idx="55">
                  <c:v>4.8484116279320089E-2</c:v>
                </c:pt>
                <c:pt idx="56">
                  <c:v>3.6743473772465479E-2</c:v>
                </c:pt>
                <c:pt idx="57">
                  <c:v>2.7478683019046598E-2</c:v>
                </c:pt>
                <c:pt idx="58">
                  <c:v>2.747838065682771E-2</c:v>
                </c:pt>
                <c:pt idx="59">
                  <c:v>2.7224245209844754E-2</c:v>
                </c:pt>
                <c:pt idx="60">
                  <c:v>4.6015047500691256E-2</c:v>
                </c:pt>
                <c:pt idx="61">
                  <c:v>4.6686770774562236E-2</c:v>
                </c:pt>
                <c:pt idx="62">
                  <c:v>3.9767110151404952E-2</c:v>
                </c:pt>
                <c:pt idx="63">
                  <c:v>2.9903503356313338E-2</c:v>
                </c:pt>
                <c:pt idx="64">
                  <c:v>3.6845364272536756E-2</c:v>
                </c:pt>
                <c:pt idx="65">
                  <c:v>3.6845056081467646E-2</c:v>
                </c:pt>
                <c:pt idx="66">
                  <c:v>3.6847675705551808E-2</c:v>
                </c:pt>
                <c:pt idx="67">
                  <c:v>4.434665716238257E-2</c:v>
                </c:pt>
                <c:pt idx="68">
                  <c:v>5.332020482367781E-2</c:v>
                </c:pt>
                <c:pt idx="69">
                  <c:v>5.8492947697412347E-2</c:v>
                </c:pt>
                <c:pt idx="70">
                  <c:v>6.4633248433011381E-2</c:v>
                </c:pt>
                <c:pt idx="71">
                  <c:v>6.6497631023059403E-2</c:v>
                </c:pt>
                <c:pt idx="72">
                  <c:v>6.64974772989224E-2</c:v>
                </c:pt>
                <c:pt idx="73">
                  <c:v>6.6497938471332674E-2</c:v>
                </c:pt>
                <c:pt idx="74">
                  <c:v>7.145681217408438E-2</c:v>
                </c:pt>
                <c:pt idx="75">
                  <c:v>7.6945792394424187E-2</c:v>
                </c:pt>
                <c:pt idx="76">
                  <c:v>7.4935300664841692E-2</c:v>
                </c:pt>
                <c:pt idx="77">
                  <c:v>7.06462525980696E-2</c:v>
                </c:pt>
                <c:pt idx="78">
                  <c:v>6.6979863368452186E-2</c:v>
                </c:pt>
                <c:pt idx="79">
                  <c:v>6.6979555214401923E-2</c:v>
                </c:pt>
                <c:pt idx="80">
                  <c:v>6.6979247060349398E-2</c:v>
                </c:pt>
                <c:pt idx="81">
                  <c:v>6.8236338212426084E-2</c:v>
                </c:pt>
                <c:pt idx="82">
                  <c:v>6.7412740338168645E-2</c:v>
                </c:pt>
                <c:pt idx="83">
                  <c:v>6.3178059705916348E-2</c:v>
                </c:pt>
                <c:pt idx="84">
                  <c:v>6.5268970011563135E-2</c:v>
                </c:pt>
                <c:pt idx="85">
                  <c:v>7.6862872707184518E-2</c:v>
                </c:pt>
                <c:pt idx="86">
                  <c:v>7.6862561599223944E-2</c:v>
                </c:pt>
                <c:pt idx="87">
                  <c:v>7.6866606002709406E-2</c:v>
                </c:pt>
                <c:pt idx="88">
                  <c:v>8.173674073554181E-2</c:v>
                </c:pt>
                <c:pt idx="89">
                  <c:v>8.5095233689765168E-2</c:v>
                </c:pt>
                <c:pt idx="90">
                  <c:v>8.5916936794906598E-2</c:v>
                </c:pt>
                <c:pt idx="91">
                  <c:v>9.3315087728361737E-2</c:v>
                </c:pt>
                <c:pt idx="92">
                  <c:v>9.3407479554725517E-2</c:v>
                </c:pt>
                <c:pt idx="93">
                  <c:v>9.3407167420176906E-2</c:v>
                </c:pt>
                <c:pt idx="94">
                  <c:v>9.3406699218354275E-2</c:v>
                </c:pt>
                <c:pt idx="95">
                  <c:v>9.3768640972032385E-2</c:v>
                </c:pt>
                <c:pt idx="96">
                  <c:v>0.10137747285717282</c:v>
                </c:pt>
                <c:pt idx="97">
                  <c:v>9.7236599703677762E-2</c:v>
                </c:pt>
                <c:pt idx="98">
                  <c:v>0.10112383974235911</c:v>
                </c:pt>
                <c:pt idx="99">
                  <c:v>0.10527838420769925</c:v>
                </c:pt>
                <c:pt idx="100">
                  <c:v>0.10527807549840063</c:v>
                </c:pt>
                <c:pt idx="101">
                  <c:v>0.10527992775419165</c:v>
                </c:pt>
                <c:pt idx="102">
                  <c:v>0.10416826119629462</c:v>
                </c:pt>
                <c:pt idx="103">
                  <c:v>0.10462126984618479</c:v>
                </c:pt>
                <c:pt idx="104">
                  <c:v>0.10320992805229508</c:v>
                </c:pt>
                <c:pt idx="105">
                  <c:v>0.10900647548711589</c:v>
                </c:pt>
                <c:pt idx="106">
                  <c:v>0.11363650976838244</c:v>
                </c:pt>
                <c:pt idx="107">
                  <c:v>0.11363635658591903</c:v>
                </c:pt>
                <c:pt idx="108">
                  <c:v>0.1136397266001164</c:v>
                </c:pt>
                <c:pt idx="109">
                  <c:v>0.11056194849163362</c:v>
                </c:pt>
                <c:pt idx="110">
                  <c:v>9.8727839834166678E-2</c:v>
                </c:pt>
                <c:pt idx="111">
                  <c:v>0.10169340321203733</c:v>
                </c:pt>
                <c:pt idx="112">
                  <c:v>0.10366107609178997</c:v>
                </c:pt>
                <c:pt idx="113">
                  <c:v>0.10565728799831021</c:v>
                </c:pt>
                <c:pt idx="114">
                  <c:v>0.10565713570670539</c:v>
                </c:pt>
                <c:pt idx="115">
                  <c:v>0.10565530820747938</c:v>
                </c:pt>
                <c:pt idx="116">
                  <c:v>0.10857201743875436</c:v>
                </c:pt>
                <c:pt idx="117">
                  <c:v>0.1079627640962724</c:v>
                </c:pt>
                <c:pt idx="118">
                  <c:v>0.107800073811064</c:v>
                </c:pt>
                <c:pt idx="119">
                  <c:v>0.10773765881817127</c:v>
                </c:pt>
                <c:pt idx="120">
                  <c:v>0.10578526091507712</c:v>
                </c:pt>
                <c:pt idx="121">
                  <c:v>0.10578449866737998</c:v>
                </c:pt>
                <c:pt idx="122">
                  <c:v>0.10578175457567823</c:v>
                </c:pt>
                <c:pt idx="123">
                  <c:v>0.10571921597271697</c:v>
                </c:pt>
                <c:pt idx="124">
                  <c:v>0.10084508267996568</c:v>
                </c:pt>
                <c:pt idx="125">
                  <c:v>0.10543629135577021</c:v>
                </c:pt>
                <c:pt idx="126">
                  <c:v>0.10544533305472627</c:v>
                </c:pt>
                <c:pt idx="127">
                  <c:v>0.10953817472623768</c:v>
                </c:pt>
                <c:pt idx="128">
                  <c:v>0.10953772133467311</c:v>
                </c:pt>
                <c:pt idx="129">
                  <c:v>0.10954089507562599</c:v>
                </c:pt>
                <c:pt idx="130">
                  <c:v>0.10650342434491307</c:v>
                </c:pt>
                <c:pt idx="131">
                  <c:v>9.2652321862191231E-2</c:v>
                </c:pt>
                <c:pt idx="132">
                  <c:v>8.4887477314303364E-2</c:v>
                </c:pt>
                <c:pt idx="133">
                  <c:v>8.4132380320011177E-2</c:v>
                </c:pt>
                <c:pt idx="134">
                  <c:v>9.2276076935506671E-2</c:v>
                </c:pt>
                <c:pt idx="135">
                  <c:v>9.2275925686532645E-2</c:v>
                </c:pt>
                <c:pt idx="136">
                  <c:v>9.2275623188587022E-2</c:v>
                </c:pt>
                <c:pt idx="137">
                  <c:v>9.4067446556040296E-2</c:v>
                </c:pt>
                <c:pt idx="138">
                  <c:v>9.0681335715602815E-2</c:v>
                </c:pt>
                <c:pt idx="139">
                  <c:v>8.2199137472668299E-2</c:v>
                </c:pt>
                <c:pt idx="140">
                  <c:v>9.0565082198128269E-2</c:v>
                </c:pt>
                <c:pt idx="141">
                  <c:v>9.6399349471201254E-2</c:v>
                </c:pt>
                <c:pt idx="142">
                  <c:v>9.6399048355200842E-2</c:v>
                </c:pt>
                <c:pt idx="143">
                  <c:v>9.6398747239198029E-2</c:v>
                </c:pt>
                <c:pt idx="144">
                  <c:v>9.7637747617229848E-2</c:v>
                </c:pt>
                <c:pt idx="145">
                  <c:v>0.10002936305851846</c:v>
                </c:pt>
                <c:pt idx="146">
                  <c:v>0.10285566292807787</c:v>
                </c:pt>
                <c:pt idx="147">
                  <c:v>0.10627635277955803</c:v>
                </c:pt>
                <c:pt idx="148">
                  <c:v>0.11080245755973721</c:v>
                </c:pt>
                <c:pt idx="149">
                  <c:v>0.11080215625371721</c:v>
                </c:pt>
                <c:pt idx="150">
                  <c:v>0.1108018549476968</c:v>
                </c:pt>
                <c:pt idx="151">
                  <c:v>0.1084822611745011</c:v>
                </c:pt>
                <c:pt idx="152">
                  <c:v>0.10880031458720524</c:v>
                </c:pt>
                <c:pt idx="153">
                  <c:v>0.11223151127231247</c:v>
                </c:pt>
                <c:pt idx="154">
                  <c:v>0.11289387767116281</c:v>
                </c:pt>
                <c:pt idx="155">
                  <c:v>0.11769009515488832</c:v>
                </c:pt>
                <c:pt idx="156">
                  <c:v>0.11768979339480296</c:v>
                </c:pt>
                <c:pt idx="157">
                  <c:v>0.11768934075467087</c:v>
                </c:pt>
                <c:pt idx="158">
                  <c:v>0.11810434306807423</c:v>
                </c:pt>
                <c:pt idx="159">
                  <c:v>0.11892902427143426</c:v>
                </c:pt>
                <c:pt idx="160">
                  <c:v>0.11752893834154449</c:v>
                </c:pt>
                <c:pt idx="161">
                  <c:v>0.12070805205095197</c:v>
                </c:pt>
                <c:pt idx="162">
                  <c:v>0.12712377275465997</c:v>
                </c:pt>
                <c:pt idx="163">
                  <c:v>0.12712346970146585</c:v>
                </c:pt>
                <c:pt idx="164">
                  <c:v>0.12712301512167515</c:v>
                </c:pt>
                <c:pt idx="165">
                  <c:v>0.12876946480111839</c:v>
                </c:pt>
                <c:pt idx="166">
                  <c:v>0.12836526558820041</c:v>
                </c:pt>
                <c:pt idx="167">
                  <c:v>0.12694053958899532</c:v>
                </c:pt>
                <c:pt idx="168">
                  <c:v>0.13412487435647449</c:v>
                </c:pt>
                <c:pt idx="169">
                  <c:v>0.12915611532036664</c:v>
                </c:pt>
                <c:pt idx="170">
                  <c:v>0.12915565096084536</c:v>
                </c:pt>
                <c:pt idx="171">
                  <c:v>0.12915534138783102</c:v>
                </c:pt>
                <c:pt idx="172">
                  <c:v>0.13012687904601067</c:v>
                </c:pt>
                <c:pt idx="173">
                  <c:v>0.13653576300119524</c:v>
                </c:pt>
                <c:pt idx="174">
                  <c:v>0.13429003137573531</c:v>
                </c:pt>
                <c:pt idx="175">
                  <c:v>0.13945922341266964</c:v>
                </c:pt>
                <c:pt idx="176">
                  <c:v>0.14293762842406196</c:v>
                </c:pt>
                <c:pt idx="177">
                  <c:v>0.14293732131633946</c:v>
                </c:pt>
                <c:pt idx="178">
                  <c:v>0.14293701420861679</c:v>
                </c:pt>
                <c:pt idx="179">
                  <c:v>0.14552332021777886</c:v>
                </c:pt>
                <c:pt idx="180">
                  <c:v>0.14839198332708747</c:v>
                </c:pt>
                <c:pt idx="181">
                  <c:v>0.14875898943266022</c:v>
                </c:pt>
                <c:pt idx="182">
                  <c:v>0.1497741324020197</c:v>
                </c:pt>
                <c:pt idx="183">
                  <c:v>0.15666080642226277</c:v>
                </c:pt>
                <c:pt idx="184">
                  <c:v>0.15666049653090725</c:v>
                </c:pt>
                <c:pt idx="185">
                  <c:v>0.156660186639552</c:v>
                </c:pt>
                <c:pt idx="186">
                  <c:v>0.15747863947975291</c:v>
                </c:pt>
                <c:pt idx="187">
                  <c:v>0.15693155995974337</c:v>
                </c:pt>
                <c:pt idx="188">
                  <c:v>0.16091352207570522</c:v>
                </c:pt>
                <c:pt idx="189">
                  <c:v>0.14702000277323976</c:v>
                </c:pt>
                <c:pt idx="190">
                  <c:v>0.15348379623590888</c:v>
                </c:pt>
                <c:pt idx="191">
                  <c:v>0.15348348688252769</c:v>
                </c:pt>
                <c:pt idx="192">
                  <c:v>0.15348317752914384</c:v>
                </c:pt>
                <c:pt idx="193">
                  <c:v>0.15986703839530975</c:v>
                </c:pt>
                <c:pt idx="194">
                  <c:v>0.16314070342414935</c:v>
                </c:pt>
                <c:pt idx="195">
                  <c:v>0.16307180719185069</c:v>
                </c:pt>
                <c:pt idx="196">
                  <c:v>0.15830528937272817</c:v>
                </c:pt>
                <c:pt idx="197">
                  <c:v>0.15348985278008812</c:v>
                </c:pt>
                <c:pt idx="198">
                  <c:v>0.15348954193864559</c:v>
                </c:pt>
                <c:pt idx="199">
                  <c:v>0.1534892310972002</c:v>
                </c:pt>
                <c:pt idx="200">
                  <c:v>0.13669039907494679</c:v>
                </c:pt>
                <c:pt idx="201">
                  <c:v>0.14391043421567673</c:v>
                </c:pt>
                <c:pt idx="202">
                  <c:v>0.15385062046638168</c:v>
                </c:pt>
                <c:pt idx="203">
                  <c:v>0.15890352109092803</c:v>
                </c:pt>
                <c:pt idx="204">
                  <c:v>0.16793108568346682</c:v>
                </c:pt>
                <c:pt idx="205">
                  <c:v>0.16793092961989659</c:v>
                </c:pt>
                <c:pt idx="206">
                  <c:v>0.16793061749275126</c:v>
                </c:pt>
                <c:pt idx="207">
                  <c:v>0.1664874351283514</c:v>
                </c:pt>
                <c:pt idx="208">
                  <c:v>0.16056347632775528</c:v>
                </c:pt>
                <c:pt idx="209">
                  <c:v>0.16299416536088246</c:v>
                </c:pt>
                <c:pt idx="210">
                  <c:v>0.16447490500728962</c:v>
                </c:pt>
                <c:pt idx="211">
                  <c:v>0.16172955213511386</c:v>
                </c:pt>
                <c:pt idx="212">
                  <c:v>0.16173202893639327</c:v>
                </c:pt>
                <c:pt idx="213">
                  <c:v>0.16173094533583465</c:v>
                </c:pt>
                <c:pt idx="214">
                  <c:v>0.16284945726213579</c:v>
                </c:pt>
                <c:pt idx="215">
                  <c:v>0.16672524585454254</c:v>
                </c:pt>
                <c:pt idx="216">
                  <c:v>0.16914861240512735</c:v>
                </c:pt>
                <c:pt idx="217">
                  <c:v>0.17373716294622341</c:v>
                </c:pt>
                <c:pt idx="218">
                  <c:v>0.17853614571477336</c:v>
                </c:pt>
                <c:pt idx="219">
                  <c:v>0.17853598965737022</c:v>
                </c:pt>
                <c:pt idx="220">
                  <c:v>0.178536613886983</c:v>
                </c:pt>
                <c:pt idx="221">
                  <c:v>0.17988716793469992</c:v>
                </c:pt>
                <c:pt idx="222">
                  <c:v>0.18381780364099612</c:v>
                </c:pt>
                <c:pt idx="223">
                  <c:v>0.18576372248248446</c:v>
                </c:pt>
                <c:pt idx="224">
                  <c:v>0.18719651415465449</c:v>
                </c:pt>
                <c:pt idx="225">
                  <c:v>0.18592637526145395</c:v>
                </c:pt>
                <c:pt idx="226">
                  <c:v>0.18592621963960768</c:v>
                </c:pt>
                <c:pt idx="227">
                  <c:v>0.18592466342117334</c:v>
                </c:pt>
                <c:pt idx="228">
                  <c:v>0.1835570220922432</c:v>
                </c:pt>
                <c:pt idx="229">
                  <c:v>0.18292501928892207</c:v>
                </c:pt>
                <c:pt idx="230">
                  <c:v>0.17966517149424305</c:v>
                </c:pt>
                <c:pt idx="231">
                  <c:v>0.17267750342454974</c:v>
                </c:pt>
                <c:pt idx="232">
                  <c:v>0.17636384549087863</c:v>
                </c:pt>
                <c:pt idx="233">
                  <c:v>0.17636353123405699</c:v>
                </c:pt>
                <c:pt idx="234">
                  <c:v>0.17636353123405699</c:v>
                </c:pt>
                <c:pt idx="235">
                  <c:v>0.18283444254895456</c:v>
                </c:pt>
                <c:pt idx="236">
                  <c:v>0.18688011752774997</c:v>
                </c:pt>
                <c:pt idx="237">
                  <c:v>0.18930436085474625</c:v>
                </c:pt>
                <c:pt idx="238">
                  <c:v>0.18543666471913128</c:v>
                </c:pt>
                <c:pt idx="239">
                  <c:v>0.18786480844104503</c:v>
                </c:pt>
                <c:pt idx="240">
                  <c:v>0.18786465273282743</c:v>
                </c:pt>
                <c:pt idx="241">
                  <c:v>0.18786480844104503</c:v>
                </c:pt>
                <c:pt idx="242">
                  <c:v>0.19044653616547977</c:v>
                </c:pt>
                <c:pt idx="243">
                  <c:v>0.19122910022145945</c:v>
                </c:pt>
                <c:pt idx="244">
                  <c:v>0.19123785439066451</c:v>
                </c:pt>
                <c:pt idx="245">
                  <c:v>0.19349011250312587</c:v>
                </c:pt>
                <c:pt idx="246">
                  <c:v>0.19319670602134437</c:v>
                </c:pt>
                <c:pt idx="247">
                  <c:v>0.19319577933079984</c:v>
                </c:pt>
                <c:pt idx="248">
                  <c:v>0.19319531598552758</c:v>
                </c:pt>
                <c:pt idx="249">
                  <c:v>0.1958010539478508</c:v>
                </c:pt>
                <c:pt idx="250">
                  <c:v>0.19495556707603967</c:v>
                </c:pt>
                <c:pt idx="251">
                  <c:v>0.19213839547073192</c:v>
                </c:pt>
                <c:pt idx="252">
                  <c:v>0.18898577834085017</c:v>
                </c:pt>
                <c:pt idx="253">
                  <c:v>0.18434083447542335</c:v>
                </c:pt>
                <c:pt idx="254">
                  <c:v>0.1843414546973976</c:v>
                </c:pt>
                <c:pt idx="255">
                  <c:v>0.18434005919796134</c:v>
                </c:pt>
                <c:pt idx="256">
                  <c:v>0.18547477819092278</c:v>
                </c:pt>
                <c:pt idx="257">
                  <c:v>0.18203121238248543</c:v>
                </c:pt>
                <c:pt idx="258">
                  <c:v>0.18190899119965678</c:v>
                </c:pt>
                <c:pt idx="259">
                  <c:v>0.18522025411378507</c:v>
                </c:pt>
                <c:pt idx="260">
                  <c:v>0.1814293831300742</c:v>
                </c:pt>
                <c:pt idx="261">
                  <c:v>0.18142907043781206</c:v>
                </c:pt>
                <c:pt idx="262">
                  <c:v>0.1814281323610257</c:v>
                </c:pt>
                <c:pt idx="263">
                  <c:v>0.16586477215646808</c:v>
                </c:pt>
                <c:pt idx="264">
                  <c:v>0.1656844680608171</c:v>
                </c:pt>
                <c:pt idx="265">
                  <c:v>0.17109470652046355</c:v>
                </c:pt>
                <c:pt idx="266">
                  <c:v>0.18135931364475624</c:v>
                </c:pt>
                <c:pt idx="267">
                  <c:v>0.18186394139538151</c:v>
                </c:pt>
                <c:pt idx="268">
                  <c:v>0.18186362808370946</c:v>
                </c:pt>
                <c:pt idx="269">
                  <c:v>0.18186378473954676</c:v>
                </c:pt>
                <c:pt idx="270">
                  <c:v>0.18170656065617449</c:v>
                </c:pt>
                <c:pt idx="271">
                  <c:v>0.16508135201747337</c:v>
                </c:pt>
                <c:pt idx="272">
                  <c:v>0.16417759509894295</c:v>
                </c:pt>
                <c:pt idx="273">
                  <c:v>0.1621767671349359</c:v>
                </c:pt>
                <c:pt idx="274">
                  <c:v>0.1608364261365591</c:v>
                </c:pt>
                <c:pt idx="275">
                  <c:v>0.16083610961186651</c:v>
                </c:pt>
                <c:pt idx="276">
                  <c:v>0.16083547656248157</c:v>
                </c:pt>
                <c:pt idx="277">
                  <c:v>0.15277103087060653</c:v>
                </c:pt>
                <c:pt idx="278">
                  <c:v>0.15831086934937802</c:v>
                </c:pt>
                <c:pt idx="279">
                  <c:v>0.16007188857812651</c:v>
                </c:pt>
                <c:pt idx="280">
                  <c:v>0.17288391327696459</c:v>
                </c:pt>
                <c:pt idx="281">
                  <c:v>0.1726141034069795</c:v>
                </c:pt>
                <c:pt idx="282">
                  <c:v>0.17261378610000719</c:v>
                </c:pt>
                <c:pt idx="283">
                  <c:v>0.17261346879303502</c:v>
                </c:pt>
                <c:pt idx="284">
                  <c:v>0.17024021378032914</c:v>
                </c:pt>
                <c:pt idx="285">
                  <c:v>0.16823062744082606</c:v>
                </c:pt>
                <c:pt idx="286">
                  <c:v>0.17015122172440569</c:v>
                </c:pt>
                <c:pt idx="287">
                  <c:v>0.18215831481316441</c:v>
                </c:pt>
                <c:pt idx="288">
                  <c:v>0.19203690912425841</c:v>
                </c:pt>
                <c:pt idx="289">
                  <c:v>0.19203659270567969</c:v>
                </c:pt>
                <c:pt idx="290">
                  <c:v>0.19203817479857407</c:v>
                </c:pt>
                <c:pt idx="291">
                  <c:v>0.1935743812428703</c:v>
                </c:pt>
                <c:pt idx="292">
                  <c:v>0.19730660400806913</c:v>
                </c:pt>
                <c:pt idx="293">
                  <c:v>0.20186908209481658</c:v>
                </c:pt>
                <c:pt idx="294">
                  <c:v>0.202951591259729</c:v>
                </c:pt>
                <c:pt idx="295">
                  <c:v>0.20476048217810416</c:v>
                </c:pt>
                <c:pt idx="296">
                  <c:v>0.20476016686754916</c:v>
                </c:pt>
                <c:pt idx="297">
                  <c:v>0.20476048217810416</c:v>
                </c:pt>
                <c:pt idx="298">
                  <c:v>0.20872657798179375</c:v>
                </c:pt>
                <c:pt idx="299">
                  <c:v>0.2133874083334257</c:v>
                </c:pt>
                <c:pt idx="300">
                  <c:v>0.20923988794669299</c:v>
                </c:pt>
                <c:pt idx="301">
                  <c:v>0.20828506385908782</c:v>
                </c:pt>
                <c:pt idx="302">
                  <c:v>0.21513751880704035</c:v>
                </c:pt>
                <c:pt idx="303">
                  <c:v>0.21513624971734616</c:v>
                </c:pt>
                <c:pt idx="304">
                  <c:v>0.21541275263452023</c:v>
                </c:pt>
                <c:pt idx="305">
                  <c:v>0.21783891682718548</c:v>
                </c:pt>
                <c:pt idx="306">
                  <c:v>0.22307975193720181</c:v>
                </c:pt>
                <c:pt idx="307">
                  <c:v>0.22674128101091326</c:v>
                </c:pt>
                <c:pt idx="308">
                  <c:v>0.23507044667216376</c:v>
                </c:pt>
                <c:pt idx="309">
                  <c:v>0.23880843793972573</c:v>
                </c:pt>
                <c:pt idx="310">
                  <c:v>0.23880827909375696</c:v>
                </c:pt>
                <c:pt idx="311">
                  <c:v>0.23880796140181418</c:v>
                </c:pt>
                <c:pt idx="312">
                  <c:v>0.23856975083813878</c:v>
                </c:pt>
                <c:pt idx="313">
                  <c:v>0.23659929156188525</c:v>
                </c:pt>
                <c:pt idx="314">
                  <c:v>0.23576356801987303</c:v>
                </c:pt>
                <c:pt idx="315">
                  <c:v>0.2394856854077787</c:v>
                </c:pt>
                <c:pt idx="316">
                  <c:v>0.24762076176950346</c:v>
                </c:pt>
                <c:pt idx="317">
                  <c:v>0.24762060140339229</c:v>
                </c:pt>
                <c:pt idx="318">
                  <c:v>0.24762124286783702</c:v>
                </c:pt>
                <c:pt idx="319">
                  <c:v>0.2529253125531315</c:v>
                </c:pt>
                <c:pt idx="320">
                  <c:v>0.26020777375219195</c:v>
                </c:pt>
                <c:pt idx="321">
                  <c:v>0.26210969223864139</c:v>
                </c:pt>
                <c:pt idx="322">
                  <c:v>0.25753150891644738</c:v>
                </c:pt>
                <c:pt idx="323">
                  <c:v>0.25847050112812681</c:v>
                </c:pt>
                <c:pt idx="324">
                  <c:v>0.25847033898275851</c:v>
                </c:pt>
                <c:pt idx="325">
                  <c:v>0.25846952825593023</c:v>
                </c:pt>
                <c:pt idx="326">
                  <c:v>0.25991697598453017</c:v>
                </c:pt>
                <c:pt idx="327">
                  <c:v>0.25225419123611331</c:v>
                </c:pt>
                <c:pt idx="328">
                  <c:v>0.255094836252794</c:v>
                </c:pt>
                <c:pt idx="329">
                  <c:v>0.2564156915070292</c:v>
                </c:pt>
                <c:pt idx="330">
                  <c:v>0.22716402472876027</c:v>
                </c:pt>
                <c:pt idx="331">
                  <c:v>0.22714910474422823</c:v>
                </c:pt>
                <c:pt idx="332">
                  <c:v>0.22714894257048329</c:v>
                </c:pt>
                <c:pt idx="333">
                  <c:v>0.23036826210195244</c:v>
                </c:pt>
                <c:pt idx="334">
                  <c:v>0.21714319410941088</c:v>
                </c:pt>
                <c:pt idx="335">
                  <c:v>0.21023790726802402</c:v>
                </c:pt>
                <c:pt idx="336">
                  <c:v>0.21107356932704463</c:v>
                </c:pt>
                <c:pt idx="337">
                  <c:v>0.20919840289367714</c:v>
                </c:pt>
                <c:pt idx="338">
                  <c:v>0.20919807752700009</c:v>
                </c:pt>
                <c:pt idx="339">
                  <c:v>0.20919693874363943</c:v>
                </c:pt>
                <c:pt idx="340">
                  <c:v>0.21606579168879533</c:v>
                </c:pt>
                <c:pt idx="341">
                  <c:v>0.24101666017128637</c:v>
                </c:pt>
                <c:pt idx="342">
                  <c:v>0.24011327338211813</c:v>
                </c:pt>
                <c:pt idx="343">
                  <c:v>0.24025465765448659</c:v>
                </c:pt>
                <c:pt idx="344">
                  <c:v>0.23983011470189353</c:v>
                </c:pt>
                <c:pt idx="345">
                  <c:v>0.23982979004346333</c:v>
                </c:pt>
                <c:pt idx="346">
                  <c:v>0.23982946538503838</c:v>
                </c:pt>
                <c:pt idx="347">
                  <c:v>0.23667589418852303</c:v>
                </c:pt>
                <c:pt idx="348">
                  <c:v>0.22759235364010053</c:v>
                </c:pt>
                <c:pt idx="349">
                  <c:v>0.23303861570629919</c:v>
                </c:pt>
                <c:pt idx="350">
                  <c:v>0.23567425249127807</c:v>
                </c:pt>
                <c:pt idx="351">
                  <c:v>0.22809478492444968</c:v>
                </c:pt>
                <c:pt idx="352">
                  <c:v>0.22809445938996517</c:v>
                </c:pt>
                <c:pt idx="353">
                  <c:v>0.22809429662272662</c:v>
                </c:pt>
                <c:pt idx="354">
                  <c:v>0.21180534374681456</c:v>
                </c:pt>
                <c:pt idx="355">
                  <c:v>0.22497775015216306</c:v>
                </c:pt>
                <c:pt idx="356">
                  <c:v>0.23299280821844776</c:v>
                </c:pt>
                <c:pt idx="357">
                  <c:v>0.2439084058568757</c:v>
                </c:pt>
                <c:pt idx="358">
                  <c:v>0.2437605553762259</c:v>
                </c:pt>
                <c:pt idx="359">
                  <c:v>0.24376039340113806</c:v>
                </c:pt>
                <c:pt idx="360">
                  <c:v>0.24375958352568675</c:v>
                </c:pt>
                <c:pt idx="361">
                  <c:v>0.25037256974257033</c:v>
                </c:pt>
                <c:pt idx="362">
                  <c:v>0.2554241682131479</c:v>
                </c:pt>
                <c:pt idx="363">
                  <c:v>0.25518218147415767</c:v>
                </c:pt>
                <c:pt idx="364">
                  <c:v>0.25701366042365875</c:v>
                </c:pt>
                <c:pt idx="365">
                  <c:v>0.25353007505593822</c:v>
                </c:pt>
                <c:pt idx="366">
                  <c:v>0.25352991365830363</c:v>
                </c:pt>
                <c:pt idx="367">
                  <c:v>0.25352894527249603</c:v>
                </c:pt>
                <c:pt idx="368">
                  <c:v>0.25799756346897595</c:v>
                </c:pt>
                <c:pt idx="369">
                  <c:v>0.26252529996869112</c:v>
                </c:pt>
                <c:pt idx="370">
                  <c:v>0.2507700301153224</c:v>
                </c:pt>
                <c:pt idx="371">
                  <c:v>0.2423275511830883</c:v>
                </c:pt>
                <c:pt idx="372">
                  <c:v>0.2333455083661474</c:v>
                </c:pt>
                <c:pt idx="373">
                  <c:v>0.23334518487744035</c:v>
                </c:pt>
                <c:pt idx="374">
                  <c:v>0.23333709765970126</c:v>
                </c:pt>
                <c:pt idx="375">
                  <c:v>0.22718603435903348</c:v>
                </c:pt>
                <c:pt idx="376">
                  <c:v>0.23331190137962338</c:v>
                </c:pt>
                <c:pt idx="377">
                  <c:v>0.23647780226590753</c:v>
                </c:pt>
                <c:pt idx="378">
                  <c:v>0.22782107147983638</c:v>
                </c:pt>
                <c:pt idx="379">
                  <c:v>0.22084978009454459</c:v>
                </c:pt>
                <c:pt idx="380">
                  <c:v>0.22084961948659299</c:v>
                </c:pt>
                <c:pt idx="381">
                  <c:v>0.2208476921911742</c:v>
                </c:pt>
                <c:pt idx="382">
                  <c:v>0.22321514099908568</c:v>
                </c:pt>
                <c:pt idx="383">
                  <c:v>0.21405861016973149</c:v>
                </c:pt>
                <c:pt idx="384">
                  <c:v>0.20734242833379496</c:v>
                </c:pt>
                <c:pt idx="385">
                  <c:v>0.20459339095863358</c:v>
                </c:pt>
                <c:pt idx="386">
                  <c:v>0.1861659371960917</c:v>
                </c:pt>
                <c:pt idx="387">
                  <c:v>0.18616528967576557</c:v>
                </c:pt>
                <c:pt idx="388">
                  <c:v>0.18616496591559994</c:v>
                </c:pt>
                <c:pt idx="389">
                  <c:v>0.17048330454552257</c:v>
                </c:pt>
                <c:pt idx="390">
                  <c:v>0.16490012670847023</c:v>
                </c:pt>
                <c:pt idx="391">
                  <c:v>0.16855303810228178</c:v>
                </c:pt>
                <c:pt idx="392">
                  <c:v>0.17176936539526835</c:v>
                </c:pt>
                <c:pt idx="393">
                  <c:v>0.17480909631103941</c:v>
                </c:pt>
                <c:pt idx="394">
                  <c:v>0.17480893179909246</c:v>
                </c:pt>
                <c:pt idx="395">
                  <c:v>0.17480827375130431</c:v>
                </c:pt>
                <c:pt idx="396">
                  <c:v>0.1906851924003321</c:v>
                </c:pt>
                <c:pt idx="397">
                  <c:v>0.19934611831817065</c:v>
                </c:pt>
                <c:pt idx="398">
                  <c:v>0.20478899097358266</c:v>
                </c:pt>
                <c:pt idx="399">
                  <c:v>0.18295623012548221</c:v>
                </c:pt>
                <c:pt idx="400">
                  <c:v>0.1733550659131933</c:v>
                </c:pt>
                <c:pt idx="401">
                  <c:v>0.17336261094938421</c:v>
                </c:pt>
                <c:pt idx="402">
                  <c:v>0.17336052402448018</c:v>
                </c:pt>
                <c:pt idx="403">
                  <c:v>0.1742925188179909</c:v>
                </c:pt>
                <c:pt idx="404">
                  <c:v>0.17902078495969279</c:v>
                </c:pt>
                <c:pt idx="405">
                  <c:v>0.19499277902473053</c:v>
                </c:pt>
                <c:pt idx="406">
                  <c:v>0.18866996037638345</c:v>
                </c:pt>
                <c:pt idx="407">
                  <c:v>0.17850172518447366</c:v>
                </c:pt>
                <c:pt idx="408">
                  <c:v>0.17850140319122615</c:v>
                </c:pt>
                <c:pt idx="409">
                  <c:v>0.17849947123174231</c:v>
                </c:pt>
                <c:pt idx="410">
                  <c:v>0.17002367618531777</c:v>
                </c:pt>
                <c:pt idx="411">
                  <c:v>0.17810477413505338</c:v>
                </c:pt>
                <c:pt idx="412">
                  <c:v>0.18066960109701896</c:v>
                </c:pt>
                <c:pt idx="413">
                  <c:v>0.16968056859106029</c:v>
                </c:pt>
                <c:pt idx="414">
                  <c:v>0.16061782934315461</c:v>
                </c:pt>
                <c:pt idx="415">
                  <c:v>0.16061750566936311</c:v>
                </c:pt>
                <c:pt idx="416">
                  <c:v>0.16061556362661406</c:v>
                </c:pt>
                <c:pt idx="417">
                  <c:v>0.15556502588663476</c:v>
                </c:pt>
                <c:pt idx="418">
                  <c:v>0.14728328759986284</c:v>
                </c:pt>
                <c:pt idx="419">
                  <c:v>0.1379066536530584</c:v>
                </c:pt>
                <c:pt idx="420">
                  <c:v>0.13709963619648605</c:v>
                </c:pt>
                <c:pt idx="421">
                  <c:v>0.15333556519344868</c:v>
                </c:pt>
                <c:pt idx="422">
                  <c:v>0.15333540188453454</c:v>
                </c:pt>
                <c:pt idx="423">
                  <c:v>0.1533388313717336</c:v>
                </c:pt>
                <c:pt idx="424">
                  <c:v>0.15839287057481655</c:v>
                </c:pt>
                <c:pt idx="425">
                  <c:v>0.15381792497147218</c:v>
                </c:pt>
                <c:pt idx="426">
                  <c:v>0.16328611273673174</c:v>
                </c:pt>
                <c:pt idx="427">
                  <c:v>0.16151934890710337</c:v>
                </c:pt>
                <c:pt idx="428" formatCode="0.0%">
                  <c:v>0.1530457273434753</c:v>
                </c:pt>
                <c:pt idx="429" formatCode="0.0%">
                  <c:v>0.15304539104956491</c:v>
                </c:pt>
                <c:pt idx="430" formatCode="0.0%">
                  <c:v>0.15304185996347455</c:v>
                </c:pt>
                <c:pt idx="431" formatCode="0.0%">
                  <c:v>0.13412792351999697</c:v>
                </c:pt>
                <c:pt idx="432" formatCode="0.0%">
                  <c:v>0.12167345197073473</c:v>
                </c:pt>
                <c:pt idx="433" formatCode="0.0%">
                  <c:v>0.1315065450540247</c:v>
                </c:pt>
                <c:pt idx="434" formatCode="0.0%">
                  <c:v>0.13293306459361845</c:v>
                </c:pt>
                <c:pt idx="435" formatCode="0.0%">
                  <c:v>0.13294515793989434</c:v>
                </c:pt>
                <c:pt idx="436" formatCode="0.0%">
                  <c:v>0.13294482313157488</c:v>
                </c:pt>
                <c:pt idx="437" formatCode="0.0%">
                  <c:v>0.13294465572741387</c:v>
                </c:pt>
                <c:pt idx="438" formatCode="0.0%">
                  <c:v>0.12638067737139408</c:v>
                </c:pt>
                <c:pt idx="439" formatCode="0.0%">
                  <c:v>0.13142268993790482</c:v>
                </c:pt>
                <c:pt idx="440" formatCode="0.0%">
                  <c:v>0.15714550158413984</c:v>
                </c:pt>
                <c:pt idx="441" formatCode="0.0%">
                  <c:v>0.16361274328404662</c:v>
                </c:pt>
                <c:pt idx="442" formatCode="0.0%">
                  <c:v>0.17755161387571733</c:v>
                </c:pt>
                <c:pt idx="443" formatCode="0.0%">
                  <c:v>0.17755128147346341</c:v>
                </c:pt>
                <c:pt idx="444" formatCode="0.0%">
                  <c:v>0.17755360828925659</c:v>
                </c:pt>
                <c:pt idx="445" formatCode="0.0%">
                  <c:v>0.18352428827549772</c:v>
                </c:pt>
                <c:pt idx="446" formatCode="0.0%">
                  <c:v>0.19446458569438094</c:v>
                </c:pt>
                <c:pt idx="447" formatCode="0.0%">
                  <c:v>0.19044129125873455</c:v>
                </c:pt>
                <c:pt idx="448" formatCode="0.0%">
                  <c:v>0.19295536627951562</c:v>
                </c:pt>
                <c:pt idx="449" formatCode="0.0%">
                  <c:v>0.1974440298475153</c:v>
                </c:pt>
                <c:pt idx="450" formatCode="0.0%">
                  <c:v>0.19744369560924824</c:v>
                </c:pt>
                <c:pt idx="451" formatCode="0.0%">
                  <c:v>0.19744469832405429</c:v>
                </c:pt>
                <c:pt idx="452" formatCode="0.0%">
                  <c:v>0.20158567126880669</c:v>
                </c:pt>
                <c:pt idx="453" formatCode="0.0%">
                  <c:v>0.20767924237039126</c:v>
                </c:pt>
                <c:pt idx="454" formatCode="0.0%">
                  <c:v>0.20251464122596446</c:v>
                </c:pt>
                <c:pt idx="455" formatCode="0.0%">
                  <c:v>0.19404865097263468</c:v>
                </c:pt>
                <c:pt idx="456" formatCode="0.0%">
                  <c:v>0.19836594879047653</c:v>
                </c:pt>
                <c:pt idx="457" formatCode="0.0%">
                  <c:v>0.19837043931921158</c:v>
                </c:pt>
                <c:pt idx="458" formatCode="0.0%">
                  <c:v>0.1983701066874535</c:v>
                </c:pt>
                <c:pt idx="459" formatCode="0.0%">
                  <c:v>0.20925862310577587</c:v>
                </c:pt>
                <c:pt idx="460" formatCode="0.0%">
                  <c:v>0.21015365317196655</c:v>
                </c:pt>
                <c:pt idx="461" formatCode="0.0%">
                  <c:v>0.19644594318720179</c:v>
                </c:pt>
                <c:pt idx="462" formatCode="0.0%">
                  <c:v>0.19452796564413205</c:v>
                </c:pt>
                <c:pt idx="463" formatCode="0.0%">
                  <c:v>0.19909264099177421</c:v>
                </c:pt>
                <c:pt idx="464" formatCode="0.0%">
                  <c:v>0.19909230342449719</c:v>
                </c:pt>
                <c:pt idx="465" formatCode="0.0%">
                  <c:v>0.19909196585722028</c:v>
                </c:pt>
                <c:pt idx="466" formatCode="0.0%">
                  <c:v>0.18710958728884391</c:v>
                </c:pt>
                <c:pt idx="467" formatCode="0.0%">
                  <c:v>0.1830507662521535</c:v>
                </c:pt>
                <c:pt idx="468" formatCode="0.0%">
                  <c:v>0.18776466993786939</c:v>
                </c:pt>
                <c:pt idx="469" formatCode="0.0%">
                  <c:v>0.19084099044944722</c:v>
                </c:pt>
                <c:pt idx="470" formatCode="0.0%">
                  <c:v>0.19083451717103769</c:v>
                </c:pt>
                <c:pt idx="471" formatCode="0.0%">
                  <c:v>0.19083417647217416</c:v>
                </c:pt>
                <c:pt idx="472" formatCode="0.0%">
                  <c:v>0.19083400612274473</c:v>
                </c:pt>
                <c:pt idx="473" formatCode="0.0%">
                  <c:v>0.18894209164666903</c:v>
                </c:pt>
                <c:pt idx="474" formatCode="0.0%">
                  <c:v>0.19124626676161441</c:v>
                </c:pt>
                <c:pt idx="475" formatCode="0.0%">
                  <c:v>0.19279161140906864</c:v>
                </c:pt>
                <c:pt idx="476" formatCode="0.0%">
                  <c:v>0.18790396808365428</c:v>
                </c:pt>
                <c:pt idx="477" formatCode="0.0%">
                  <c:v>0.16845914595223149</c:v>
                </c:pt>
                <c:pt idx="478" formatCode="0.0%">
                  <c:v>0.16845880517933495</c:v>
                </c:pt>
                <c:pt idx="479" formatCode="0.0%">
                  <c:v>0.16845846440643869</c:v>
                </c:pt>
                <c:pt idx="480" formatCode="0.0%">
                  <c:v>0.16018925487988242</c:v>
                </c:pt>
                <c:pt idx="481" formatCode="0.0%">
                  <c:v>0.15119165386277275</c:v>
                </c:pt>
                <c:pt idx="482" formatCode="0.0%">
                  <c:v>0.15727023307178342</c:v>
                </c:pt>
                <c:pt idx="483" formatCode="0.0%">
                  <c:v>0.17087815612395033</c:v>
                </c:pt>
                <c:pt idx="484" formatCode="0.0%">
                  <c:v>0.16257145509104645</c:v>
                </c:pt>
                <c:pt idx="485" formatCode="0.0%">
                  <c:v>0.16169009890317071</c:v>
                </c:pt>
                <c:pt idx="486" formatCode="0.0%">
                  <c:v>0.16168835881198035</c:v>
                </c:pt>
                <c:pt idx="487" formatCode="0.0%">
                  <c:v>0.15738015487016541</c:v>
                </c:pt>
                <c:pt idx="488" formatCode="0.0%">
                  <c:v>0.15758853114062304</c:v>
                </c:pt>
                <c:pt idx="489" formatCode="0.0%">
                  <c:v>0.16515109046890999</c:v>
                </c:pt>
                <c:pt idx="490" formatCode="0.0%">
                  <c:v>0.15267965821160345</c:v>
                </c:pt>
                <c:pt idx="491" formatCode="0.0%">
                  <c:v>0.13307284928408167</c:v>
                </c:pt>
                <c:pt idx="492" formatCode="0.0%">
                  <c:v>0.1330725023393188</c:v>
                </c:pt>
                <c:pt idx="493" formatCode="0.0%">
                  <c:v>0.13307215539455627</c:v>
                </c:pt>
                <c:pt idx="494" formatCode="0.0%">
                  <c:v>0.11469463066057699</c:v>
                </c:pt>
                <c:pt idx="495" formatCode="0.0%">
                  <c:v>0.10351970976003486</c:v>
                </c:pt>
                <c:pt idx="496" formatCode="0.0%">
                  <c:v>9.9947383434611792E-2</c:v>
                </c:pt>
                <c:pt idx="497" formatCode="0.0%">
                  <c:v>0.10205686678852445</c:v>
                </c:pt>
                <c:pt idx="498" formatCode="0.0%">
                  <c:v>0.12162237504660724</c:v>
                </c:pt>
                <c:pt idx="499" formatCode="0.0%">
                  <c:v>0.12162202171528563</c:v>
                </c:pt>
                <c:pt idx="500" formatCode="0.0%">
                  <c:v>0.12162166838396146</c:v>
                </c:pt>
                <c:pt idx="501" formatCode="0.0%">
                  <c:v>0.12485664888667429</c:v>
                </c:pt>
                <c:pt idx="502" formatCode="0.0%">
                  <c:v>0.13079530360171845</c:v>
                </c:pt>
                <c:pt idx="503" formatCode="0.0%">
                  <c:v>0.1163178564376291</c:v>
                </c:pt>
                <c:pt idx="504" formatCode="0.0%">
                  <c:v>9.8336968050817861E-2</c:v>
                </c:pt>
                <c:pt idx="505" formatCode="0.0%">
                  <c:v>0.10254364721573977</c:v>
                </c:pt>
                <c:pt idx="506" formatCode="0.0%">
                  <c:v>0.10254329939739022</c:v>
                </c:pt>
                <c:pt idx="507" formatCode="0.0%">
                  <c:v>0.10254295157904053</c:v>
                </c:pt>
                <c:pt idx="508" formatCode="0.0%">
                  <c:v>0.10614079426650676</c:v>
                </c:pt>
                <c:pt idx="509" formatCode="0.0%">
                  <c:v>9.5281594959490692E-2</c:v>
                </c:pt>
                <c:pt idx="510" formatCode="0.0%">
                  <c:v>0.10293831052016515</c:v>
                </c:pt>
                <c:pt idx="511" formatCode="0.0%">
                  <c:v>0.10625524228482802</c:v>
                </c:pt>
                <c:pt idx="512" formatCode="0.0%">
                  <c:v>0.13082964469977582</c:v>
                </c:pt>
                <c:pt idx="513" formatCode="0.0%">
                  <c:v>0.13082930191319037</c:v>
                </c:pt>
                <c:pt idx="514" formatCode="0.0%">
                  <c:v>0.130837700184599</c:v>
                </c:pt>
                <c:pt idx="515" formatCode="0.0%">
                  <c:v>0.13744101542881368</c:v>
                </c:pt>
                <c:pt idx="516" formatCode="0.0%">
                  <c:v>0.13861847611463915</c:v>
                </c:pt>
                <c:pt idx="517" formatCode="0.0%">
                  <c:v>0.13454415232833355</c:v>
                </c:pt>
                <c:pt idx="518" formatCode="0.0%">
                  <c:v>0.13801217747478772</c:v>
                </c:pt>
                <c:pt idx="519" formatCode="0.0%">
                  <c:v>0.13395267746001038</c:v>
                </c:pt>
                <c:pt idx="520" formatCode="0.0%">
                  <c:v>0.13394069245330556</c:v>
                </c:pt>
                <c:pt idx="521" formatCode="0.0%">
                  <c:v>0.13394052123892394</c:v>
                </c:pt>
                <c:pt idx="522" formatCode="0.0%">
                  <c:v>0.13527981862185043</c:v>
                </c:pt>
                <c:pt idx="523" formatCode="0.0%">
                  <c:v>0.14012015420482427</c:v>
                </c:pt>
                <c:pt idx="524" formatCode="0.0%">
                  <c:v>0.13531062609326411</c:v>
                </c:pt>
                <c:pt idx="525" formatCode="0.0%">
                  <c:v>0.1252142398867464</c:v>
                </c:pt>
                <c:pt idx="526" formatCode="0.0%">
                  <c:v>0.1048835765010982</c:v>
                </c:pt>
                <c:pt idx="527" formatCode="0.0%">
                  <c:v>0.10484540040867812</c:v>
                </c:pt>
                <c:pt idx="528" formatCode="0.0%">
                  <c:v>0.10484505176856458</c:v>
                </c:pt>
                <c:pt idx="529" formatCode="0.0%">
                  <c:v>7.7997016192738328E-2</c:v>
                </c:pt>
                <c:pt idx="530" formatCode="0.0%">
                  <c:v>6.6710028565462098E-2</c:v>
                </c:pt>
                <c:pt idx="531" formatCode="0.0%">
                  <c:v>7.3404998985179895E-2</c:v>
                </c:pt>
                <c:pt idx="532" formatCode="0.0%">
                  <c:v>5.1471704349433198E-2</c:v>
                </c:pt>
                <c:pt idx="533" formatCode="0.0%">
                  <c:v>4.7210264458241939E-2</c:v>
                </c:pt>
                <c:pt idx="534" formatCode="0.0%">
                  <c:v>4.7210088917880595E-2</c:v>
                </c:pt>
                <c:pt idx="535" formatCode="0.0%">
                  <c:v>4.7209913377514283E-2</c:v>
                </c:pt>
                <c:pt idx="536" formatCode="0.0%">
                  <c:v>4.5342541659599646E-2</c:v>
                </c:pt>
                <c:pt idx="537" formatCode="0.0%">
                  <c:v>5.603348873050365E-2</c:v>
                </c:pt>
                <c:pt idx="538" formatCode="0.0%">
                  <c:v>5.2743078240234664E-2</c:v>
                </c:pt>
                <c:pt idx="539" formatCode="0.0%">
                  <c:v>5.9643085068531151E-2</c:v>
                </c:pt>
                <c:pt idx="540" formatCode="0.0%">
                  <c:v>8.0528931354518107E-2</c:v>
                </c:pt>
                <c:pt idx="541" formatCode="0.0%">
                  <c:v>8.0528583082100771E-2</c:v>
                </c:pt>
                <c:pt idx="542" formatCode="0.0%">
                  <c:v>8.0528408945892235E-2</c:v>
                </c:pt>
                <c:pt idx="543" formatCode="0.0%">
                  <c:v>8.6185649675504697E-2</c:v>
                </c:pt>
                <c:pt idx="544" formatCode="0.0%">
                  <c:v>8.4328975874760917E-2</c:v>
                </c:pt>
                <c:pt idx="545" formatCode="0.0%">
                  <c:v>7.8188008551690447E-2</c:v>
                </c:pt>
                <c:pt idx="546" formatCode="0.0%">
                  <c:v>6.9562872215378768E-2</c:v>
                </c:pt>
                <c:pt idx="547" formatCode="0.0%">
                  <c:v>7.5246235328284575E-2</c:v>
                </c:pt>
                <c:pt idx="548" formatCode="0.0%">
                  <c:v>7.5245881972282824E-2</c:v>
                </c:pt>
                <c:pt idx="549" formatCode="0.0%">
                  <c:v>7.5249592210300309E-2</c:v>
                </c:pt>
                <c:pt idx="550" formatCode="0.0%">
                  <c:v>7.7216971232964227E-2</c:v>
                </c:pt>
                <c:pt idx="551" formatCode="0.0%">
                  <c:v>8.4742789098291665E-2</c:v>
                </c:pt>
                <c:pt idx="552" formatCode="0.0%">
                  <c:v>9.5690629347191275E-2</c:v>
                </c:pt>
                <c:pt idx="553" formatCode="0.0%">
                  <c:v>0.11255669941178638</c:v>
                </c:pt>
                <c:pt idx="554" formatCode="0.0%">
                  <c:v>0.11699737178644526</c:v>
                </c:pt>
                <c:pt idx="555" formatCode="0.0%">
                  <c:v>0.11699719126984448</c:v>
                </c:pt>
                <c:pt idx="556" formatCode="0.0%">
                  <c:v>0.11699683023664335</c:v>
                </c:pt>
                <c:pt idx="557" formatCode="0.0%">
                  <c:v>0.11473608163877103</c:v>
                </c:pt>
                <c:pt idx="558" formatCode="0.0%">
                  <c:v>0.11185682012098525</c:v>
                </c:pt>
                <c:pt idx="559" formatCode="0.0%">
                  <c:v>0.10203773571322743</c:v>
                </c:pt>
                <c:pt idx="560" formatCode="0.0%">
                  <c:v>9.9177423706574355E-2</c:v>
                </c:pt>
                <c:pt idx="561" formatCode="0.0%">
                  <c:v>0.10671161731143571</c:v>
                </c:pt>
                <c:pt idx="562" formatCode="0.0%">
                  <c:v>0.10671143508221008</c:v>
                </c:pt>
                <c:pt idx="563" formatCode="0.0%">
                  <c:v>0.10671125285298459</c:v>
                </c:pt>
                <c:pt idx="564" formatCode="0.0%">
                  <c:v>0.10527520465517284</c:v>
                </c:pt>
                <c:pt idx="565" formatCode="0.0%">
                  <c:v>0.11391912822646005</c:v>
                </c:pt>
                <c:pt idx="566" formatCode="0.0%">
                  <c:v>0.12552243336674224</c:v>
                </c:pt>
                <c:pt idx="567" formatCode="0.0%">
                  <c:v>0.13400241228331125</c:v>
                </c:pt>
                <c:pt idx="568" formatCode="0.0%">
                  <c:v>0.13339489415819727</c:v>
                </c:pt>
                <c:pt idx="569" formatCode="0.0%">
                  <c:v>0.13339453501283202</c:v>
                </c:pt>
                <c:pt idx="570" formatCode="0.0%">
                  <c:v>0.13339417586746435</c:v>
                </c:pt>
                <c:pt idx="571" formatCode="0.0%">
                  <c:v>0.1311888894305642</c:v>
                </c:pt>
                <c:pt idx="572" formatCode="0.0%">
                  <c:v>0.13175746469586186</c:v>
                </c:pt>
                <c:pt idx="573" formatCode="0.0%">
                  <c:v>0.14341580576200472</c:v>
                </c:pt>
                <c:pt idx="574" formatCode="0.0%">
                  <c:v>0.15552513140943616</c:v>
                </c:pt>
                <c:pt idx="575" formatCode="0.0%">
                  <c:v>0.16565794664329572</c:v>
                </c:pt>
                <c:pt idx="576" formatCode="0.0%">
                  <c:v>0.16565758625911273</c:v>
                </c:pt>
                <c:pt idx="577" formatCode="0.0%">
                  <c:v>0.16593183862042879</c:v>
                </c:pt>
                <c:pt idx="578" formatCode="0.0%">
                  <c:v>0.16347111375587459</c:v>
                </c:pt>
                <c:pt idx="579" formatCode="0.0%">
                  <c:v>0.16185315056953414</c:v>
                </c:pt>
                <c:pt idx="580" formatCode="0.0%">
                  <c:v>0.17233766354845642</c:v>
                </c:pt>
                <c:pt idx="581" formatCode="0.0%">
                  <c:v>0.17224635740174093</c:v>
                </c:pt>
                <c:pt idx="582" formatCode="0.0%">
                  <c:v>0.17293797603943831</c:v>
                </c:pt>
                <c:pt idx="583" formatCode="0.0%">
                  <c:v>0.1729377954117885</c:v>
                </c:pt>
                <c:pt idx="584" formatCode="0.0%">
                  <c:v>0.17293743415648891</c:v>
                </c:pt>
                <c:pt idx="585" formatCode="0.0%">
                  <c:v>0.1732563619222624</c:v>
                </c:pt>
                <c:pt idx="586" formatCode="0.0%">
                  <c:v>0.16558297522043247</c:v>
                </c:pt>
                <c:pt idx="587" formatCode="0.0%">
                  <c:v>0.17073039127949002</c:v>
                </c:pt>
                <c:pt idx="588" formatCode="0.0%">
                  <c:v>0.17520148147992259</c:v>
                </c:pt>
                <c:pt idx="589" formatCode="0.0%">
                  <c:v>0.18984087924795404</c:v>
                </c:pt>
                <c:pt idx="590" formatCode="0.0%">
                  <c:v>0.18984070006641132</c:v>
                </c:pt>
                <c:pt idx="591" formatCode="0.0%">
                  <c:v>0.18984571714960793</c:v>
                </c:pt>
                <c:pt idx="592" formatCode="0.0%">
                  <c:v>0.19699130320207003</c:v>
                </c:pt>
                <c:pt idx="593" formatCode="0.0%">
                  <c:v>0.20466344954385818</c:v>
                </c:pt>
                <c:pt idx="594" formatCode="0.0%">
                  <c:v>0.19891069936131259</c:v>
                </c:pt>
                <c:pt idx="595" formatCode="0.0%">
                  <c:v>0.20142321527514412</c:v>
                </c:pt>
                <c:pt idx="596" formatCode="0.0%">
                  <c:v>0.19776619954954142</c:v>
                </c:pt>
                <c:pt idx="597" formatCode="0.0%">
                  <c:v>0.19776583402008271</c:v>
                </c:pt>
                <c:pt idx="598" formatCode="0.0%">
                  <c:v>0.19776565125535073</c:v>
                </c:pt>
                <c:pt idx="599" formatCode="0.0%">
                  <c:v>0.18780065635528501</c:v>
                </c:pt>
                <c:pt idx="600" formatCode="0.0%">
                  <c:v>0.18099532072894362</c:v>
                </c:pt>
                <c:pt idx="601" formatCode="0.0%">
                  <c:v>0.18039555480471847</c:v>
                </c:pt>
                <c:pt idx="602" formatCode="0.0%">
                  <c:v>0.19036269807689976</c:v>
                </c:pt>
                <c:pt idx="603" formatCode="0.0%">
                  <c:v>0.17191223764265501</c:v>
                </c:pt>
                <c:pt idx="604" formatCode="0.0%">
                  <c:v>0.17191187114830228</c:v>
                </c:pt>
                <c:pt idx="605" formatCode="0.0%">
                  <c:v>0.17189941034030937</c:v>
                </c:pt>
                <c:pt idx="606" formatCode="0.0%">
                  <c:v>0.15947654227033595</c:v>
                </c:pt>
                <c:pt idx="607" formatCode="0.0%">
                  <c:v>0.14746146241522126</c:v>
                </c:pt>
                <c:pt idx="608" formatCode="0.0%">
                  <c:v>0.13494612353577892</c:v>
                </c:pt>
                <c:pt idx="609" formatCode="0.0%">
                  <c:v>0.13273579258159798</c:v>
                </c:pt>
                <c:pt idx="610" formatCode="0.0%">
                  <c:v>0.12815960075234997</c:v>
                </c:pt>
                <c:pt idx="611" formatCode="0.0%">
                  <c:v>0.12815960075234997</c:v>
                </c:pt>
                <c:pt idx="612" formatCode="0.0%">
                  <c:v>0.1281594177408448</c:v>
                </c:pt>
                <c:pt idx="613" formatCode="0.0%">
                  <c:v>0.13117357527205598</c:v>
                </c:pt>
                <c:pt idx="614" formatCode="0.0%">
                  <c:v>0.12940159960119074</c:v>
                </c:pt>
                <c:pt idx="615" formatCode="0.0%">
                  <c:v>0.13095352695243961</c:v>
                </c:pt>
                <c:pt idx="616" formatCode="0.0%">
                  <c:v>0.13901567406708978</c:v>
                </c:pt>
                <c:pt idx="617" formatCode="0.0%">
                  <c:v>0.14889024663736422</c:v>
                </c:pt>
                <c:pt idx="618" formatCode="0.0%">
                  <c:v>0.1488898811770028</c:v>
                </c:pt>
                <c:pt idx="619" formatCode="0.0%">
                  <c:v>0.14888951571664122</c:v>
                </c:pt>
                <c:pt idx="620" formatCode="0.0%">
                  <c:v>0.15554761356134222</c:v>
                </c:pt>
                <c:pt idx="621" formatCode="0.0%">
                  <c:v>0.14034546932391351</c:v>
                </c:pt>
                <c:pt idx="622" formatCode="0.0%">
                  <c:v>0.13270249323706665</c:v>
                </c:pt>
                <c:pt idx="623" formatCode="0.0%">
                  <c:v>0.12428967592152133</c:v>
                </c:pt>
                <c:pt idx="624" formatCode="0.0%">
                  <c:v>0.10991862335027762</c:v>
                </c:pt>
                <c:pt idx="625" formatCode="0.0%">
                  <c:v>0.10991825739389398</c:v>
                </c:pt>
                <c:pt idx="626" formatCode="0.0%">
                  <c:v>0.10991148720084468</c:v>
                </c:pt>
                <c:pt idx="627" formatCode="0.0%">
                  <c:v>0.11031334215214429</c:v>
                </c:pt>
                <c:pt idx="628" formatCode="0.0%">
                  <c:v>0.10418566291145566</c:v>
                </c:pt>
                <c:pt idx="629" formatCode="0.0%">
                  <c:v>0.10497691088446558</c:v>
                </c:pt>
                <c:pt idx="630" formatCode="0.0%">
                  <c:v>9.5594663585799391E-2</c:v>
                </c:pt>
                <c:pt idx="631" formatCode="0.0%">
                  <c:v>8.4740471527958897E-2</c:v>
                </c:pt>
                <c:pt idx="632" formatCode="0.0%">
                  <c:v>8.4740282449467227E-2</c:v>
                </c:pt>
                <c:pt idx="633" formatCode="0.0%">
                  <c:v>8.4740093370975419E-2</c:v>
                </c:pt>
                <c:pt idx="634" formatCode="0.0%">
                  <c:v>8.0710108521236917E-2</c:v>
                </c:pt>
                <c:pt idx="635" formatCode="0.0%">
                  <c:v>8.2335237718135654E-2</c:v>
                </c:pt>
                <c:pt idx="636" formatCode="0.0%">
                  <c:v>8.7130083542217282E-2</c:v>
                </c:pt>
                <c:pt idx="637" formatCode="0.0%">
                  <c:v>6.924195033836654E-2</c:v>
                </c:pt>
                <c:pt idx="638" formatCode="0.0%">
                  <c:v>5.9761424637322876E-2</c:v>
                </c:pt>
                <c:pt idx="639" formatCode="0.0%">
                  <c:v>5.9761237336851708E-2</c:v>
                </c:pt>
                <c:pt idx="640" formatCode="0.0%">
                  <c:v>5.9760862735909227E-2</c:v>
                </c:pt>
                <c:pt idx="641" formatCode="0.0%">
                  <c:v>6.8346180505766796E-2</c:v>
                </c:pt>
                <c:pt idx="642" formatCode="0.0%">
                  <c:v>8.7425546991539982E-2</c:v>
                </c:pt>
                <c:pt idx="643" formatCode="0.0%">
                  <c:v>9.5127554236397599E-2</c:v>
                </c:pt>
                <c:pt idx="644" formatCode="0.0%">
                  <c:v>9.3532698670389033E-2</c:v>
                </c:pt>
                <c:pt idx="645" formatCode="0.0%">
                  <c:v>7.89758318076801E-2</c:v>
                </c:pt>
                <c:pt idx="646" formatCode="0.0%">
                  <c:v>7.8975644207376086E-2</c:v>
                </c:pt>
                <c:pt idx="647" formatCode="0.0%">
                  <c:v>7.8975456607072225E-2</c:v>
                </c:pt>
                <c:pt idx="648" formatCode="0.0%">
                  <c:v>7.3893609432439999E-2</c:v>
                </c:pt>
                <c:pt idx="649" formatCode="0.0%">
                  <c:v>6.4119278500409826E-2</c:v>
                </c:pt>
                <c:pt idx="650" formatCode="0.0%">
                  <c:v>6.0937300193676124E-2</c:v>
                </c:pt>
                <c:pt idx="651" formatCode="0.0%">
                  <c:v>6.6528693291865573E-2</c:v>
                </c:pt>
                <c:pt idx="652" formatCode="0.0%">
                  <c:v>6.3900236794662113E-2</c:v>
                </c:pt>
                <c:pt idx="653" formatCode="0.0%">
                  <c:v>6.390004861566595E-2</c:v>
                </c:pt>
                <c:pt idx="654" formatCode="0.0%">
                  <c:v>6.3899860436672493E-2</c:v>
                </c:pt>
                <c:pt idx="655" formatCode="0.0%">
                  <c:v>7.2120129326601445E-2</c:v>
                </c:pt>
                <c:pt idx="656" formatCode="0.0%">
                  <c:v>8.0116756531979402E-2</c:v>
                </c:pt>
                <c:pt idx="657" formatCode="0.0%">
                  <c:v>7.8947606850186675E-2</c:v>
                </c:pt>
                <c:pt idx="658" formatCode="0.0%">
                  <c:v>7.2346797183791695E-2</c:v>
                </c:pt>
                <c:pt idx="659" formatCode="0.0%">
                  <c:v>7.8146523952742089E-2</c:v>
                </c:pt>
                <c:pt idx="660" formatCode="0.0%">
                  <c:v>7.8147460880784225E-2</c:v>
                </c:pt>
                <c:pt idx="661" formatCode="0.0%">
                  <c:v>7.8146523952742089E-2</c:v>
                </c:pt>
                <c:pt idx="662" formatCode="0.0%">
                  <c:v>8.3827271050659527E-2</c:v>
                </c:pt>
                <c:pt idx="663" formatCode="0.0%">
                  <c:v>9.4207685203182762E-2</c:v>
                </c:pt>
                <c:pt idx="664" formatCode="0.0%">
                  <c:v>9.0903179547350277E-2</c:v>
                </c:pt>
                <c:pt idx="665" formatCode="0.0%">
                  <c:v>9.2728951669964768E-2</c:v>
                </c:pt>
                <c:pt idx="666" formatCode="0.0%">
                  <c:v>0.10375735809531833</c:v>
                </c:pt>
                <c:pt idx="667" formatCode="0.0%">
                  <c:v>0.10377194408835692</c:v>
                </c:pt>
                <c:pt idx="668" formatCode="0.0%">
                  <c:v>0.10377969866693433</c:v>
                </c:pt>
                <c:pt idx="669" formatCode="0.0%">
                  <c:v>0.11049535297734579</c:v>
                </c:pt>
                <c:pt idx="670" formatCode="0.0%">
                  <c:v>0.11187459382002743</c:v>
                </c:pt>
                <c:pt idx="671" formatCode="0.0%">
                  <c:v>0.10255712485289109</c:v>
                </c:pt>
                <c:pt idx="672" formatCode="0.0%">
                  <c:v>9.7665200038939581E-2</c:v>
                </c:pt>
                <c:pt idx="673" formatCode="0.0%">
                  <c:v>9.8907052426259412E-2</c:v>
                </c:pt>
                <c:pt idx="674" formatCode="0.0%">
                  <c:v>9.8906681262905777E-2</c:v>
                </c:pt>
                <c:pt idx="675" formatCode="0.0%">
                  <c:v>9.8906495681229098E-2</c:v>
                </c:pt>
                <c:pt idx="676" formatCode="0.0%">
                  <c:v>0.10022124558887498</c:v>
                </c:pt>
                <c:pt idx="677" formatCode="0.0%">
                  <c:v>0.10472823889146853</c:v>
                </c:pt>
                <c:pt idx="678" formatCode="0.0%">
                  <c:v>9.6931304945188118E-2</c:v>
                </c:pt>
                <c:pt idx="679" formatCode="0.0%">
                  <c:v>0.11921107318544742</c:v>
                </c:pt>
                <c:pt idx="680" formatCode="0.0%">
                  <c:v>0.12517180354332652</c:v>
                </c:pt>
                <c:pt idx="681" formatCode="0.0%">
                  <c:v>0.125171447998422</c:v>
                </c:pt>
                <c:pt idx="682" formatCode="0.0%">
                  <c:v>0.12517127022596994</c:v>
                </c:pt>
                <c:pt idx="683" formatCode="0.0%">
                  <c:v>0.12303315336095139</c:v>
                </c:pt>
                <c:pt idx="684" formatCode="0.0%">
                  <c:v>0.12756238634575581</c:v>
                </c:pt>
                <c:pt idx="685" formatCode="0.0%">
                  <c:v>0.11826232860452279</c:v>
                </c:pt>
                <c:pt idx="686" formatCode="0.0%">
                  <c:v>0.11551157597246543</c:v>
                </c:pt>
                <c:pt idx="687" formatCode="0.0%">
                  <c:v>0.12016764960432695</c:v>
                </c:pt>
                <c:pt idx="688" formatCode="0.0%">
                  <c:v>0.12016747246732294</c:v>
                </c:pt>
                <c:pt idx="689" formatCode="0.0%">
                  <c:v>0.12016711819331477</c:v>
                </c:pt>
                <c:pt idx="690" formatCode="0.0%">
                  <c:v>0.12517541466995638</c:v>
                </c:pt>
                <c:pt idx="691" formatCode="0.0%">
                  <c:v>0.13062553792207979</c:v>
                </c:pt>
                <c:pt idx="692" formatCode="0.0%">
                  <c:v>0.13363536259217199</c:v>
                </c:pt>
                <c:pt idx="693" formatCode="0.0%">
                  <c:v>0.13425600852239625</c:v>
                </c:pt>
                <c:pt idx="694" formatCode="0.0%">
                  <c:v>0.13434267601312072</c:v>
                </c:pt>
                <c:pt idx="695" formatCode="0.0%">
                  <c:v>0.13434232332588181</c:v>
                </c:pt>
                <c:pt idx="696" formatCode="0.0%">
                  <c:v>0.13434197063864289</c:v>
                </c:pt>
                <c:pt idx="697" formatCode="0.0%">
                  <c:v>0.12511193738066978</c:v>
                </c:pt>
                <c:pt idx="698" formatCode="0.0%">
                  <c:v>0.12506650429880778</c:v>
                </c:pt>
                <c:pt idx="699" formatCode="0.0%">
                  <c:v>0.14279565617470014</c:v>
                </c:pt>
                <c:pt idx="700" formatCode="0.0%">
                  <c:v>0.14384672510630778</c:v>
                </c:pt>
                <c:pt idx="701" formatCode="0.0%">
                  <c:v>0.14105846940891767</c:v>
                </c:pt>
                <c:pt idx="702" formatCode="0.0%">
                  <c:v>0.14105794369843211</c:v>
                </c:pt>
                <c:pt idx="703" formatCode="0.0%">
                  <c:v>0.14105759322477354</c:v>
                </c:pt>
                <c:pt idx="704" formatCode="0.0%">
                  <c:v>0.12844400785478413</c:v>
                </c:pt>
                <c:pt idx="705" formatCode="0.0%">
                  <c:v>0.11915355112277354</c:v>
                </c:pt>
                <c:pt idx="706" formatCode="0.0%">
                  <c:v>0.11266815044612401</c:v>
                </c:pt>
                <c:pt idx="707" formatCode="0.0%">
                  <c:v>0.11314763128790233</c:v>
                </c:pt>
                <c:pt idx="708" formatCode="0.0%">
                  <c:v>0.11444008697955851</c:v>
                </c:pt>
                <c:pt idx="709" formatCode="0.0%">
                  <c:v>0.11444200240998796</c:v>
                </c:pt>
                <c:pt idx="710" formatCode="0.0%">
                  <c:v>0.11444148001987003</c:v>
                </c:pt>
                <c:pt idx="711" formatCode="0.0%">
                  <c:v>0.11692711139402306</c:v>
                </c:pt>
                <c:pt idx="712" formatCode="0.0%">
                  <c:v>0.12339131117327852</c:v>
                </c:pt>
                <c:pt idx="713" formatCode="0.0%">
                  <c:v>0.12044635959050794</c:v>
                </c:pt>
                <c:pt idx="714" formatCode="0.0%">
                  <c:v>9.6555286472447654E-2</c:v>
                </c:pt>
                <c:pt idx="715" formatCode="0.0%">
                  <c:v>8.467109053023876E-2</c:v>
                </c:pt>
                <c:pt idx="716" formatCode="0.0%">
                  <c:v>8.4670744713242249E-2</c:v>
                </c:pt>
                <c:pt idx="717" formatCode="0.0%">
                  <c:v>8.4670225987747039E-2</c:v>
                </c:pt>
                <c:pt idx="718" formatCode="0.0%">
                  <c:v>8.0581800725817054E-2</c:v>
                </c:pt>
                <c:pt idx="719" formatCode="0.0%">
                  <c:v>7.54343481426865E-2</c:v>
                </c:pt>
                <c:pt idx="720" formatCode="0.0%">
                  <c:v>8.6812909972112925E-2</c:v>
                </c:pt>
                <c:pt idx="721" formatCode="0.0%">
                  <c:v>8.222841736399332E-2</c:v>
                </c:pt>
                <c:pt idx="722" formatCode="0.0%">
                  <c:v>8.070411674710741E-2</c:v>
                </c:pt>
                <c:pt idx="723" formatCode="0.0%">
                  <c:v>8.070377094491718E-2</c:v>
                </c:pt>
                <c:pt idx="724" formatCode="0.0%">
                  <c:v>8.0703252241632273E-2</c:v>
                </c:pt>
                <c:pt idx="725" formatCode="0.0%">
                  <c:v>8.0716219823761148E-2</c:v>
                </c:pt>
                <c:pt idx="726" formatCode="0.0%">
                  <c:v>7.7483022398137535E-2</c:v>
                </c:pt>
                <c:pt idx="727" formatCode="0.0%">
                  <c:v>7.5000918730478081E-2</c:v>
                </c:pt>
                <c:pt idx="728" formatCode="0.0%">
                  <c:v>7.926772000295472E-2</c:v>
                </c:pt>
                <c:pt idx="729" formatCode="0.0%">
                  <c:v>7.6501188081697646E-2</c:v>
                </c:pt>
                <c:pt idx="730" formatCode="0.0%">
                  <c:v>7.6544347474922322E-2</c:v>
                </c:pt>
                <c:pt idx="731" formatCode="0.0%">
                  <c:v>7.654400357537483E-2</c:v>
                </c:pt>
                <c:pt idx="732" formatCode="0.0%">
                  <c:v>7.785838764632573E-2</c:v>
                </c:pt>
                <c:pt idx="733" formatCode="0.0%">
                  <c:v>8.9302131357510459E-2</c:v>
                </c:pt>
                <c:pt idx="734" formatCode="0.0%">
                  <c:v>9.4376061278865109E-2</c:v>
                </c:pt>
                <c:pt idx="735" formatCode="0.0%">
                  <c:v>9.3526870216281283E-2</c:v>
                </c:pt>
                <c:pt idx="736" formatCode="0.0%">
                  <c:v>0.10135342761658507</c:v>
                </c:pt>
                <c:pt idx="737" formatCode="0.0%">
                  <c:v>0.10135515879916397</c:v>
                </c:pt>
                <c:pt idx="738" formatCode="0.0%">
                  <c:v>0.10135463944439024</c:v>
                </c:pt>
                <c:pt idx="739" formatCode="0.0%">
                  <c:v>0.10234952951600264</c:v>
                </c:pt>
                <c:pt idx="740" formatCode="0.0%">
                  <c:v>0.10323441602619468</c:v>
                </c:pt>
                <c:pt idx="741" formatCode="0.0%">
                  <c:v>0.11027400573035351</c:v>
                </c:pt>
                <c:pt idx="742" formatCode="0.0%">
                  <c:v>0.11384026050885893</c:v>
                </c:pt>
                <c:pt idx="743" formatCode="0.0%">
                  <c:v>0.11823026085208156</c:v>
                </c:pt>
                <c:pt idx="744" formatCode="0.0%">
                  <c:v>0.11823026085208156</c:v>
                </c:pt>
                <c:pt idx="745" formatCode="0.0%">
                  <c:v>0.11822975228018279</c:v>
                </c:pt>
                <c:pt idx="746" formatCode="0.0%">
                  <c:v>0.12021416537861214</c:v>
                </c:pt>
                <c:pt idx="747" formatCode="0.0%">
                  <c:v>0.12349757078832198</c:v>
                </c:pt>
                <c:pt idx="748" formatCode="0.0%">
                  <c:v>0.11820068489872269</c:v>
                </c:pt>
                <c:pt idx="749" formatCode="0.0%">
                  <c:v>0.10815921088708194</c:v>
                </c:pt>
                <c:pt idx="750" formatCode="0.0%">
                  <c:v>0.11254833748553822</c:v>
                </c:pt>
                <c:pt idx="751" formatCode="0.0%">
                  <c:v>0.11254765943409267</c:v>
                </c:pt>
                <c:pt idx="752" formatCode="0.0%">
                  <c:v>0.11254782894695396</c:v>
                </c:pt>
                <c:pt idx="753" formatCode="0.0%">
                  <c:v>0.12120368025812127</c:v>
                </c:pt>
                <c:pt idx="754" formatCode="0.0%">
                  <c:v>0.12227509716284274</c:v>
                </c:pt>
                <c:pt idx="755" formatCode="0.0%">
                  <c:v>0.11853574836972398</c:v>
                </c:pt>
                <c:pt idx="756" formatCode="0.0%">
                  <c:v>0.12772069365705518</c:v>
                </c:pt>
                <c:pt idx="757" formatCode="0.0%">
                  <c:v>0.13328658729611731</c:v>
                </c:pt>
                <c:pt idx="758" formatCode="0.0%">
                  <c:v>0.13328540195847793</c:v>
                </c:pt>
                <c:pt idx="759" formatCode="0.0%">
                  <c:v>0.13328590996032433</c:v>
                </c:pt>
                <c:pt idx="760" formatCode="0.0%">
                  <c:v>0.12599893508371168</c:v>
                </c:pt>
                <c:pt idx="761" formatCode="0.0%">
                  <c:v>0.12951496181771205</c:v>
                </c:pt>
                <c:pt idx="762" formatCode="0.0%">
                  <c:v>0.13387683686637275</c:v>
                </c:pt>
                <c:pt idx="763" formatCode="0.0%">
                  <c:v>0.14526076162930537</c:v>
                </c:pt>
                <c:pt idx="764" formatCode="0.0%">
                  <c:v>0.14816559907467933</c:v>
                </c:pt>
                <c:pt idx="765" formatCode="0.0%">
                  <c:v>0.14817101341778538</c:v>
                </c:pt>
                <c:pt idx="766" formatCode="0.0%">
                  <c:v>0.14816965983200872</c:v>
                </c:pt>
                <c:pt idx="767" formatCode="0.0%">
                  <c:v>0.14892657011616833</c:v>
                </c:pt>
                <c:pt idx="768" formatCode="0.0%">
                  <c:v>0.15553746246757499</c:v>
                </c:pt>
                <c:pt idx="769" formatCode="0.0%">
                  <c:v>0.15259349549489629</c:v>
                </c:pt>
                <c:pt idx="770" formatCode="0.0%">
                  <c:v>0.14829889446233735</c:v>
                </c:pt>
                <c:pt idx="771" formatCode="0.0%">
                  <c:v>0.14713668279357492</c:v>
                </c:pt>
                <c:pt idx="772" formatCode="0.0%">
                  <c:v>0.14713547782367314</c:v>
                </c:pt>
                <c:pt idx="773" formatCode="0.0%">
                  <c:v>0.14713530568511587</c:v>
                </c:pt>
                <c:pt idx="774" formatCode="0.0%">
                  <c:v>0.15290243794480715</c:v>
                </c:pt>
                <c:pt idx="775" formatCode="0.0%">
                  <c:v>0.15485544517841704</c:v>
                </c:pt>
                <c:pt idx="776" formatCode="0.0%">
                  <c:v>0.15802721499253095</c:v>
                </c:pt>
                <c:pt idx="777" formatCode="0.0%">
                  <c:v>0.15471739166436321</c:v>
                </c:pt>
                <c:pt idx="778" formatCode="0.0%">
                  <c:v>0.14956423650382761</c:v>
                </c:pt>
                <c:pt idx="779" formatCode="0.0%">
                  <c:v>0.1495657872833229</c:v>
                </c:pt>
                <c:pt idx="780" formatCode="0.0%">
                  <c:v>0.14956492573915894</c:v>
                </c:pt>
                <c:pt idx="781" formatCode="0.0%">
                  <c:v>0.14871506268470994</c:v>
                </c:pt>
                <c:pt idx="782" formatCode="0.0%">
                  <c:v>0.13777880153928138</c:v>
                </c:pt>
                <c:pt idx="783" formatCode="0.0%">
                  <c:v>0.13428832440187649</c:v>
                </c:pt>
                <c:pt idx="784" formatCode="0.0%">
                  <c:v>0.13873786541275535</c:v>
                </c:pt>
                <c:pt idx="785" formatCode="0.0%">
                  <c:v>0.13316222765416755</c:v>
                </c:pt>
                <c:pt idx="786" formatCode="0.0%">
                  <c:v>0.13316187913744201</c:v>
                </c:pt>
                <c:pt idx="787" formatCode="0.0%">
                  <c:v>0.13316153062071664</c:v>
                </c:pt>
                <c:pt idx="788" formatCode="0.0%">
                  <c:v>0.13288253648561252</c:v>
                </c:pt>
                <c:pt idx="789" formatCode="0.0%">
                  <c:v>0.13034918469672108</c:v>
                </c:pt>
                <c:pt idx="790" formatCode="0.0%">
                  <c:v>0.12301139148878974</c:v>
                </c:pt>
                <c:pt idx="791" formatCode="0.0%">
                  <c:v>0.12931373431187113</c:v>
                </c:pt>
                <c:pt idx="792" formatCode="0.0%">
                  <c:v>0.14262409003137108</c:v>
                </c:pt>
                <c:pt idx="793" formatCode="0.0%">
                  <c:v>0.14261490488896428</c:v>
                </c:pt>
                <c:pt idx="794" formatCode="0.0%">
                  <c:v>0.14261438497524281</c:v>
                </c:pt>
                <c:pt idx="795" formatCode="0.0%">
                  <c:v>0.14243986628857527</c:v>
                </c:pt>
                <c:pt idx="796" formatCode="0.0%">
                  <c:v>0.13811607013592878</c:v>
                </c:pt>
                <c:pt idx="797" formatCode="0.0%">
                  <c:v>0.13807956112480299</c:v>
                </c:pt>
                <c:pt idx="798" formatCode="0.0%">
                  <c:v>0.13030160230376353</c:v>
                </c:pt>
                <c:pt idx="799" formatCode="0.0%">
                  <c:v>0.10759103033126421</c:v>
                </c:pt>
                <c:pt idx="800" formatCode="0.0%">
                  <c:v>0.10759068658718547</c:v>
                </c:pt>
                <c:pt idx="801" formatCode="0.0%">
                  <c:v>0.10759051471514595</c:v>
                </c:pt>
                <c:pt idx="802" formatCode="0.0%">
                  <c:v>9.3331994339418148E-2</c:v>
                </c:pt>
                <c:pt idx="803" formatCode="0.0%">
                  <c:v>9.9875331422949215E-2</c:v>
                </c:pt>
                <c:pt idx="804" formatCode="0.0%">
                  <c:v>0.10247727363445619</c:v>
                </c:pt>
                <c:pt idx="805" formatCode="0.0%">
                  <c:v>0.10819557322075796</c:v>
                </c:pt>
                <c:pt idx="806" formatCode="0.0%">
                  <c:v>0.10308464303264614</c:v>
                </c:pt>
                <c:pt idx="807" formatCode="0.0%">
                  <c:v>0.10308429786960588</c:v>
                </c:pt>
                <c:pt idx="808" formatCode="0.0%">
                  <c:v>0.1030841252880856</c:v>
                </c:pt>
                <c:pt idx="809" formatCode="0.0%">
                  <c:v>0.10128622155023592</c:v>
                </c:pt>
                <c:pt idx="810" formatCode="0.0%">
                  <c:v>0.1073655196286694</c:v>
                </c:pt>
                <c:pt idx="811" formatCode="0.0%">
                  <c:v>0.1049426509707547</c:v>
                </c:pt>
                <c:pt idx="812" formatCode="0.0%">
                  <c:v>0.1006496743605672</c:v>
                </c:pt>
                <c:pt idx="813" formatCode="0.0%">
                  <c:v>0.10498388709347367</c:v>
                </c:pt>
                <c:pt idx="814" formatCode="0.0%">
                  <c:v>0.1049840579697721</c:v>
                </c:pt>
                <c:pt idx="815" formatCode="0.0%">
                  <c:v>0.10498388709347367</c:v>
                </c:pt>
                <c:pt idx="816" formatCode="0.0%">
                  <c:v>0.10885882329957425</c:v>
                </c:pt>
                <c:pt idx="817" formatCode="0.0%">
                  <c:v>0.10537242994615909</c:v>
                </c:pt>
                <c:pt idx="818" formatCode="0.0%">
                  <c:v>0.11479931319474318</c:v>
                </c:pt>
                <c:pt idx="819" formatCode="0.0%">
                  <c:v>0.11906928081600426</c:v>
                </c:pt>
                <c:pt idx="820" formatCode="0.0%">
                  <c:v>0.1318269935827017</c:v>
                </c:pt>
                <c:pt idx="821" formatCode="0.0%">
                  <c:v>0.13182665517638653</c:v>
                </c:pt>
                <c:pt idx="822" formatCode="0.0%">
                  <c:v>0.13182631677007123</c:v>
                </c:pt>
                <c:pt idx="823" formatCode="0.0%">
                  <c:v>0.13533376412503401</c:v>
                </c:pt>
                <c:pt idx="824" formatCode="0.0%">
                  <c:v>0.12874702522669906</c:v>
                </c:pt>
                <c:pt idx="825" formatCode="0.0%">
                  <c:v>0.12654363392043663</c:v>
                </c:pt>
                <c:pt idx="826" formatCode="0.0%">
                  <c:v>0.12616314627001826</c:v>
                </c:pt>
                <c:pt idx="827" formatCode="0.0%">
                  <c:v>0.12616903862552448</c:v>
                </c:pt>
                <c:pt idx="828" formatCode="0.0%">
                  <c:v>0.12616853356648122</c:v>
                </c:pt>
                <c:pt idx="829" formatCode="0.0%">
                  <c:v>0.12616836521346669</c:v>
                </c:pt>
                <c:pt idx="830" formatCode="0.0%">
                  <c:v>0.12801207624914526</c:v>
                </c:pt>
                <c:pt idx="831" formatCode="0.0%">
                  <c:v>0.13160964152220628</c:v>
                </c:pt>
                <c:pt idx="832" formatCode="0.0%">
                  <c:v>0.12826295193525183</c:v>
                </c:pt>
                <c:pt idx="833" formatCode="0.0%">
                  <c:v>0.12967231192955708</c:v>
                </c:pt>
                <c:pt idx="834" formatCode="0.0%">
                  <c:v>0.13427247287271699</c:v>
                </c:pt>
                <c:pt idx="835" formatCode="0.0%">
                  <c:v>0.13427297398210897</c:v>
                </c:pt>
                <c:pt idx="836" formatCode="0.0%">
                  <c:v>0.13427163769039269</c:v>
                </c:pt>
                <c:pt idx="837" formatCode="0.0%">
                  <c:v>0.141518820760937</c:v>
                </c:pt>
                <c:pt idx="838" formatCode="0.0%">
                  <c:v>0.14202849080785712</c:v>
                </c:pt>
                <c:pt idx="839" formatCode="0.0%">
                  <c:v>0.14025491248519145</c:v>
                </c:pt>
                <c:pt idx="840" formatCode="0.0%">
                  <c:v>0.13649381901032526</c:v>
                </c:pt>
                <c:pt idx="841" formatCode="0.0%">
                  <c:v>0.13589570999899195</c:v>
                </c:pt>
                <c:pt idx="842" formatCode="0.0%">
                  <c:v>0.1358958775647936</c:v>
                </c:pt>
                <c:pt idx="843" formatCode="0.0%">
                  <c:v>0.13589487216999602</c:v>
                </c:pt>
                <c:pt idx="844" formatCode="0.0%">
                  <c:v>0.1331843416978063</c:v>
                </c:pt>
                <c:pt idx="845" formatCode="0.0%">
                  <c:v>0.12723906835579385</c:v>
                </c:pt>
                <c:pt idx="846" formatCode="0.0%">
                  <c:v>0.11623303998732411</c:v>
                </c:pt>
                <c:pt idx="847" formatCode="0.0%">
                  <c:v>0.12516339073434707</c:v>
                </c:pt>
                <c:pt idx="848" formatCode="0.0%">
                  <c:v>0.13251769760336729</c:v>
                </c:pt>
                <c:pt idx="849" formatCode="0.0%">
                  <c:v>0.13251786420920794</c:v>
                </c:pt>
                <c:pt idx="850" formatCode="0.0%">
                  <c:v>0.13269596585302978</c:v>
                </c:pt>
                <c:pt idx="851" formatCode="0.0%">
                  <c:v>0.13489218062250871</c:v>
                </c:pt>
                <c:pt idx="852" formatCode="0.0%">
                  <c:v>0.13069624440766803</c:v>
                </c:pt>
                <c:pt idx="853" formatCode="0.0%">
                  <c:v>0.12279371165061903</c:v>
                </c:pt>
                <c:pt idx="854" formatCode="0.0%">
                  <c:v>0.11972786559072703</c:v>
                </c:pt>
                <c:pt idx="855" formatCode="0.0%">
                  <c:v>0.12864557698983162</c:v>
                </c:pt>
                <c:pt idx="856" formatCode="0.0%">
                  <c:v>0.12865610083125659</c:v>
                </c:pt>
                <c:pt idx="857" formatCode="0.0%">
                  <c:v>0.12865543265084867</c:v>
                </c:pt>
                <c:pt idx="858" formatCode="0.0%">
                  <c:v>0.13220703885640206</c:v>
                </c:pt>
                <c:pt idx="859" formatCode="0.0%">
                  <c:v>0.13443639340138261</c:v>
                </c:pt>
                <c:pt idx="860" formatCode="0.0%">
                  <c:v>0.13457490553001633</c:v>
                </c:pt>
                <c:pt idx="861" formatCode="0.0%">
                  <c:v>0.13757475230850078</c:v>
                </c:pt>
                <c:pt idx="862" formatCode="0.0%">
                  <c:v>0.14127494658577547</c:v>
                </c:pt>
                <c:pt idx="863" formatCode="0.0%">
                  <c:v>0.14127410066870041</c:v>
                </c:pt>
                <c:pt idx="864" formatCode="0.0%">
                  <c:v>0.14127460821894686</c:v>
                </c:pt>
                <c:pt idx="865" formatCode="0.0%">
                  <c:v>0.14533203221014773</c:v>
                </c:pt>
                <c:pt idx="866" formatCode="0.0%">
                  <c:v>0.1417058613696591</c:v>
                </c:pt>
                <c:pt idx="867" formatCode="0.0%">
                  <c:v>0.14710097026783814</c:v>
                </c:pt>
                <c:pt idx="868" formatCode="0.0%">
                  <c:v>0.15190626064176713</c:v>
                </c:pt>
                <c:pt idx="869" formatCode="0.0%">
                  <c:v>0.16006712154558472</c:v>
                </c:pt>
                <c:pt idx="870" formatCode="0.0%">
                  <c:v>0.16006746233575542</c:v>
                </c:pt>
                <c:pt idx="871" formatCode="0.0%">
                  <c:v>0.16006678075541614</c:v>
                </c:pt>
                <c:pt idx="872" formatCode="0.0%">
                  <c:v>0.16143248591430948</c:v>
                </c:pt>
                <c:pt idx="873" formatCode="0.0%">
                  <c:v>0.15585211356064349</c:v>
                </c:pt>
                <c:pt idx="874" formatCode="0.0%">
                  <c:v>0.1436444049802475</c:v>
                </c:pt>
                <c:pt idx="875" formatCode="0.0%">
                  <c:v>0.14665245057472262</c:v>
                </c:pt>
                <c:pt idx="876" formatCode="0.0%">
                  <c:v>0.15731770346918197</c:v>
                </c:pt>
                <c:pt idx="877" formatCode="0.0%">
                  <c:v>0.15731787518081702</c:v>
                </c:pt>
                <c:pt idx="878" formatCode="0.0%">
                  <c:v>0.15731701662264186</c:v>
                </c:pt>
                <c:pt idx="879" formatCode="0.0%">
                  <c:v>0.15797478371885545</c:v>
                </c:pt>
                <c:pt idx="880" formatCode="0.0%">
                  <c:v>0.15801977806640963</c:v>
                </c:pt>
                <c:pt idx="881" formatCode="0.0%">
                  <c:v>0.15429088550304854</c:v>
                </c:pt>
                <c:pt idx="882" formatCode="0.0%">
                  <c:v>0.15595923477537282</c:v>
                </c:pt>
                <c:pt idx="883" formatCode="0.0%">
                  <c:v>0.1703816499435061</c:v>
                </c:pt>
                <c:pt idx="884" formatCode="0.0%">
                  <c:v>0.17038182131829188</c:v>
                </c:pt>
                <c:pt idx="885" formatCode="0.0%">
                  <c:v>0.17038079306957685</c:v>
                </c:pt>
                <c:pt idx="886" formatCode="0.0%">
                  <c:v>0.17447468588814544</c:v>
                </c:pt>
                <c:pt idx="887" formatCode="0.0%">
                  <c:v>0.1788965905823541</c:v>
                </c:pt>
                <c:pt idx="888" formatCode="0.0%">
                  <c:v>0.17641782439641987</c:v>
                </c:pt>
                <c:pt idx="889" formatCode="0.0%">
                  <c:v>0.17360678246117217</c:v>
                </c:pt>
                <c:pt idx="890" formatCode="0.0%">
                  <c:v>0.17654013105873262</c:v>
                </c:pt>
                <c:pt idx="891" formatCode="0.0%">
                  <c:v>0.17653910532713213</c:v>
                </c:pt>
                <c:pt idx="892" formatCode="0.0%">
                  <c:v>0.17653961819293243</c:v>
                </c:pt>
                <c:pt idx="893" formatCode="0.0%">
                  <c:v>0.18171510259806808</c:v>
                </c:pt>
                <c:pt idx="894" formatCode="0.0%">
                  <c:v>0.18755651500692253</c:v>
                </c:pt>
                <c:pt idx="895" formatCode="0.0%">
                  <c:v>0.18816547559786728</c:v>
                </c:pt>
                <c:pt idx="896" formatCode="0.0%">
                  <c:v>0.18920576181145093</c:v>
                </c:pt>
                <c:pt idx="897" formatCode="0.0%">
                  <c:v>0.19017347730392004</c:v>
                </c:pt>
                <c:pt idx="898" formatCode="0.0%">
                  <c:v>0.19017465518769214</c:v>
                </c:pt>
                <c:pt idx="899" formatCode="0.0%">
                  <c:v>0.19017431864947326</c:v>
                </c:pt>
                <c:pt idx="900" formatCode="0.0%">
                  <c:v>0.18576035990117831</c:v>
                </c:pt>
                <c:pt idx="901" formatCode="0.0%">
                  <c:v>0.18032417913064505</c:v>
                </c:pt>
                <c:pt idx="902" formatCode="0.0%">
                  <c:v>0.17170869478623105</c:v>
                </c:pt>
                <c:pt idx="903" formatCode="0.0%">
                  <c:v>0.16849667489695719</c:v>
                </c:pt>
                <c:pt idx="904" formatCode="0.0%">
                  <c:v>0.168189208332511</c:v>
                </c:pt>
                <c:pt idx="905" formatCode="0.0%">
                  <c:v>0.16818887061470078</c:v>
                </c:pt>
                <c:pt idx="906" formatCode="0.0%">
                  <c:v>0.16818853289689045</c:v>
                </c:pt>
                <c:pt idx="907" formatCode="0.0%">
                  <c:v>0.16258060365015412</c:v>
                </c:pt>
                <c:pt idx="908" formatCode="0.0%">
                  <c:v>0.16384613272066217</c:v>
                </c:pt>
                <c:pt idx="909" formatCode="0.0%">
                  <c:v>0.17070080086876516</c:v>
                </c:pt>
                <c:pt idx="910" formatCode="0.0%">
                  <c:v>0.17516966896413508</c:v>
                </c:pt>
                <c:pt idx="911" formatCode="0.0%">
                  <c:v>0.18433881305102345</c:v>
                </c:pt>
                <c:pt idx="912" formatCode="0.0%">
                  <c:v>0.18433864463014588</c:v>
                </c:pt>
                <c:pt idx="913" formatCode="0.0%">
                  <c:v>0.18433830778839252</c:v>
                </c:pt>
                <c:pt idx="914" formatCode="0.0%">
                  <c:v>0.18826258083853034</c:v>
                </c:pt>
                <c:pt idx="915" formatCode="0.0%">
                  <c:v>0.18943024636169453</c:v>
                </c:pt>
                <c:pt idx="916" formatCode="0.0%">
                  <c:v>0.18720337100060774</c:v>
                </c:pt>
                <c:pt idx="917" formatCode="0.0%">
                  <c:v>0.17393893271875044</c:v>
                </c:pt>
                <c:pt idx="918" formatCode="0.0%">
                  <c:v>0.16721118890189415</c:v>
                </c:pt>
                <c:pt idx="919" formatCode="0.0%">
                  <c:v>0.16721924893973081</c:v>
                </c:pt>
                <c:pt idx="920" formatCode="0.0%">
                  <c:v>0.16721891310482093</c:v>
                </c:pt>
                <c:pt idx="921" formatCode="0.0%">
                  <c:v>0.16625172595840937</c:v>
                </c:pt>
                <c:pt idx="922" formatCode="0.0%">
                  <c:v>0.17218042182554</c:v>
                </c:pt>
                <c:pt idx="923" formatCode="0.0%">
                  <c:v>0.17499687639003711</c:v>
                </c:pt>
                <c:pt idx="924" formatCode="0.0%">
                  <c:v>0.17938825939170996</c:v>
                </c:pt>
                <c:pt idx="925" formatCode="0.0%">
                  <c:v>0.17685353856640007</c:v>
                </c:pt>
                <c:pt idx="926" formatCode="0.0%">
                  <c:v>0.1768532115685342</c:v>
                </c:pt>
                <c:pt idx="927" formatCode="0.0%">
                  <c:v>0.17685304806960248</c:v>
                </c:pt>
                <c:pt idx="928" formatCode="0.0%">
                  <c:v>0.17686969101167377</c:v>
                </c:pt>
                <c:pt idx="929" formatCode="0.0%">
                  <c:v>0.18171502779534252</c:v>
                </c:pt>
                <c:pt idx="930" formatCode="0.0%">
                  <c:v>0.18806691630771311</c:v>
                </c:pt>
                <c:pt idx="931" formatCode="0.0%">
                  <c:v>0.18785903309188087</c:v>
                </c:pt>
                <c:pt idx="932" formatCode="0.0%">
                  <c:v>0.1901010133701557</c:v>
                </c:pt>
                <c:pt idx="933" formatCode="0.0%">
                  <c:v>0.19010068247816789</c:v>
                </c:pt>
                <c:pt idx="934" formatCode="0.0%">
                  <c:v>0.19010051703217173</c:v>
                </c:pt>
                <c:pt idx="935" formatCode="0.0%">
                  <c:v>0.19489688231494867</c:v>
                </c:pt>
                <c:pt idx="936" formatCode="0.0%">
                  <c:v>0.20219560291074146</c:v>
                </c:pt>
                <c:pt idx="937" formatCode="0.0%">
                  <c:v>0.20005036107524263</c:v>
                </c:pt>
                <c:pt idx="938" formatCode="0.0%">
                  <c:v>0.20583685422155726</c:v>
                </c:pt>
                <c:pt idx="939" formatCode="0.0%">
                  <c:v>0.20705508317130211</c:v>
                </c:pt>
                <c:pt idx="940" formatCode="0.0%">
                  <c:v>0.20705491652597716</c:v>
                </c:pt>
                <c:pt idx="941" formatCode="0.0%">
                  <c:v>0.20705474988064992</c:v>
                </c:pt>
                <c:pt idx="942" formatCode="0.0%">
                  <c:v>0.21053580561853649</c:v>
                </c:pt>
                <c:pt idx="943" formatCode="0.0%">
                  <c:v>0.20924784326269161</c:v>
                </c:pt>
                <c:pt idx="944" formatCode="0.0%">
                  <c:v>0.19863379918546059</c:v>
                </c:pt>
                <c:pt idx="945" formatCode="0.0%">
                  <c:v>0.19158408878045136</c:v>
                </c:pt>
                <c:pt idx="946" formatCode="0.0%">
                  <c:v>0.18468463934991022</c:v>
                </c:pt>
                <c:pt idx="947" formatCode="0.0%">
                  <c:v>0.1846843057014351</c:v>
                </c:pt>
                <c:pt idx="948" formatCode="0.0%">
                  <c:v>0.18468397205296</c:v>
                </c:pt>
                <c:pt idx="949" formatCode="0.0%">
                  <c:v>0.18754335473843725</c:v>
                </c:pt>
                <c:pt idx="950" formatCode="0.0%">
                  <c:v>0.18805995022268562</c:v>
                </c:pt>
                <c:pt idx="951" formatCode="0.0%">
                  <c:v>0.18410951012651083</c:v>
                </c:pt>
                <c:pt idx="952" formatCode="0.0%">
                  <c:v>0.18405955290379694</c:v>
                </c:pt>
                <c:pt idx="953" formatCode="0.0%">
                  <c:v>0.18175057373004763</c:v>
                </c:pt>
                <c:pt idx="954" formatCode="0.0%">
                  <c:v>0.18175023856143299</c:v>
                </c:pt>
                <c:pt idx="955" formatCode="0.0%">
                  <c:v>0.18174671929097472</c:v>
                </c:pt>
                <c:pt idx="956" formatCode="0.0%">
                  <c:v>0.18681945388643384</c:v>
                </c:pt>
                <c:pt idx="957" formatCode="0.0%">
                  <c:v>0.18090678436700444</c:v>
                </c:pt>
                <c:pt idx="958" formatCode="0.0%">
                  <c:v>0.17326832044373958</c:v>
                </c:pt>
                <c:pt idx="959" formatCode="0.0%">
                  <c:v>0.16636051565735685</c:v>
                </c:pt>
                <c:pt idx="960" formatCode="0.0%">
                  <c:v>0.16141732932593869</c:v>
                </c:pt>
                <c:pt idx="961" formatCode="0.0%">
                  <c:v>0.16141716021902625</c:v>
                </c:pt>
                <c:pt idx="962" formatCode="0.0%">
                  <c:v>0.16141699111211125</c:v>
                </c:pt>
                <c:pt idx="963" formatCode="0.0%">
                  <c:v>0.16281895087711135</c:v>
                </c:pt>
                <c:pt idx="964" formatCode="0.0%">
                  <c:v>0.16801115113056597</c:v>
                </c:pt>
                <c:pt idx="965" formatCode="0.0%">
                  <c:v>0.17637614145254304</c:v>
                </c:pt>
                <c:pt idx="966" formatCode="0.0%">
                  <c:v>0.17286129900862066</c:v>
                </c:pt>
                <c:pt idx="967" formatCode="0.0%">
                  <c:v>0.17537541386397379</c:v>
                </c:pt>
                <c:pt idx="968" formatCode="0.0%">
                  <c:v>0.17537968339621685</c:v>
                </c:pt>
                <c:pt idx="969" formatCode="0.0%">
                  <c:v>0.1753793418336376</c:v>
                </c:pt>
                <c:pt idx="970" formatCode="0.0%">
                  <c:v>0.1799316551897745</c:v>
                </c:pt>
                <c:pt idx="971" formatCode="0.0%">
                  <c:v>0.19109152271845559</c:v>
                </c:pt>
                <c:pt idx="972" formatCode="0.0%">
                  <c:v>0.19057786724132783</c:v>
                </c:pt>
                <c:pt idx="973" formatCode="0.0%">
                  <c:v>0.19509425865766444</c:v>
                </c:pt>
                <c:pt idx="974" formatCode="0.0%">
                  <c:v>0.20021460652515471</c:v>
                </c:pt>
                <c:pt idx="975" formatCode="0.0%">
                  <c:v>0.20021426615943866</c:v>
                </c:pt>
                <c:pt idx="976" formatCode="0.0%">
                  <c:v>0.20021409597657794</c:v>
                </c:pt>
                <c:pt idx="977" formatCode="0.0%">
                  <c:v>0.20293464383439969</c:v>
                </c:pt>
                <c:pt idx="978" formatCode="0.0%">
                  <c:v>0.20425037014560332</c:v>
                </c:pt>
                <c:pt idx="979" formatCode="0.0%">
                  <c:v>0.19897751290461158</c:v>
                </c:pt>
                <c:pt idx="980" formatCode="0.0%">
                  <c:v>0.1956419842543636</c:v>
                </c:pt>
                <c:pt idx="981" formatCode="0.0%">
                  <c:v>0.19440520802716676</c:v>
                </c:pt>
                <c:pt idx="982" formatCode="0.0%">
                  <c:v>0.19440503627727893</c:v>
                </c:pt>
                <c:pt idx="983" formatCode="0.0%">
                  <c:v>0.19435316781192341</c:v>
                </c:pt>
                <c:pt idx="984" formatCode="0.0%">
                  <c:v>0.19707791319400031</c:v>
                </c:pt>
                <c:pt idx="985" formatCode="0.0%">
                  <c:v>0.1968257754648863</c:v>
                </c:pt>
                <c:pt idx="986" formatCode="0.0%">
                  <c:v>0.19356958294011761</c:v>
                </c:pt>
                <c:pt idx="987" formatCode="0.0%">
                  <c:v>0.20639078002551201</c:v>
                </c:pt>
                <c:pt idx="988" formatCode="0.0%">
                  <c:v>0.20471983627680315</c:v>
                </c:pt>
                <c:pt idx="989" formatCode="0.0%">
                  <c:v>0.20471966371255745</c:v>
                </c:pt>
                <c:pt idx="990" formatCode="0.0%">
                  <c:v>0.20471931858406323</c:v>
                </c:pt>
                <c:pt idx="991" formatCode="0.0%">
                  <c:v>0.19806394186855969</c:v>
                </c:pt>
                <c:pt idx="992" formatCode="0.0%">
                  <c:v>0.19424764355710239</c:v>
                </c:pt>
                <c:pt idx="993" formatCode="0.0%">
                  <c:v>0.19024731633862119</c:v>
                </c:pt>
                <c:pt idx="994" formatCode="0.0%">
                  <c:v>0.17826727649051194</c:v>
                </c:pt>
                <c:pt idx="995" formatCode="0.0%">
                  <c:v>0.17455533831279296</c:v>
                </c:pt>
                <c:pt idx="996" formatCode="0.0%">
                  <c:v>0.17455482031652081</c:v>
                </c:pt>
                <c:pt idx="997" formatCode="0.0%">
                  <c:v>0.17455464765109682</c:v>
                </c:pt>
                <c:pt idx="998" formatCode="0.0%">
                  <c:v>0.17739986066811994</c:v>
                </c:pt>
                <c:pt idx="999" formatCode="0.0%">
                  <c:v>0.16799073820479066</c:v>
                </c:pt>
                <c:pt idx="1000" formatCode="0.0%">
                  <c:v>0.17044868712750641</c:v>
                </c:pt>
                <c:pt idx="1001" formatCode="0.0%">
                  <c:v>0.17050754612104854</c:v>
                </c:pt>
                <c:pt idx="1002" formatCode="0.0%">
                  <c:v>0.1712251450496865</c:v>
                </c:pt>
                <c:pt idx="1003" formatCode="0.0%">
                  <c:v>0.17086744565328219</c:v>
                </c:pt>
                <c:pt idx="1004" formatCode="0.0%">
                  <c:v>0.17086709803482364</c:v>
                </c:pt>
                <c:pt idx="1005" formatCode="0.0%">
                  <c:v>0.17155579223079243</c:v>
                </c:pt>
                <c:pt idx="1006" formatCode="0.0%">
                  <c:v>0.16254016530469115</c:v>
                </c:pt>
                <c:pt idx="1007" formatCode="0.0%">
                  <c:v>0.15915594489875276</c:v>
                </c:pt>
                <c:pt idx="1008" formatCode="0.0%">
                  <c:v>0.15890907667871162</c:v>
                </c:pt>
                <c:pt idx="1009" formatCode="0.0%">
                  <c:v>0.1648220115661809</c:v>
                </c:pt>
                <c:pt idx="1010" formatCode="0.0%">
                  <c:v>0.16482183695739636</c:v>
                </c:pt>
                <c:pt idx="1011" formatCode="0.0%">
                  <c:v>0.16482148773982488</c:v>
                </c:pt>
                <c:pt idx="1012" formatCode="0.0%">
                  <c:v>0.16904651030455553</c:v>
                </c:pt>
                <c:pt idx="1013" formatCode="0.0%">
                  <c:v>0.1771403760194758</c:v>
                </c:pt>
                <c:pt idx="1014" formatCode="0.0%">
                  <c:v>0.18049621727737758</c:v>
                </c:pt>
                <c:pt idx="1015" formatCode="0.0%">
                  <c:v>0.18282141999748716</c:v>
                </c:pt>
                <c:pt idx="1016" formatCode="0.0%">
                  <c:v>0.17940954490363878</c:v>
                </c:pt>
                <c:pt idx="1017" formatCode="0.0%">
                  <c:v>0.17940919443738323</c:v>
                </c:pt>
                <c:pt idx="1018" formatCode="0.0%">
                  <c:v>0.17940884397112783</c:v>
                </c:pt>
                <c:pt idx="1019" formatCode="0.0%">
                  <c:v>0.18024538601834636</c:v>
                </c:pt>
                <c:pt idx="1020" formatCode="0.0%">
                  <c:v>0.17986834115264586</c:v>
                </c:pt>
                <c:pt idx="1021" formatCode="0.0%">
                  <c:v>0.17240574133847475</c:v>
                </c:pt>
                <c:pt idx="1022" formatCode="0.0%">
                  <c:v>0.16006581317163054</c:v>
                </c:pt>
                <c:pt idx="1023" formatCode="0.0%">
                  <c:v>0.14566608967558309</c:v>
                </c:pt>
                <c:pt idx="1024" formatCode="0.0%">
                  <c:v>0.14566574182515254</c:v>
                </c:pt>
                <c:pt idx="1025" formatCode="0.0%">
                  <c:v>0.14566539397472211</c:v>
                </c:pt>
                <c:pt idx="1026" formatCode="0.0%">
                  <c:v>0.13714971162734343</c:v>
                </c:pt>
                <c:pt idx="1027" formatCode="0.0%">
                  <c:v>0.14279882220883791</c:v>
                </c:pt>
                <c:pt idx="1028" formatCode="0.0%">
                  <c:v>0.13779045153654451</c:v>
                </c:pt>
                <c:pt idx="1029" formatCode="0.0%">
                  <c:v>0.13142877050078128</c:v>
                </c:pt>
                <c:pt idx="1030" formatCode="0.0%">
                  <c:v>0.12412846568118624</c:v>
                </c:pt>
                <c:pt idx="1031" formatCode="0.0%">
                  <c:v>0.12412811745812419</c:v>
                </c:pt>
                <c:pt idx="1032" formatCode="0.0%">
                  <c:v>0.12412776923506215</c:v>
                </c:pt>
                <c:pt idx="1033" formatCode="0.0%">
                  <c:v>0.12467748968455879</c:v>
                </c:pt>
                <c:pt idx="1034" formatCode="0.0%">
                  <c:v>0.1336621635476081</c:v>
                </c:pt>
                <c:pt idx="1035" formatCode="0.0%">
                  <c:v>0.14054486796091695</c:v>
                </c:pt>
                <c:pt idx="1036" formatCode="0.0%">
                  <c:v>0.1564408656673433</c:v>
                </c:pt>
                <c:pt idx="1037" formatCode="0.0%">
                  <c:v>0.16167845236694262</c:v>
                </c:pt>
                <c:pt idx="1038" formatCode="0.0%">
                  <c:v>0.16167828082187882</c:v>
                </c:pt>
                <c:pt idx="1039" formatCode="0.0%">
                  <c:v>0.16167828082187882</c:v>
                </c:pt>
                <c:pt idx="1040" formatCode="0.0%">
                  <c:v>0.16256084514456035</c:v>
                </c:pt>
                <c:pt idx="1041" formatCode="0.0%">
                  <c:v>0.16653132297577344</c:v>
                </c:pt>
                <c:pt idx="1042" formatCode="0.0%">
                  <c:v>0.16622732814409985</c:v>
                </c:pt>
                <c:pt idx="1043" formatCode="0.0%">
                  <c:v>0.16534482400390302</c:v>
                </c:pt>
                <c:pt idx="1044" formatCode="0.0%">
                  <c:v>0.16938661209382588</c:v>
                </c:pt>
                <c:pt idx="1045" formatCode="0.0%">
                  <c:v>0.16938661209382588</c:v>
                </c:pt>
                <c:pt idx="1046" formatCode="0.0%">
                  <c:v>0.16938850922828919</c:v>
                </c:pt>
                <c:pt idx="1047" formatCode="0.0%">
                  <c:v>0.17250726398939562</c:v>
                </c:pt>
                <c:pt idx="1048" formatCode="0.0%">
                  <c:v>0.17974465302627848</c:v>
                </c:pt>
                <c:pt idx="1049" formatCode="0.0%">
                  <c:v>0.18422887258281023</c:v>
                </c:pt>
                <c:pt idx="1050" formatCode="0.0%">
                  <c:v>0.18230797834307252</c:v>
                </c:pt>
                <c:pt idx="1051" formatCode="0.0%">
                  <c:v>0.18447819887013309</c:v>
                </c:pt>
                <c:pt idx="1052" formatCode="0.0%">
                  <c:v>0.18447769183441196</c:v>
                </c:pt>
                <c:pt idx="1053" formatCode="0.0%">
                  <c:v>0.18447735381060212</c:v>
                </c:pt>
                <c:pt idx="1054" formatCode="0.0%">
                  <c:v>0.18573863242958269</c:v>
                </c:pt>
                <c:pt idx="1055" formatCode="0.0%">
                  <c:v>0.18597299481736101</c:v>
                </c:pt>
                <c:pt idx="1056" formatCode="0.0%">
                  <c:v>0.19291787028924887</c:v>
                </c:pt>
                <c:pt idx="1057" formatCode="0.0%">
                  <c:v>0.19272319080284903</c:v>
                </c:pt>
                <c:pt idx="1058" formatCode="0.0%">
                  <c:v>0.19229617564024309</c:v>
                </c:pt>
                <c:pt idx="1059" formatCode="0.0%">
                  <c:v>0.19229567114014956</c:v>
                </c:pt>
                <c:pt idx="1060" formatCode="0.0%">
                  <c:v>0.19229533480674973</c:v>
                </c:pt>
                <c:pt idx="1061" formatCode="0.0%">
                  <c:v>0.19048972618483262</c:v>
                </c:pt>
                <c:pt idx="1062" formatCode="0.0%">
                  <c:v>0.18696353875377653</c:v>
                </c:pt>
                <c:pt idx="1063" formatCode="0.0%">
                  <c:v>0.18912291397302666</c:v>
                </c:pt>
                <c:pt idx="1064" formatCode="0.0%">
                  <c:v>0.19712343362097257</c:v>
                </c:pt>
                <c:pt idx="1065" formatCode="0.0%">
                  <c:v>0.20877679267695171</c:v>
                </c:pt>
                <c:pt idx="1066" formatCode="0.0%">
                  <c:v>0.20877645306636977</c:v>
                </c:pt>
                <c:pt idx="1067" formatCode="0.0%">
                  <c:v>0.20877628326107897</c:v>
                </c:pt>
                <c:pt idx="1068" formatCode="0.0%">
                  <c:v>0.20871913116612917</c:v>
                </c:pt>
                <c:pt idx="1069" formatCode="0.0%">
                  <c:v>0.2083483995372373</c:v>
                </c:pt>
                <c:pt idx="1070" formatCode="0.0%">
                  <c:v>0.21151051988150144</c:v>
                </c:pt>
                <c:pt idx="1071" formatCode="0.0%">
                  <c:v>0.21426637554017858</c:v>
                </c:pt>
                <c:pt idx="1072" formatCode="0.0%">
                  <c:v>0.21899736895826932</c:v>
                </c:pt>
                <c:pt idx="1073" formatCode="0.0%">
                  <c:v>0.21899702724762207</c:v>
                </c:pt>
                <c:pt idx="1074" formatCode="0.0%">
                  <c:v>0.21899668553697935</c:v>
                </c:pt>
                <c:pt idx="1075" formatCode="0.0%">
                  <c:v>0.22576527092254595</c:v>
                </c:pt>
                <c:pt idx="1076" formatCode="0.0%">
                  <c:v>0.22670038777225415</c:v>
                </c:pt>
                <c:pt idx="1077" formatCode="0.0%">
                  <c:v>0.23341291902825945</c:v>
                </c:pt>
                <c:pt idx="1078" formatCode="0.0%">
                  <c:v>0.23074334297171603</c:v>
                </c:pt>
                <c:pt idx="1079" formatCode="0.0%">
                  <c:v>0.2354512432601534</c:v>
                </c:pt>
                <c:pt idx="1080" formatCode="0.0%">
                  <c:v>0.2354509062333156</c:v>
                </c:pt>
                <c:pt idx="1081" formatCode="0.0%">
                  <c:v>0.23545056920647808</c:v>
                </c:pt>
                <c:pt idx="1082" formatCode="0.0%">
                  <c:v>0.23593965196931577</c:v>
                </c:pt>
                <c:pt idx="1083" formatCode="0.0%">
                  <c:v>0.23759261293313386</c:v>
                </c:pt>
                <c:pt idx="1084" formatCode="0.0%">
                  <c:v>0.23371953419473443</c:v>
                </c:pt>
                <c:pt idx="1085" formatCode="0.0%">
                  <c:v>0.23438144560414328</c:v>
                </c:pt>
                <c:pt idx="1086" formatCode="0.0%">
                  <c:v>0.23577128226415695</c:v>
                </c:pt>
                <c:pt idx="1087" formatCode="0.0%">
                  <c:v>0.23577094812706562</c:v>
                </c:pt>
                <c:pt idx="1088" formatCode="0.0%">
                  <c:v>0.23577061398997401</c:v>
                </c:pt>
                <c:pt idx="1089" formatCode="0.0%">
                  <c:v>0.23576994571579135</c:v>
                </c:pt>
                <c:pt idx="1090" formatCode="0.0%">
                  <c:v>0.23453041947797204</c:v>
                </c:pt>
                <c:pt idx="1091" formatCode="0.0%">
                  <c:v>0.23574449350685314</c:v>
                </c:pt>
                <c:pt idx="1092" formatCode="0.0%">
                  <c:v>0.23743810607003085</c:v>
                </c:pt>
                <c:pt idx="1093" formatCode="0.0%">
                  <c:v>0.24144221018317866</c:v>
                </c:pt>
                <c:pt idx="1094" formatCode="0.0%">
                  <c:v>0.24144187711709236</c:v>
                </c:pt>
                <c:pt idx="1095" formatCode="0.0%">
                  <c:v>0.2414730187959313</c:v>
                </c:pt>
                <c:pt idx="1096" formatCode="0.0%">
                  <c:v>0.24147151999855396</c:v>
                </c:pt>
                <c:pt idx="1097" formatCode="0.0%">
                  <c:v>0.24255503448299279</c:v>
                </c:pt>
                <c:pt idx="1098" formatCode="0.0%">
                  <c:v>0.23596710256981893</c:v>
                </c:pt>
                <c:pt idx="1099" formatCode="0.0%">
                  <c:v>0.23080193933149601</c:v>
                </c:pt>
                <c:pt idx="1100" formatCode="0.0%">
                  <c:v>0.22912691309313188</c:v>
                </c:pt>
                <c:pt idx="1101" formatCode="0.0%">
                  <c:v>0.22912674546440243</c:v>
                </c:pt>
                <c:pt idx="1102" formatCode="0.0%">
                  <c:v>0.22912641020695076</c:v>
                </c:pt>
                <c:pt idx="1103" formatCode="0.0%">
                  <c:v>0.23674370186499744</c:v>
                </c:pt>
                <c:pt idx="1104" formatCode="0.0%">
                  <c:v>0.24173600890297892</c:v>
                </c:pt>
                <c:pt idx="1105" formatCode="0.0%">
                  <c:v>0.24164172611031659</c:v>
                </c:pt>
                <c:pt idx="1106" formatCode="0.0%">
                  <c:v>0.24271267922433523</c:v>
                </c:pt>
                <c:pt idx="1107" formatCode="0.0%">
                  <c:v>0.24580324556559646</c:v>
                </c:pt>
                <c:pt idx="1108" formatCode="0.0%">
                  <c:v>0.24580039258401115</c:v>
                </c:pt>
                <c:pt idx="1109" formatCode="0.0%">
                  <c:v>0.24580005693911872</c:v>
                </c:pt>
                <c:pt idx="1110" formatCode="0.0%">
                  <c:v>0.24570506108737561</c:v>
                </c:pt>
                <c:pt idx="1111" formatCode="0.0%">
                  <c:v>0.24651843044314334</c:v>
                </c:pt>
                <c:pt idx="1112" formatCode="0.0%">
                  <c:v>0.2387734891472772</c:v>
                </c:pt>
                <c:pt idx="1113" formatCode="0.0%">
                  <c:v>0.24395036786238905</c:v>
                </c:pt>
                <c:pt idx="1114" formatCode="0.0%">
                  <c:v>0.25059805932361229</c:v>
                </c:pt>
                <c:pt idx="1115" formatCode="0.0%">
                  <c:v>0.2505977211097799</c:v>
                </c:pt>
                <c:pt idx="1116" formatCode="0.0%">
                  <c:v>0.25060972770074258</c:v>
                </c:pt>
                <c:pt idx="1117" formatCode="0.0%">
                  <c:v>0.25808695326602415</c:v>
                </c:pt>
                <c:pt idx="1118" formatCode="0.0%">
                  <c:v>0.26273086264423751</c:v>
                </c:pt>
                <c:pt idx="1119" formatCode="0.0%">
                  <c:v>0.26329805600251777</c:v>
                </c:pt>
                <c:pt idx="1120" formatCode="0.0%">
                  <c:v>0.27148909330997983</c:v>
                </c:pt>
                <c:pt idx="1121" formatCode="0.0%">
                  <c:v>0.27260567412693959</c:v>
                </c:pt>
                <c:pt idx="1122" formatCode="0.0%">
                  <c:v>0.27260618213618953</c:v>
                </c:pt>
                <c:pt idx="1123" formatCode="0.0%">
                  <c:v>0.27260584346335404</c:v>
                </c:pt>
                <c:pt idx="1124" formatCode="0.0%">
                  <c:v>0.28293158560556264</c:v>
                </c:pt>
                <c:pt idx="1125" formatCode="0.0%">
                  <c:v>0.28222166491536543</c:v>
                </c:pt>
                <c:pt idx="1126" formatCode="0.0%">
                  <c:v>0.27311701074432548</c:v>
                </c:pt>
                <c:pt idx="1127" formatCode="0.0%">
                  <c:v>0.27741504482506257</c:v>
                </c:pt>
                <c:pt idx="1128" formatCode="0.0%">
                  <c:v>0.28530505088617647</c:v>
                </c:pt>
                <c:pt idx="1129" formatCode="0.0%">
                  <c:v>0.28530488057376119</c:v>
                </c:pt>
                <c:pt idx="1130" formatCode="0.0%">
                  <c:v>0.28530453994893035</c:v>
                </c:pt>
                <c:pt idx="1131" formatCode="0.0%">
                  <c:v>0.29089613197197167</c:v>
                </c:pt>
                <c:pt idx="1132" formatCode="0.0%">
                  <c:v>0.294219649053789</c:v>
                </c:pt>
                <c:pt idx="1133" formatCode="0.0%">
                  <c:v>0.29844875771850438</c:v>
                </c:pt>
                <c:pt idx="1134" formatCode="0.0%">
                  <c:v>0.29962655477721173</c:v>
                </c:pt>
                <c:pt idx="1135" formatCode="0.0%">
                  <c:v>0.30216543768235027</c:v>
                </c:pt>
                <c:pt idx="1136" formatCode="0.0%">
                  <c:v>0.30216509655903223</c:v>
                </c:pt>
                <c:pt idx="1137" formatCode="0.0%">
                  <c:v>0.30216475543571392</c:v>
                </c:pt>
                <c:pt idx="1138" formatCode="0.0%">
                  <c:v>0.30612842007686908</c:v>
                </c:pt>
                <c:pt idx="1139" formatCode="0.0%">
                  <c:v>0.29813865274045187</c:v>
                </c:pt>
                <c:pt idx="1140" formatCode="0.0%">
                  <c:v>0.30297814638314235</c:v>
                </c:pt>
                <c:pt idx="1141" formatCode="0.0%">
                  <c:v>0.30841960725067025</c:v>
                </c:pt>
                <c:pt idx="1142" formatCode="0.0%">
                  <c:v>0.30919668987380761</c:v>
                </c:pt>
                <c:pt idx="1143" formatCode="0.0%">
                  <c:v>0.30919651909005014</c:v>
                </c:pt>
                <c:pt idx="1144" formatCode="0.0%">
                  <c:v>0.30919617752253514</c:v>
                </c:pt>
                <c:pt idx="1145" formatCode="0.0%">
                  <c:v>0.30890349681742946</c:v>
                </c:pt>
                <c:pt idx="1146" formatCode="0.0%">
                  <c:v>0.30079104029871701</c:v>
                </c:pt>
                <c:pt idx="1147" formatCode="0.0%">
                  <c:v>0.29915993639471283</c:v>
                </c:pt>
                <c:pt idx="1148" formatCode="0.0%">
                  <c:v>0.31472921359782502</c:v>
                </c:pt>
                <c:pt idx="1149" formatCode="0.0%">
                  <c:v>0.31986353403629036</c:v>
                </c:pt>
                <c:pt idx="1150" formatCode="0.0%">
                  <c:v>0.31986336405332083</c:v>
                </c:pt>
                <c:pt idx="1151" formatCode="0.0%">
                  <c:v>0.31986302408738171</c:v>
                </c:pt>
                <c:pt idx="1152" formatCode="0.0%">
                  <c:v>0.31551473158279264</c:v>
                </c:pt>
                <c:pt idx="1153" formatCode="0.0%">
                  <c:v>0.3163125838697684</c:v>
                </c:pt>
                <c:pt idx="1154" formatCode="0.0%">
                  <c:v>0.31417608741084535</c:v>
                </c:pt>
                <c:pt idx="1155" formatCode="0.0%">
                  <c:v>0.31896040915166168</c:v>
                </c:pt>
                <c:pt idx="1156" formatCode="0.0%">
                  <c:v>0.3261708887886553</c:v>
                </c:pt>
                <c:pt idx="1157" formatCode="0.0%">
                  <c:v>0.32617071902161515</c:v>
                </c:pt>
                <c:pt idx="1158" formatCode="0.0%">
                  <c:v>0.32617054925457412</c:v>
                </c:pt>
                <c:pt idx="1159" formatCode="0.0%">
                  <c:v>0.32609397677285157</c:v>
                </c:pt>
                <c:pt idx="1160" formatCode="0.0%">
                  <c:v>0.31876580116488895</c:v>
                </c:pt>
                <c:pt idx="1161" formatCode="0.0%">
                  <c:v>0.31943371408003912</c:v>
                </c:pt>
                <c:pt idx="1162" formatCode="0.0%">
                  <c:v>0.328322014240091</c:v>
                </c:pt>
                <c:pt idx="1163" formatCode="0.0%">
                  <c:v>0.32706337453937351</c:v>
                </c:pt>
                <c:pt idx="1164" formatCode="0.0%">
                  <c:v>0.32706303885746479</c:v>
                </c:pt>
                <c:pt idx="1165" formatCode="0.0%">
                  <c:v>0.3270627031755558</c:v>
                </c:pt>
                <c:pt idx="1166" formatCode="0.0%">
                  <c:v>0.32346047909107883</c:v>
                </c:pt>
                <c:pt idx="1167" formatCode="0.0%">
                  <c:v>0.33289755788148367</c:v>
                </c:pt>
                <c:pt idx="1168" formatCode="0.0%">
                  <c:v>0.33337576132338798</c:v>
                </c:pt>
                <c:pt idx="1169" formatCode="0.0%">
                  <c:v>0.33403689382279284</c:v>
                </c:pt>
                <c:pt idx="1170" formatCode="0.0%">
                  <c:v>0.32777051589332729</c:v>
                </c:pt>
                <c:pt idx="1171" formatCode="0.0%">
                  <c:v>0.32777017784977486</c:v>
                </c:pt>
                <c:pt idx="1172" formatCode="0.0%">
                  <c:v>0.32776983980621821</c:v>
                </c:pt>
                <c:pt idx="1173" formatCode="0.0%">
                  <c:v>0.33038312492824107</c:v>
                </c:pt>
                <c:pt idx="1174" formatCode="0.0%">
                  <c:v>0.33557119385755241</c:v>
                </c:pt>
                <c:pt idx="1175" formatCode="0.0%">
                  <c:v>0.3425488720558994</c:v>
                </c:pt>
                <c:pt idx="1176" formatCode="0.0%">
                  <c:v>0.35145687681950732</c:v>
                </c:pt>
                <c:pt idx="1177" formatCode="0.0%">
                  <c:v>0.35505223381559603</c:v>
                </c:pt>
                <c:pt idx="1178" formatCode="0.0%">
                  <c:v>0.35505189347702271</c:v>
                </c:pt>
                <c:pt idx="1179" formatCode="0.0%">
                  <c:v>0.35505155313845166</c:v>
                </c:pt>
                <c:pt idx="1180" formatCode="0.0%">
                  <c:v>0.35016318617097342</c:v>
                </c:pt>
                <c:pt idx="1181" formatCode="0.0%">
                  <c:v>0.3503276878335379</c:v>
                </c:pt>
                <c:pt idx="1182" formatCode="0.0%">
                  <c:v>0.35570017724899716</c:v>
                </c:pt>
                <c:pt idx="1183" formatCode="0.0%">
                  <c:v>0.36047601966237919</c:v>
                </c:pt>
                <c:pt idx="1184" formatCode="0.0%">
                  <c:v>0.36051828774162431</c:v>
                </c:pt>
                <c:pt idx="1185" formatCode="0.0%">
                  <c:v>0.36051777643421162</c:v>
                </c:pt>
                <c:pt idx="1186" formatCode="0.0%">
                  <c:v>0.36082745828900498</c:v>
                </c:pt>
                <c:pt idx="1187" formatCode="0.0%">
                  <c:v>0.36208897937151674</c:v>
                </c:pt>
                <c:pt idx="1188" formatCode="0.0%">
                  <c:v>0.35412655255502501</c:v>
                </c:pt>
                <c:pt idx="1189" formatCode="0.0%">
                  <c:v>0.34898278781129333</c:v>
                </c:pt>
                <c:pt idx="1190" formatCode="0.0%">
                  <c:v>0.34138174765808232</c:v>
                </c:pt>
                <c:pt idx="1191" formatCode="0.0%">
                  <c:v>0.34276690010479344</c:v>
                </c:pt>
                <c:pt idx="1192" formatCode="0.0%">
                  <c:v>0.3427665598081745</c:v>
                </c:pt>
                <c:pt idx="1193" formatCode="0.0%">
                  <c:v>0.34276638965986506</c:v>
                </c:pt>
                <c:pt idx="1194" formatCode="0.0%">
                  <c:v>0.34397685147753804</c:v>
                </c:pt>
                <c:pt idx="1195" formatCode="0.0%">
                  <c:v>0.34413690905706773</c:v>
                </c:pt>
                <c:pt idx="1196" formatCode="0.0%">
                  <c:v>0.34482863165283162</c:v>
                </c:pt>
                <c:pt idx="1197" formatCode="0.0%">
                  <c:v>0.34965269824319051</c:v>
                </c:pt>
                <c:pt idx="1198" formatCode="0.0%">
                  <c:v>0.3488136915977651</c:v>
                </c:pt>
                <c:pt idx="1199" formatCode="0.0%">
                  <c:v>0.34881334522552293</c:v>
                </c:pt>
                <c:pt idx="1200" formatCode="0.0%">
                  <c:v>0.34881299885327993</c:v>
                </c:pt>
                <c:pt idx="1201" formatCode="0.0%">
                  <c:v>0.34000765699226321</c:v>
                </c:pt>
                <c:pt idx="1202" formatCode="0.0%">
                  <c:v>0.32775735610975687</c:v>
                </c:pt>
                <c:pt idx="1203" formatCode="0.0%">
                  <c:v>0.32239233786428201</c:v>
                </c:pt>
                <c:pt idx="1204" formatCode="0.0%">
                  <c:v>0.31884309031602387</c:v>
                </c:pt>
                <c:pt idx="1205" formatCode="0.0%">
                  <c:v>0.31112845722312588</c:v>
                </c:pt>
                <c:pt idx="1206" formatCode="0.0%">
                  <c:v>0.31112811207242175</c:v>
                </c:pt>
                <c:pt idx="1207" formatCode="0.0%">
                  <c:v>0.31112776692172245</c:v>
                </c:pt>
                <c:pt idx="1208" formatCode="0.0%">
                  <c:v>0.31800536962002579</c:v>
                </c:pt>
                <c:pt idx="1209" formatCode="0.0%">
                  <c:v>0.3274121818015473</c:v>
                </c:pt>
                <c:pt idx="1210" formatCode="0.0%">
                  <c:v>0.33105761217037949</c:v>
                </c:pt>
                <c:pt idx="1211" formatCode="0.0%">
                  <c:v>0.32188524028996968</c:v>
                </c:pt>
                <c:pt idx="1212" formatCode="0.0%">
                  <c:v>0.33447854309604197</c:v>
                </c:pt>
                <c:pt idx="1213" formatCode="0.0%">
                  <c:v>0.33447837078103959</c:v>
                </c:pt>
                <c:pt idx="1214" formatCode="0.0%">
                  <c:v>0.33447819846603494</c:v>
                </c:pt>
                <c:pt idx="1215" formatCode="0.0%">
                  <c:v>0.33784715344308125</c:v>
                </c:pt>
                <c:pt idx="1216" formatCode="0.0%">
                  <c:v>0.33004385740699294</c:v>
                </c:pt>
                <c:pt idx="1217" formatCode="0.0%">
                  <c:v>0.32884293260090092</c:v>
                </c:pt>
                <c:pt idx="1218" formatCode="0.0%">
                  <c:v>0.32973170358896764</c:v>
                </c:pt>
                <c:pt idx="1219" formatCode="0.0%">
                  <c:v>0.3357468771218356</c:v>
                </c:pt>
                <c:pt idx="1220" formatCode="0.0%">
                  <c:v>0.33574653522857661</c:v>
                </c:pt>
                <c:pt idx="1221" formatCode="0.0%">
                  <c:v>0.33574636428194682</c:v>
                </c:pt>
                <c:pt idx="1222" formatCode="0.0%">
                  <c:v>0.34243705402008456</c:v>
                </c:pt>
                <c:pt idx="1223" formatCode="0.0%">
                  <c:v>0.35163831929751038</c:v>
                </c:pt>
                <c:pt idx="1224" formatCode="0.0%">
                  <c:v>0.35435604027400158</c:v>
                </c:pt>
                <c:pt idx="1225" formatCode="0.0%">
                  <c:v>0.35469585542067561</c:v>
                </c:pt>
                <c:pt idx="1226" formatCode="0.0%">
                  <c:v>0.36265255245394912</c:v>
                </c:pt>
                <c:pt idx="1227" formatCode="0.0%">
                  <c:v>0.36265221036820205</c:v>
                </c:pt>
                <c:pt idx="1228" formatCode="0.0%">
                  <c:v>0.36265186828245988</c:v>
                </c:pt>
                <c:pt idx="1229" formatCode="0.0%">
                  <c:v>0.36141819273819664</c:v>
                </c:pt>
                <c:pt idx="1230" formatCode="0.0%">
                  <c:v>0.36273002294591605</c:v>
                </c:pt>
                <c:pt idx="1231" formatCode="0.0%">
                  <c:v>0.37092623557177318</c:v>
                </c:pt>
                <c:pt idx="1232" formatCode="0.0%">
                  <c:v>0.37247545574899904</c:v>
                </c:pt>
                <c:pt idx="1233" formatCode="0.0%">
                  <c:v>0.3723108409112888</c:v>
                </c:pt>
                <c:pt idx="1234" formatCode="0.0%">
                  <c:v>0.37231033300198335</c:v>
                </c:pt>
                <c:pt idx="1235" formatCode="0.0%">
                  <c:v>0.37231168742679555</c:v>
                </c:pt>
                <c:pt idx="1236" formatCode="0.0%">
                  <c:v>0.37383251954614394</c:v>
                </c:pt>
                <c:pt idx="1237" formatCode="0.0%">
                  <c:v>0.37525823856432822</c:v>
                </c:pt>
                <c:pt idx="1238" formatCode="0.0%">
                  <c:v>0.37508092964009221</c:v>
                </c:pt>
                <c:pt idx="1239" formatCode="0.0%">
                  <c:v>0.37151791656710431</c:v>
                </c:pt>
                <c:pt idx="1240" formatCode="0.0%">
                  <c:v>0.37026238915396109</c:v>
                </c:pt>
                <c:pt idx="1241" formatCode="0.0%">
                  <c:v>0.37026204962481529</c:v>
                </c:pt>
                <c:pt idx="1242" formatCode="0.0%">
                  <c:v>0.37026187986024267</c:v>
                </c:pt>
                <c:pt idx="1243" formatCode="0.0%">
                  <c:v>0.37153919940398167</c:v>
                </c:pt>
                <c:pt idx="1244" formatCode="0.0%">
                  <c:v>0.36822943372514116</c:v>
                </c:pt>
                <c:pt idx="1245" formatCode="0.0%">
                  <c:v>0.36140462410612118</c:v>
                </c:pt>
                <c:pt idx="1246" formatCode="0.0%">
                  <c:v>0.35573724662042083</c:v>
                </c:pt>
                <c:pt idx="1247" formatCode="0.0%">
                  <c:v>0.35703169604698248</c:v>
                </c:pt>
                <c:pt idx="1248" formatCode="0.0%">
                  <c:v>0.3570313569422916</c:v>
                </c:pt>
                <c:pt idx="1249" formatCode="0.0%">
                  <c:v>0.3570310178376005</c:v>
                </c:pt>
                <c:pt idx="1250" formatCode="0.0%">
                  <c:v>0.36131195010997741</c:v>
                </c:pt>
                <c:pt idx="1251" formatCode="0.0%">
                  <c:v>0.35887234176025229</c:v>
                </c:pt>
                <c:pt idx="1252" formatCode="0.0%">
                  <c:v>0.36848503436972324</c:v>
                </c:pt>
                <c:pt idx="1253" formatCode="0.0%">
                  <c:v>0.37394305208412959</c:v>
                </c:pt>
                <c:pt idx="1254" formatCode="0.0%">
                  <c:v>0.37751674010438874</c:v>
                </c:pt>
                <c:pt idx="1255" formatCode="0.0%">
                  <c:v>0.37751656982898962</c:v>
                </c:pt>
                <c:pt idx="1256" formatCode="0.0%">
                  <c:v>0.37751622927819173</c:v>
                </c:pt>
                <c:pt idx="1257" formatCode="0.0%">
                  <c:v>0.3850093069735297</c:v>
                </c:pt>
                <c:pt idx="1258" formatCode="0.0%">
                  <c:v>0.38388031154873431</c:v>
                </c:pt>
                <c:pt idx="1259" formatCode="0.0%">
                  <c:v>0.38510868316978419</c:v>
                </c:pt>
                <c:pt idx="1260" formatCode="0.0%">
                  <c:v>0.38757920478870178</c:v>
                </c:pt>
                <c:pt idx="1261" formatCode="0.0%">
                  <c:v>0.39064005255985534</c:v>
                </c:pt>
                <c:pt idx="1262" formatCode="0.0%">
                  <c:v>0.39063970803843207</c:v>
                </c:pt>
                <c:pt idx="1263" formatCode="0.0%">
                  <c:v>0.39063953577772054</c:v>
                </c:pt>
                <c:pt idx="1264" formatCode="0.0%">
                  <c:v>0.39158882906371562</c:v>
                </c:pt>
                <c:pt idx="1265" formatCode="0.0%">
                  <c:v>0.39585441987306014</c:v>
                </c:pt>
                <c:pt idx="1266" formatCode="0.0%">
                  <c:v>0.39664570828771106</c:v>
                </c:pt>
                <c:pt idx="1267" formatCode="0.0%">
                  <c:v>0.3997545906181415</c:v>
                </c:pt>
                <c:pt idx="1268" formatCode="0.0%">
                  <c:v>0.39939824636960791</c:v>
                </c:pt>
                <c:pt idx="1269" formatCode="0.0%">
                  <c:v>0.39939790173713363</c:v>
                </c:pt>
                <c:pt idx="1270" formatCode="0.0%">
                  <c:v>0.39939772942090002</c:v>
                </c:pt>
                <c:pt idx="1271" formatCode="0.0%">
                  <c:v>0.39677995185392889</c:v>
                </c:pt>
                <c:pt idx="1272" formatCode="0.0%">
                  <c:v>0.39974258683301911</c:v>
                </c:pt>
                <c:pt idx="1273" formatCode="0.0%">
                  <c:v>0.4002247070088808</c:v>
                </c:pt>
                <c:pt idx="1274" formatCode="0.0%">
                  <c:v>0.39720007756900744</c:v>
                </c:pt>
                <c:pt idx="1275" formatCode="0.0%">
                  <c:v>0.39536841156334335</c:v>
                </c:pt>
                <c:pt idx="1276" formatCode="0.0%">
                  <c:v>0.39536806814007092</c:v>
                </c:pt>
                <c:pt idx="1277" formatCode="0.0%">
                  <c:v>0.39493775878270981</c:v>
                </c:pt>
                <c:pt idx="1278" formatCode="0.0%">
                  <c:v>0.39236170771186724</c:v>
                </c:pt>
                <c:pt idx="1279" formatCode="0.0%">
                  <c:v>0.3933512274701394</c:v>
                </c:pt>
                <c:pt idx="1280" formatCode="0.0%">
                  <c:v>0.39717806209754797</c:v>
                </c:pt>
                <c:pt idx="1281" formatCode="0.0%">
                  <c:v>0.39925695570552105</c:v>
                </c:pt>
                <c:pt idx="1282" formatCode="0.0%">
                  <c:v>0.40161007749570815</c:v>
                </c:pt>
                <c:pt idx="1283" formatCode="0.0%">
                  <c:v>0.40161211835741484</c:v>
                </c:pt>
                <c:pt idx="1284" formatCode="0.0%">
                  <c:v>0.40161194828560354</c:v>
                </c:pt>
                <c:pt idx="1285" formatCode="0.0%">
                  <c:v>0.40241993614167737</c:v>
                </c:pt>
                <c:pt idx="1286" formatCode="0.0%">
                  <c:v>0.4023232671206779</c:v>
                </c:pt>
                <c:pt idx="1287" formatCode="0.0%">
                  <c:v>0.40937043331508904</c:v>
                </c:pt>
                <c:pt idx="1288" formatCode="0.0%">
                  <c:v>0.40949957684931521</c:v>
                </c:pt>
                <c:pt idx="1289" formatCode="0.0%">
                  <c:v>0.41303504833797633</c:v>
                </c:pt>
                <c:pt idx="1290" formatCode="0.0%">
                  <c:v>0.41303707368241194</c:v>
                </c:pt>
                <c:pt idx="1291" formatCode="0.0%">
                  <c:v>0.41304179948609743</c:v>
                </c:pt>
                <c:pt idx="1292" formatCode="0.0%">
                  <c:v>0.41242927898810022</c:v>
                </c:pt>
                <c:pt idx="1293" formatCode="0.0%">
                  <c:v>0.41865263352132615</c:v>
                </c:pt>
                <c:pt idx="1294" formatCode="0.0%">
                  <c:v>0.4049995591745747</c:v>
                </c:pt>
                <c:pt idx="1295" formatCode="0.0%">
                  <c:v>0.39807179546598576</c:v>
                </c:pt>
                <c:pt idx="1296" formatCode="0.0%">
                  <c:v>0.38938257796732162</c:v>
                </c:pt>
                <c:pt idx="1297" formatCode="0.0%">
                  <c:v>0.38938460690975063</c:v>
                </c:pt>
                <c:pt idx="1298" formatCode="0.0%">
                  <c:v>0.38938426875267934</c:v>
                </c:pt>
                <c:pt idx="1299" formatCode="0.0%">
                  <c:v>0.39605599445198492</c:v>
                </c:pt>
                <c:pt idx="1300" formatCode="0.0%">
                  <c:v>0.40177544728271725</c:v>
                </c:pt>
                <c:pt idx="1301" formatCode="0.0%">
                  <c:v>0.38550608982311557</c:v>
                </c:pt>
                <c:pt idx="1302" formatCode="0.0%">
                  <c:v>0.37309373237108046</c:v>
                </c:pt>
                <c:pt idx="1303" formatCode="0.0%">
                  <c:v>0.38042064126456721</c:v>
                </c:pt>
                <c:pt idx="1304" formatCode="0.0%">
                  <c:v>0.38042250729045579</c:v>
                </c:pt>
                <c:pt idx="1305" formatCode="0.0%">
                  <c:v>0.3804223376517385</c:v>
                </c:pt>
                <c:pt idx="1306" formatCode="0.0%">
                  <c:v>0.38810990843990678</c:v>
                </c:pt>
                <c:pt idx="1307" formatCode="0.0%">
                  <c:v>0.38727297983915321</c:v>
                </c:pt>
                <c:pt idx="1308" formatCode="0.0%">
                  <c:v>0.40060854457359879</c:v>
                </c:pt>
                <c:pt idx="1309" formatCode="0.0%">
                  <c:v>0.39543256343193578</c:v>
                </c:pt>
                <c:pt idx="1310" formatCode="0.0%">
                  <c:v>0.35347713174563183</c:v>
                </c:pt>
                <c:pt idx="1311" formatCode="0.0%">
                  <c:v>0.35347915506156935</c:v>
                </c:pt>
                <c:pt idx="1312" formatCode="0.0%">
                  <c:v>0.35347898645190751</c:v>
                </c:pt>
                <c:pt idx="1313" formatCode="0.0%">
                  <c:v>0.31367008043935896</c:v>
                </c:pt>
                <c:pt idx="1314" formatCode="0.0%">
                  <c:v>0.32017226605418758</c:v>
                </c:pt>
                <c:pt idx="1315" formatCode="0.0%">
                  <c:v>0.32509430912396398</c:v>
                </c:pt>
                <c:pt idx="1316" formatCode="0.0%">
                  <c:v>0.3366911619926361</c:v>
                </c:pt>
                <c:pt idx="1317" formatCode="0.0%">
                  <c:v>0.34464312093278721</c:v>
                </c:pt>
                <c:pt idx="1318" formatCode="0.0%">
                  <c:v>0.34464531245737251</c:v>
                </c:pt>
                <c:pt idx="1319" formatCode="0.0%">
                  <c:v>0.34464497529974608</c:v>
                </c:pt>
                <c:pt idx="1320" formatCode="0.0%">
                  <c:v>0.34576498925865679</c:v>
                </c:pt>
                <c:pt idx="1321" formatCode="0.0%">
                  <c:v>0.35659644390819012</c:v>
                </c:pt>
                <c:pt idx="1322" formatCode="0.0%">
                  <c:v>0.35798992218646902</c:v>
                </c:pt>
                <c:pt idx="1323" formatCode="0.0%">
                  <c:v>0.37016078395895818</c:v>
                </c:pt>
                <c:pt idx="1324" formatCode="0.0%">
                  <c:v>0.38357975757075963</c:v>
                </c:pt>
                <c:pt idx="1325" formatCode="0.0%">
                  <c:v>0.38357959006048503</c:v>
                </c:pt>
                <c:pt idx="1326" formatCode="0.0%">
                  <c:v>0.38357942255021044</c:v>
                </c:pt>
                <c:pt idx="1327" formatCode="0.0%">
                  <c:v>0.38769700861433221</c:v>
                </c:pt>
                <c:pt idx="1328" formatCode="0.0%">
                  <c:v>0.38529972777243415</c:v>
                </c:pt>
                <c:pt idx="1329" formatCode="0.0%">
                  <c:v>0.38771145799714529</c:v>
                </c:pt>
                <c:pt idx="1330" formatCode="0.0%">
                  <c:v>0.38571299851211849</c:v>
                </c:pt>
                <c:pt idx="1331" formatCode="0.0%">
                  <c:v>0.38888039349469578</c:v>
                </c:pt>
                <c:pt idx="1332" formatCode="0.0%">
                  <c:v>0.38888006406608921</c:v>
                </c:pt>
                <c:pt idx="1333" formatCode="0.0%">
                  <c:v>0.38887973463748293</c:v>
                </c:pt>
                <c:pt idx="1334" formatCode="0.0%">
                  <c:v>0.38877822603305107</c:v>
                </c:pt>
                <c:pt idx="1335" formatCode="0.0%">
                  <c:v>0.38994726110839506</c:v>
                </c:pt>
                <c:pt idx="1336" formatCode="0.0%">
                  <c:v>0.39077988802940383</c:v>
                </c:pt>
                <c:pt idx="1337" formatCode="0.0%">
                  <c:v>0.39755436748680323</c:v>
                </c:pt>
                <c:pt idx="1338" formatCode="0.0%">
                  <c:v>0.40471859710745778</c:v>
                </c:pt>
                <c:pt idx="1339" formatCode="0.0%">
                  <c:v>0.40479675455207881</c:v>
                </c:pt>
                <c:pt idx="1340" formatCode="0.0%">
                  <c:v>0.40479642196720789</c:v>
                </c:pt>
                <c:pt idx="1341" formatCode="0.0%">
                  <c:v>0.40589397271056188</c:v>
                </c:pt>
                <c:pt idx="1342" formatCode="0.0%">
                  <c:v>0.39293694841383231</c:v>
                </c:pt>
                <c:pt idx="1343" formatCode="0.0%">
                  <c:v>0.37914430638150892</c:v>
                </c:pt>
                <c:pt idx="1344" formatCode="0.0%">
                  <c:v>0.37401663213365283</c:v>
                </c:pt>
                <c:pt idx="1345" formatCode="0.0%">
                  <c:v>0.35770576426974032</c:v>
                </c:pt>
                <c:pt idx="1346" formatCode="0.0%">
                  <c:v>0.35770543309643044</c:v>
                </c:pt>
                <c:pt idx="1347" formatCode="0.0%">
                  <c:v>0.35770510192311777</c:v>
                </c:pt>
                <c:pt idx="1348" formatCode="0.0%">
                  <c:v>0.36669447494791968</c:v>
                </c:pt>
                <c:pt idx="1349" formatCode="0.0%">
                  <c:v>0.37159154194566357</c:v>
                </c:pt>
                <c:pt idx="1350" formatCode="0.0%">
                  <c:v>0.37694628484691861</c:v>
                </c:pt>
                <c:pt idx="1351" formatCode="0.0%">
                  <c:v>0.38793128891702933</c:v>
                </c:pt>
                <c:pt idx="1352" formatCode="0.0%">
                  <c:v>0.39397899373515799</c:v>
                </c:pt>
                <c:pt idx="1353" formatCode="0.0%">
                  <c:v>0.39397882765741998</c:v>
                </c:pt>
                <c:pt idx="1354" formatCode="0.0%">
                  <c:v>0.3939784955019397</c:v>
                </c:pt>
                <c:pt idx="1355" formatCode="0.0%">
                  <c:v>0.3935705537875151</c:v>
                </c:pt>
                <c:pt idx="1356" formatCode="0.0%">
                  <c:v>0.39543168361031433</c:v>
                </c:pt>
                <c:pt idx="1357" formatCode="0.0%">
                  <c:v>0.39183354931512215</c:v>
                </c:pt>
                <c:pt idx="1358" formatCode="0.0%">
                  <c:v>0.40629205548184927</c:v>
                </c:pt>
                <c:pt idx="1359" formatCode="0.0%">
                  <c:v>0.40205944450511821</c:v>
                </c:pt>
                <c:pt idx="1360" formatCode="0.0%">
                  <c:v>0.40205911415110424</c:v>
                </c:pt>
                <c:pt idx="1361" formatCode="0.0%">
                  <c:v>0.4020587837970882</c:v>
                </c:pt>
                <c:pt idx="1362" formatCode="0.0%">
                  <c:v>0.40637873984711265</c:v>
                </c:pt>
                <c:pt idx="1363" formatCode="0.0%">
                  <c:v>0.40898360459276945</c:v>
                </c:pt>
                <c:pt idx="1364" formatCode="0.0%">
                  <c:v>0.40694969450998686</c:v>
                </c:pt>
                <c:pt idx="1365" formatCode="0.0%">
                  <c:v>0.41822768279123296</c:v>
                </c:pt>
                <c:pt idx="1366" formatCode="0.0%">
                  <c:v>0.42138818524281957</c:v>
                </c:pt>
                <c:pt idx="1367" formatCode="0.0%">
                  <c:v>0.42138769142565424</c:v>
                </c:pt>
                <c:pt idx="1368" formatCode="0.0%">
                  <c:v>0.42138752681993225</c:v>
                </c:pt>
                <c:pt idx="1369" formatCode="0.0%">
                  <c:v>0.41910411243430301</c:v>
                </c:pt>
                <c:pt idx="1370" formatCode="0.0%">
                  <c:v>0.42019740775606207</c:v>
                </c:pt>
                <c:pt idx="1371" formatCode="0.0%">
                  <c:v>0.42195796790012507</c:v>
                </c:pt>
                <c:pt idx="1372" formatCode="0.0%">
                  <c:v>0.41909588611266568</c:v>
                </c:pt>
                <c:pt idx="1373" formatCode="0.0%">
                  <c:v>0.42797882247179159</c:v>
                </c:pt>
                <c:pt idx="1374" formatCode="0.0%">
                  <c:v>0.42797865473942098</c:v>
                </c:pt>
                <c:pt idx="1375" formatCode="0.0%">
                  <c:v>0.42797831927467511</c:v>
                </c:pt>
                <c:pt idx="1376" formatCode="0.0%">
                  <c:v>0.42618288876725674</c:v>
                </c:pt>
                <c:pt idx="1377" formatCode="0.0%">
                  <c:v>0.42583637920748713</c:v>
                </c:pt>
                <c:pt idx="1378" formatCode="0.0%">
                  <c:v>0.434662787555678</c:v>
                </c:pt>
                <c:pt idx="1379" formatCode="0.0%">
                  <c:v>0.43789059908405592</c:v>
                </c:pt>
                <c:pt idx="1380" formatCode="0.0%">
                  <c:v>0.44248973354418469</c:v>
                </c:pt>
                <c:pt idx="1381" formatCode="0.0%">
                  <c:v>0.44248939709727042</c:v>
                </c:pt>
                <c:pt idx="1382" formatCode="0.0%">
                  <c:v>0.44248906065035387</c:v>
                </c:pt>
                <c:pt idx="1383" formatCode="0.0%">
                  <c:v>0.45245822374289135</c:v>
                </c:pt>
                <c:pt idx="1384" formatCode="0.0%">
                  <c:v>0.44982685518100679</c:v>
                </c:pt>
                <c:pt idx="1385" formatCode="0.0%">
                  <c:v>0.44948445398658066</c:v>
                </c:pt>
                <c:pt idx="1386" formatCode="0.0%">
                  <c:v>0.45738670080681515</c:v>
                </c:pt>
                <c:pt idx="1387" formatCode="0.0%">
                  <c:v>0.45851298218241171</c:v>
                </c:pt>
                <c:pt idx="1388" formatCode="0.0%">
                  <c:v>0.45851264312707601</c:v>
                </c:pt>
                <c:pt idx="1389" formatCode="0.0%">
                  <c:v>0.45851230407173998</c:v>
                </c:pt>
                <c:pt idx="1390" formatCode="0.0%">
                  <c:v>0.45550198713176743</c:v>
                </c:pt>
                <c:pt idx="1391" formatCode="0.0%">
                  <c:v>0.45371544813176601</c:v>
                </c:pt>
                <c:pt idx="1392" formatCode="0.0%">
                  <c:v>0.4491776364601327</c:v>
                </c:pt>
                <c:pt idx="1393" formatCode="0.0%">
                  <c:v>0.44654828934609186</c:v>
                </c:pt>
                <c:pt idx="1394" formatCode="0.0%">
                  <c:v>0.44383278779837781</c:v>
                </c:pt>
                <c:pt idx="1395" formatCode="0.0%">
                  <c:v>0.44383244782503312</c:v>
                </c:pt>
                <c:pt idx="1396" formatCode="0.0%">
                  <c:v>0.44383210785169297</c:v>
                </c:pt>
                <c:pt idx="1397" formatCode="0.0%">
                  <c:v>0.44636565438875381</c:v>
                </c:pt>
                <c:pt idx="1398" formatCode="0.0%">
                  <c:v>0.4499248975804474</c:v>
                </c:pt>
                <c:pt idx="1399" formatCode="0.0%">
                  <c:v>0.43909331805118057</c:v>
                </c:pt>
                <c:pt idx="1400" formatCode="0.0%">
                  <c:v>0.41956666552743171</c:v>
                </c:pt>
                <c:pt idx="1401" formatCode="0.0%">
                  <c:v>0.42224017009037651</c:v>
                </c:pt>
                <c:pt idx="1402" formatCode="0.0%">
                  <c:v>0.4222398308351521</c:v>
                </c:pt>
                <c:pt idx="1403" formatCode="0.0%">
                  <c:v>0.42223966120753997</c:v>
                </c:pt>
                <c:pt idx="1404" formatCode="0.0%">
                  <c:v>0.41855735822667695</c:v>
                </c:pt>
                <c:pt idx="1405" formatCode="0.0%">
                  <c:v>0.42642509334030509</c:v>
                </c:pt>
                <c:pt idx="1406" formatCode="0.0%">
                  <c:v>0.45908147001869509</c:v>
                </c:pt>
                <c:pt idx="1407" formatCode="0.0%">
                  <c:v>0.46711800843021306</c:v>
                </c:pt>
                <c:pt idx="1408" formatCode="0.0%">
                  <c:v>0.47345817898322651</c:v>
                </c:pt>
                <c:pt idx="1409" formatCode="0.0%">
                  <c:v>0.47345800779722425</c:v>
                </c:pt>
                <c:pt idx="1410" formatCode="0.0%">
                  <c:v>0.47346947725937583</c:v>
                </c:pt>
                <c:pt idx="1411" formatCode="0.0%">
                  <c:v>0.48651549945444938</c:v>
                </c:pt>
                <c:pt idx="1412" formatCode="0.0%">
                  <c:v>0.48409279281727835</c:v>
                </c:pt>
                <c:pt idx="1413" formatCode="0.0%">
                  <c:v>0.48207081377130495</c:v>
                </c:pt>
                <c:pt idx="1414" formatCode="0.0%">
                  <c:v>0.48215413335155316</c:v>
                </c:pt>
                <c:pt idx="1415" formatCode="0.0%">
                  <c:v>0.47124724105524024</c:v>
                </c:pt>
                <c:pt idx="1416" formatCode="0.0%">
                  <c:v>0.47124689162050826</c:v>
                </c:pt>
                <c:pt idx="1417" formatCode="0.0%">
                  <c:v>0.47124671690314218</c:v>
                </c:pt>
                <c:pt idx="1418" formatCode="0.0%">
                  <c:v>0.46726259942267118</c:v>
                </c:pt>
                <c:pt idx="1419" formatCode="0.0%">
                  <c:v>0.46817252176539143</c:v>
                </c:pt>
                <c:pt idx="1420" formatCode="0.0%">
                  <c:v>0.47444581611745773</c:v>
                </c:pt>
                <c:pt idx="1421" formatCode="0.0%">
                  <c:v>0.48243854522786789</c:v>
                </c:pt>
                <c:pt idx="1422" formatCode="0.0%">
                  <c:v>0.5011728045815369</c:v>
                </c:pt>
                <c:pt idx="1423" formatCode="0.0%">
                  <c:v>0.50117262778631977</c:v>
                </c:pt>
                <c:pt idx="1424" formatCode="0.0%">
                  <c:v>0.50117245099110053</c:v>
                </c:pt>
                <c:pt idx="1425" formatCode="0.0%">
                  <c:v>0.50111516443781168</c:v>
                </c:pt>
                <c:pt idx="1426" formatCode="0.0%">
                  <c:v>0.50279034378707399</c:v>
                </c:pt>
                <c:pt idx="1427" formatCode="0.0%">
                  <c:v>0.49333939791623377</c:v>
                </c:pt>
                <c:pt idx="1428" formatCode="0.0%">
                  <c:v>0.49473996049385305</c:v>
                </c:pt>
                <c:pt idx="1429" formatCode="0.0%">
                  <c:v>0.49933438963393312</c:v>
                </c:pt>
                <c:pt idx="1430" formatCode="0.0%">
                  <c:v>0.49934397330097652</c:v>
                </c:pt>
                <c:pt idx="1431" formatCode="0.0%">
                  <c:v>0.49934362480399302</c:v>
                </c:pt>
                <c:pt idx="1432" formatCode="0.0%">
                  <c:v>0.51326666929429987</c:v>
                </c:pt>
                <c:pt idx="1433" formatCode="0.0%">
                  <c:v>0.51378295072038127</c:v>
                </c:pt>
                <c:pt idx="1434" formatCode="0.0%">
                  <c:v>0.51912022717961637</c:v>
                </c:pt>
                <c:pt idx="1435" formatCode="0.0%">
                  <c:v>0.51512160791469452</c:v>
                </c:pt>
                <c:pt idx="1436" formatCode="0.0%">
                  <c:v>0.5171314507876591</c:v>
                </c:pt>
                <c:pt idx="1437" formatCode="0.0%">
                  <c:v>0.51713127655767299</c:v>
                </c:pt>
                <c:pt idx="1438" formatCode="0.0%">
                  <c:v>0.51713092809770844</c:v>
                </c:pt>
                <c:pt idx="1439" formatCode="0.0%">
                  <c:v>0.5124175878014674</c:v>
                </c:pt>
                <c:pt idx="1440" formatCode="0.0%">
                  <c:v>0.51342929340900756</c:v>
                </c:pt>
                <c:pt idx="1441" formatCode="0.0%">
                  <c:v>0.52053219500088177</c:v>
                </c:pt>
                <c:pt idx="1442" formatCode="0.0%">
                  <c:v>0.51876807516199652</c:v>
                </c:pt>
                <c:pt idx="1443" formatCode="0.0%">
                  <c:v>0.51217856056613131</c:v>
                </c:pt>
                <c:pt idx="1444" formatCode="0.0%">
                  <c:v>0.51217820963593486</c:v>
                </c:pt>
                <c:pt idx="1445" formatCode="0.0%">
                  <c:v>0.51217820963593486</c:v>
                </c:pt>
                <c:pt idx="1446" formatCode="0.0%">
                  <c:v>0.51119627924962374</c:v>
                </c:pt>
                <c:pt idx="1447" formatCode="0.0%">
                  <c:v>0.50643066445893226</c:v>
                </c:pt>
                <c:pt idx="1448" formatCode="0.0%">
                  <c:v>0.49056572750240635</c:v>
                </c:pt>
                <c:pt idx="1449" formatCode="0.0%">
                  <c:v>0.48187038400200921</c:v>
                </c:pt>
                <c:pt idx="1450" formatCode="0.0%">
                  <c:v>0.48105379355392131</c:v>
                </c:pt>
                <c:pt idx="1451" formatCode="0.0%">
                  <c:v>0.48105485568003759</c:v>
                </c:pt>
                <c:pt idx="1452" formatCode="0.0%">
                  <c:v>0.4810546786590183</c:v>
                </c:pt>
                <c:pt idx="1453" formatCode="0.0%">
                  <c:v>0.48864175263521614</c:v>
                </c:pt>
                <c:pt idx="1454" formatCode="0.0%">
                  <c:v>0.49361513627095976</c:v>
                </c:pt>
                <c:pt idx="1455" formatCode="0.0%">
                  <c:v>0.49361336454309168</c:v>
                </c:pt>
                <c:pt idx="1456" formatCode="0.0%">
                  <c:v>0.49153438776175534</c:v>
                </c:pt>
                <c:pt idx="1457" formatCode="0.0%">
                  <c:v>0.49396758949218567</c:v>
                </c:pt>
                <c:pt idx="1458" formatCode="0.0%">
                  <c:v>0.49396723618307392</c:v>
                </c:pt>
                <c:pt idx="1459" formatCode="0.0%">
                  <c:v>0.49396688287395707</c:v>
                </c:pt>
                <c:pt idx="1460" formatCode="0.0%">
                  <c:v>0.48461353214831548</c:v>
                </c:pt>
                <c:pt idx="1461" formatCode="0.0%">
                  <c:v>0.48553367100263956</c:v>
                </c:pt>
                <c:pt idx="1462" formatCode="0.0%">
                  <c:v>0.4855249628127305</c:v>
                </c:pt>
                <c:pt idx="1463" formatCode="0.0%">
                  <c:v>0.49359470983666964</c:v>
                </c:pt>
                <c:pt idx="1464" formatCode="0.0%">
                  <c:v>0.49928311877476633</c:v>
                </c:pt>
                <c:pt idx="1465" formatCode="0.0%">
                  <c:v>0.49928365539768632</c:v>
                </c:pt>
                <c:pt idx="1466" formatCode="0.0%">
                  <c:v>0.49928258215184601</c:v>
                </c:pt>
                <c:pt idx="1467" formatCode="0.0%">
                  <c:v>0.4991281868203632</c:v>
                </c:pt>
                <c:pt idx="1468" formatCode="0.0%">
                  <c:v>0.49628875900503144</c:v>
                </c:pt>
                <c:pt idx="1469" formatCode="0.0%">
                  <c:v>0.49976893050523613</c:v>
                </c:pt>
                <c:pt idx="1470" formatCode="0.0%">
                  <c:v>0.50058064599949692</c:v>
                </c:pt>
                <c:pt idx="1471" formatCode="0.0%">
                  <c:v>0.49008296943541863</c:v>
                </c:pt>
                <c:pt idx="1472" formatCode="0.0%">
                  <c:v>0.49008314906732464</c:v>
                </c:pt>
                <c:pt idx="1473" formatCode="0.0%">
                  <c:v>0.4900827898035095</c:v>
                </c:pt>
                <c:pt idx="1474" formatCode="0.0%">
                  <c:v>0.48871294292503337</c:v>
                </c:pt>
                <c:pt idx="1475" formatCode="0.0%">
                  <c:v>0.48306355238116738</c:v>
                </c:pt>
                <c:pt idx="1476" formatCode="0.0%">
                  <c:v>0.49893624073039577</c:v>
                </c:pt>
                <c:pt idx="1477" formatCode="0.0%">
                  <c:v>0.50753905425678936</c:v>
                </c:pt>
                <c:pt idx="1478" formatCode="0.0%">
                  <c:v>0.5168623029188123</c:v>
                </c:pt>
                <c:pt idx="1479" formatCode="0.0%">
                  <c:v>0.51686212419874034</c:v>
                </c:pt>
                <c:pt idx="1480" formatCode="0.0%">
                  <c:v>0.51686176675859685</c:v>
                </c:pt>
                <c:pt idx="1481" formatCode="0.0%">
                  <c:v>0.5124163859927654</c:v>
                </c:pt>
                <c:pt idx="1482" formatCode="0.0%">
                  <c:v>0.51943290973730427</c:v>
                </c:pt>
                <c:pt idx="1483" formatCode="0.0%">
                  <c:v>0.52573279734460299</c:v>
                </c:pt>
                <c:pt idx="1484" formatCode="0.0%">
                  <c:v>0.53287929354375052</c:v>
                </c:pt>
                <c:pt idx="1485" formatCode="0.0%">
                  <c:v>0.52430246528823543</c:v>
                </c:pt>
                <c:pt idx="1486" formatCode="0.0%">
                  <c:v>0.52430211514525638</c:v>
                </c:pt>
                <c:pt idx="1487" formatCode="0.0%">
                  <c:v>0.52430194007376718</c:v>
                </c:pt>
                <c:pt idx="1488" formatCode="0.0%">
                  <c:v>0.51027765102064737</c:v>
                </c:pt>
                <c:pt idx="1489" formatCode="0.0%">
                  <c:v>0.52271450353398674</c:v>
                </c:pt>
                <c:pt idx="1490" formatCode="0.0%">
                  <c:v>0.52600667797498057</c:v>
                </c:pt>
                <c:pt idx="1491" formatCode="0.0%">
                  <c:v>0.5324927179900999</c:v>
                </c:pt>
                <c:pt idx="1492" formatCode="0.0%">
                  <c:v>0.5360554355637055</c:v>
                </c:pt>
                <c:pt idx="1493" formatCode="0.0%">
                  <c:v>0.53605525842299984</c:v>
                </c:pt>
                <c:pt idx="1494" formatCode="0.0%">
                  <c:v>0.53605490414158818</c:v>
                </c:pt>
                <c:pt idx="1495" formatCode="0.0%">
                  <c:v>0.532331389155417</c:v>
                </c:pt>
                <c:pt idx="1496" formatCode="0.0%">
                  <c:v>0.53029746476826967</c:v>
                </c:pt>
                <c:pt idx="1497" formatCode="0.0%">
                  <c:v>0.53143845236244147</c:v>
                </c:pt>
                <c:pt idx="1498" formatCode="0.0%">
                  <c:v>0.54445381815739613</c:v>
                </c:pt>
                <c:pt idx="1499" formatCode="0.0%">
                  <c:v>0.54167502614582308</c:v>
                </c:pt>
                <c:pt idx="1500" formatCode="0.0%">
                  <c:v>0.54167609394285055</c:v>
                </c:pt>
                <c:pt idx="1501" formatCode="0.0%">
                  <c:v>0.54167573801050795</c:v>
                </c:pt>
                <c:pt idx="1502" formatCode="0.0%">
                  <c:v>0.54846483945074942</c:v>
                </c:pt>
                <c:pt idx="1503" formatCode="0.0%">
                  <c:v>0.54676993912187644</c:v>
                </c:pt>
                <c:pt idx="1504" formatCode="0.0%">
                  <c:v>0.54004705606676362</c:v>
                </c:pt>
                <c:pt idx="1505" formatCode="0.0%">
                  <c:v>0.54560907334935249</c:v>
                </c:pt>
                <c:pt idx="1506" formatCode="0.0%">
                  <c:v>0.54167170670712095</c:v>
                </c:pt>
                <c:pt idx="1507" formatCode="0.0%">
                  <c:v>0.54167135639139874</c:v>
                </c:pt>
                <c:pt idx="1508" formatCode="0.0%">
                  <c:v>0.54167100607567675</c:v>
                </c:pt>
                <c:pt idx="1509" formatCode="0.0%">
                  <c:v>0.54488249458601901</c:v>
                </c:pt>
                <c:pt idx="1510" formatCode="0.0%">
                  <c:v>0.55063960949833135</c:v>
                </c:pt>
                <c:pt idx="1511" formatCode="0.0%">
                  <c:v>0.55341066679679018</c:v>
                </c:pt>
                <c:pt idx="1512" formatCode="0.0%">
                  <c:v>0.54545798187390515</c:v>
                </c:pt>
                <c:pt idx="1513" formatCode="0.0%">
                  <c:v>0.53725831738690799</c:v>
                </c:pt>
                <c:pt idx="1514" formatCode="0.0%">
                  <c:v>0.53725814129870175</c:v>
                </c:pt>
                <c:pt idx="1515" formatCode="0.0%">
                  <c:v>0.53725778912228916</c:v>
                </c:pt>
                <c:pt idx="1516" formatCode="0.0%">
                  <c:v>0.52642622513990656</c:v>
                </c:pt>
                <c:pt idx="1517" formatCode="0.0%">
                  <c:v>0.5170646050795813</c:v>
                </c:pt>
                <c:pt idx="1518" formatCode="0.0%">
                  <c:v>0.52083747534642266</c:v>
                </c:pt>
                <c:pt idx="1519" formatCode="0.0%">
                  <c:v>0.5170327294730569</c:v>
                </c:pt>
                <c:pt idx="1520" formatCode="0.0%">
                  <c:v>0.51918180388327562</c:v>
                </c:pt>
                <c:pt idx="1521" formatCode="0.0%">
                  <c:v>0.51918144996215942</c:v>
                </c:pt>
                <c:pt idx="1522" formatCode="0.0%">
                  <c:v>0.51918127300160022</c:v>
                </c:pt>
                <c:pt idx="1523" formatCode="0.0%">
                  <c:v>0.50869883104163593</c:v>
                </c:pt>
                <c:pt idx="1524" formatCode="0.0%">
                  <c:v>0.48423575673082214</c:v>
                </c:pt>
                <c:pt idx="1525" formatCode="0.0%">
                  <c:v>0.47108778088324671</c:v>
                </c:pt>
                <c:pt idx="1526" formatCode="0.0%">
                  <c:v>0.45878627294055663</c:v>
                </c:pt>
                <c:pt idx="1527" formatCode="0.0%">
                  <c:v>0.4500599079547794</c:v>
                </c:pt>
                <c:pt idx="1528" formatCode="0.0%">
                  <c:v>0.45005956930662366</c:v>
                </c:pt>
                <c:pt idx="1529" formatCode="0.0%">
                  <c:v>0.45005939998254546</c:v>
                </c:pt>
                <c:pt idx="1530" formatCode="0.0%">
                  <c:v>0.43057061933817609</c:v>
                </c:pt>
                <c:pt idx="1531" formatCode="0.0%">
                  <c:v>0.40676998221882454</c:v>
                </c:pt>
                <c:pt idx="1532" formatCode="0.0%">
                  <c:v>0.40905381447139033</c:v>
                </c:pt>
                <c:pt idx="1533" formatCode="0.0%">
                  <c:v>0.40590266960800164</c:v>
                </c:pt>
                <c:pt idx="1534" formatCode="0.0%">
                  <c:v>0.4194293988325532</c:v>
                </c:pt>
                <c:pt idx="1535" formatCode="0.0%">
                  <c:v>0.41942906014491343</c:v>
                </c:pt>
                <c:pt idx="1536" formatCode="0.0%">
                  <c:v>0.41942872145727361</c:v>
                </c:pt>
                <c:pt idx="1537" formatCode="0.0%">
                  <c:v>0.42755506741431676</c:v>
                </c:pt>
                <c:pt idx="1538" formatCode="0.0%">
                  <c:v>0.42559094256799201</c:v>
                </c:pt>
                <c:pt idx="1539" formatCode="0.0%">
                  <c:v>0.43616904774081094</c:v>
                </c:pt>
                <c:pt idx="1540" formatCode="0.0%">
                  <c:v>0.43953012003048314</c:v>
                </c:pt>
                <c:pt idx="1541" formatCode="0.0%">
                  <c:v>0.43788594147937404</c:v>
                </c:pt>
                <c:pt idx="1542" formatCode="0.0%">
                  <c:v>0.43788577118670075</c:v>
                </c:pt>
                <c:pt idx="1543" formatCode="0.0%">
                  <c:v>0.43788543060135426</c:v>
                </c:pt>
                <c:pt idx="1544" formatCode="0.0%">
                  <c:v>0.45148515903395692</c:v>
                </c:pt>
                <c:pt idx="1545" formatCode="0.0%">
                  <c:v>0.45698418738327062</c:v>
                </c:pt>
                <c:pt idx="1546" formatCode="0.0%">
                  <c:v>0.45024465066984559</c:v>
                </c:pt>
                <c:pt idx="1547" formatCode="0.0%">
                  <c:v>0.44347860768970604</c:v>
                </c:pt>
                <c:pt idx="1548" formatCode="0.0%">
                  <c:v>0.42301419598013668</c:v>
                </c:pt>
                <c:pt idx="1549" formatCode="0.0%">
                  <c:v>0.4230138557081955</c:v>
                </c:pt>
                <c:pt idx="1550" formatCode="0.0%">
                  <c:v>0.42301351543625398</c:v>
                </c:pt>
                <c:pt idx="1551" formatCode="0.0%">
                  <c:v>0.41302224287407002</c:v>
                </c:pt>
                <c:pt idx="1552" formatCode="0.0%">
                  <c:v>0.42000149159645273</c:v>
                </c:pt>
                <c:pt idx="1553" formatCode="0.0%">
                  <c:v>0.41946675310926534</c:v>
                </c:pt>
                <c:pt idx="1554" formatCode="0.0%">
                  <c:v>0.3611117786496959</c:v>
                </c:pt>
                <c:pt idx="1555" formatCode="0.0%">
                  <c:v>0.30823119606071231</c:v>
                </c:pt>
                <c:pt idx="1556" formatCode="0.0%">
                  <c:v>0.30823086097106822</c:v>
                </c:pt>
                <c:pt idx="1557" formatCode="0.0%">
                  <c:v>0.30823069342624509</c:v>
                </c:pt>
                <c:pt idx="1558" formatCode="0.0%">
                  <c:v>0.2719507222703943</c:v>
                </c:pt>
                <c:pt idx="1559" formatCode="0.0%">
                  <c:v>0.27806190222099292</c:v>
                </c:pt>
                <c:pt idx="1560" formatCode="0.0%">
                  <c:v>0.29473786523532597</c:v>
                </c:pt>
                <c:pt idx="1561" formatCode="0.0%">
                  <c:v>0.29975150182363675</c:v>
                </c:pt>
                <c:pt idx="1562" formatCode="0.0%">
                  <c:v>0.2937266835762935</c:v>
                </c:pt>
                <c:pt idx="1563" formatCode="0.0%">
                  <c:v>0.29372635846873379</c:v>
                </c:pt>
                <c:pt idx="1564" formatCode="0.0%">
                  <c:v>0.29372131930155776</c:v>
                </c:pt>
                <c:pt idx="1565" formatCode="0.0%">
                  <c:v>0.31072619005729507</c:v>
                </c:pt>
                <c:pt idx="1566" formatCode="0.0%">
                  <c:v>0.32062594632700725</c:v>
                </c:pt>
                <c:pt idx="1567" formatCode="0.0%">
                  <c:v>0.30421909200707486</c:v>
                </c:pt>
                <c:pt idx="1568" formatCode="0.0%">
                  <c:v>0.30395236616635091</c:v>
                </c:pt>
                <c:pt idx="1569" formatCode="0.0%">
                  <c:v>0.30392736518722274</c:v>
                </c:pt>
                <c:pt idx="1570" formatCode="0.0%">
                  <c:v>0.30392687815516184</c:v>
                </c:pt>
                <c:pt idx="1571" formatCode="0.0%">
                  <c:v>0.30392655346712105</c:v>
                </c:pt>
                <c:pt idx="1572" formatCode="0.0%">
                  <c:v>0.29858270318678676</c:v>
                </c:pt>
                <c:pt idx="1573" formatCode="0.0%">
                  <c:v>0.29278588090032881</c:v>
                </c:pt>
                <c:pt idx="1574" formatCode="0.0%">
                  <c:v>0.32458062033085044</c:v>
                </c:pt>
                <c:pt idx="1575" formatCode="0.0%">
                  <c:v>0.33652555587201277</c:v>
                </c:pt>
                <c:pt idx="1576" formatCode="0.0%">
                  <c:v>0.34592268215092076</c:v>
                </c:pt>
                <c:pt idx="1577" formatCode="0.0%">
                  <c:v>0.34592252009562829</c:v>
                </c:pt>
                <c:pt idx="1578" formatCode="0.0%">
                  <c:v>0.34592219598504331</c:v>
                </c:pt>
                <c:pt idx="1579" formatCode="0.0%">
                  <c:v>0.35080138006194772</c:v>
                </c:pt>
                <c:pt idx="1580" formatCode="0.0%">
                  <c:v>0.35455471244211995</c:v>
                </c:pt>
                <c:pt idx="1581" formatCode="0.0%">
                  <c:v>0.35995660829930815</c:v>
                </c:pt>
                <c:pt idx="1582" formatCode="0.0%">
                  <c:v>0.36528045860995773</c:v>
                </c:pt>
                <c:pt idx="1583" formatCode="0.0%">
                  <c:v>0.38395003775144715</c:v>
                </c:pt>
                <c:pt idx="1584" formatCode="0.0%">
                  <c:v>0.38395100962419632</c:v>
                </c:pt>
                <c:pt idx="1585" formatCode="0.0%">
                  <c:v>0.38395068566661478</c:v>
                </c:pt>
                <c:pt idx="1586" formatCode="0.0%">
                  <c:v>0.38766478462680881</c:v>
                </c:pt>
                <c:pt idx="1587" formatCode="0.0%">
                  <c:v>0.38351233037713001</c:v>
                </c:pt>
                <c:pt idx="1588" formatCode="0.0%">
                  <c:v>0.38208938809416848</c:v>
                </c:pt>
                <c:pt idx="1589" formatCode="0.0%">
                  <c:v>0.39304215084444766</c:v>
                </c:pt>
                <c:pt idx="1590" formatCode="0.0%">
                  <c:v>0.3971943641865181</c:v>
                </c:pt>
                <c:pt idx="1591" formatCode="0.0%">
                  <c:v>0.39719420080233703</c:v>
                </c:pt>
                <c:pt idx="1592" formatCode="0.0%">
                  <c:v>0.39719387403397521</c:v>
                </c:pt>
                <c:pt idx="1593" formatCode="0.0%">
                  <c:v>0.43578428201723141</c:v>
                </c:pt>
                <c:pt idx="1594" formatCode="0.0%">
                  <c:v>0.44270765216522334</c:v>
                </c:pt>
                <c:pt idx="1595" formatCode="0.0%">
                  <c:v>0.44082758805736744</c:v>
                </c:pt>
                <c:pt idx="1596" formatCode="0.0%">
                  <c:v>0.446019029313166</c:v>
                </c:pt>
                <c:pt idx="1597" formatCode="0.0%">
                  <c:v>0.45634444167387672</c:v>
                </c:pt>
                <c:pt idx="1598" formatCode="0.0%">
                  <c:v>0.45634427664493415</c:v>
                </c:pt>
                <c:pt idx="1599" formatCode="0.0%">
                  <c:v>0.45634411161599131</c:v>
                </c:pt>
                <c:pt idx="1600" formatCode="0.0%">
                  <c:v>0.45109565285190539</c:v>
                </c:pt>
                <c:pt idx="1601" formatCode="0.0%">
                  <c:v>0.45235172332388257</c:v>
                </c:pt>
                <c:pt idx="1602" formatCode="0.0%">
                  <c:v>0.43734439350130061</c:v>
                </c:pt>
                <c:pt idx="1603" formatCode="0.0%">
                  <c:v>0.43451227480065596</c:v>
                </c:pt>
                <c:pt idx="1604" formatCode="0.0%">
                  <c:v>0.42278729456062336</c:v>
                </c:pt>
                <c:pt idx="1605" formatCode="0.0%">
                  <c:v>0.42278697004285815</c:v>
                </c:pt>
                <c:pt idx="1606" formatCode="0.0%">
                  <c:v>0.42278664552509271</c:v>
                </c:pt>
                <c:pt idx="1607" formatCode="0.0%">
                  <c:v>0.42241840649236989</c:v>
                </c:pt>
                <c:pt idx="1608" formatCode="0.0%">
                  <c:v>0.43890936299185712</c:v>
                </c:pt>
                <c:pt idx="1609" formatCode="0.0%">
                  <c:v>0.44048761292214722</c:v>
                </c:pt>
                <c:pt idx="1610" formatCode="0.0%">
                  <c:v>0.43920838878514445</c:v>
                </c:pt>
                <c:pt idx="1611" formatCode="0.0%">
                  <c:v>0.43769818667640237</c:v>
                </c:pt>
                <c:pt idx="1612" formatCode="0.0%">
                  <c:v>0.43754641399447908</c:v>
                </c:pt>
                <c:pt idx="1613" formatCode="0.0%">
                  <c:v>0.43754608969387648</c:v>
                </c:pt>
                <c:pt idx="1614" formatCode="0.0%">
                  <c:v>0.43235929920089861</c:v>
                </c:pt>
                <c:pt idx="1615" formatCode="0.0%">
                  <c:v>0.44032671540862539</c:v>
                </c:pt>
                <c:pt idx="1616" formatCode="0.0%">
                  <c:v>0.44354308102468165</c:v>
                </c:pt>
                <c:pt idx="1617" formatCode="0.0%">
                  <c:v>0.44100771032850505</c:v>
                </c:pt>
                <c:pt idx="1618" formatCode="0.0%">
                  <c:v>0.45122297602242695</c:v>
                </c:pt>
                <c:pt idx="1619" formatCode="0.0%">
                  <c:v>0.45122265277062212</c:v>
                </c:pt>
                <c:pt idx="1620" formatCode="0.0%">
                  <c:v>0.45122459228145007</c:v>
                </c:pt>
                <c:pt idx="1621" formatCode="0.0%">
                  <c:v>0.45256002682875474</c:v>
                </c:pt>
                <c:pt idx="1622" formatCode="0.0%">
                  <c:v>0.45519519885813964</c:v>
                </c:pt>
                <c:pt idx="1623" formatCode="0.0%">
                  <c:v>0.45053729264840314</c:v>
                </c:pt>
                <c:pt idx="1624" formatCode="0.0%">
                  <c:v>0.4415264644902297</c:v>
                </c:pt>
                <c:pt idx="1625" formatCode="0.0%">
                  <c:v>0.43226754213160945</c:v>
                </c:pt>
                <c:pt idx="1626" formatCode="0.0%">
                  <c:v>0.43226722324773903</c:v>
                </c:pt>
                <c:pt idx="1627" formatCode="0.0%">
                  <c:v>0.43226690436386861</c:v>
                </c:pt>
                <c:pt idx="1628" formatCode="0.0%">
                  <c:v>0.43521993089961369</c:v>
                </c:pt>
                <c:pt idx="1629" formatCode="0.0%">
                  <c:v>0.43187727120078906</c:v>
                </c:pt>
                <c:pt idx="1630" formatCode="0.0%">
                  <c:v>0.43080256145364215</c:v>
                </c:pt>
                <c:pt idx="1631" formatCode="0.0%">
                  <c:v>0.42899836546974768</c:v>
                </c:pt>
                <c:pt idx="1632" formatCode="0.0%">
                  <c:v>0.42293072181943925</c:v>
                </c:pt>
                <c:pt idx="1633" formatCode="0.0%">
                  <c:v>0.42293040212614386</c:v>
                </c:pt>
                <c:pt idx="1634" formatCode="0.0%">
                  <c:v>0.42292992258620044</c:v>
                </c:pt>
                <c:pt idx="1635" formatCode="0.0%">
                  <c:v>0.4246629345866319</c:v>
                </c:pt>
                <c:pt idx="1636" formatCode="0.0%">
                  <c:v>0.43453497719022321</c:v>
                </c:pt>
                <c:pt idx="1637" formatCode="0.0%">
                  <c:v>0.43453654229506183</c:v>
                </c:pt>
                <c:pt idx="1638" formatCode="0.0%">
                  <c:v>0.43347990138851455</c:v>
                </c:pt>
                <c:pt idx="1639" formatCode="0.0%">
                  <c:v>0.44148253378893171</c:v>
                </c:pt>
                <c:pt idx="1640" formatCode="0.0%">
                  <c:v>0.44148221957899719</c:v>
                </c:pt>
                <c:pt idx="1641" formatCode="0.0%">
                  <c:v>0.44148190536906301</c:v>
                </c:pt>
                <c:pt idx="1642" formatCode="0.0%">
                  <c:v>0.44436679055024342</c:v>
                </c:pt>
                <c:pt idx="1643" formatCode="0.0%">
                  <c:v>0.44094353147002552</c:v>
                </c:pt>
                <c:pt idx="1644" formatCode="0.0%">
                  <c:v>0.44361792196106475</c:v>
                </c:pt>
                <c:pt idx="1645" formatCode="0.0%">
                  <c:v>0.45414834670548232</c:v>
                </c:pt>
                <c:pt idx="1646" formatCode="0.0%">
                  <c:v>0.4521737020796624</c:v>
                </c:pt>
                <c:pt idx="1647" formatCode="0.0%">
                  <c:v>0.45217338940960727</c:v>
                </c:pt>
                <c:pt idx="1648" formatCode="0.0%">
                  <c:v>0.45217307673955504</c:v>
                </c:pt>
                <c:pt idx="1649" formatCode="0.0%">
                  <c:v>0.45091470528428773</c:v>
                </c:pt>
                <c:pt idx="1650" formatCode="0.0%">
                  <c:v>0.45205815059531917</c:v>
                </c:pt>
                <c:pt idx="1651" formatCode="0.0%">
                  <c:v>0.45707979977878976</c:v>
                </c:pt>
                <c:pt idx="1652" formatCode="0.0%">
                  <c:v>0.46308991769193286</c:v>
                </c:pt>
                <c:pt idx="1653" formatCode="0.0%">
                  <c:v>0.45623876094336452</c:v>
                </c:pt>
                <c:pt idx="1654" formatCode="0.0%">
                  <c:v>0.45623844603258901</c:v>
                </c:pt>
                <c:pt idx="1655" formatCode="0.0%">
                  <c:v>0.45623828857720011</c:v>
                </c:pt>
                <c:pt idx="1656" formatCode="0.0%">
                  <c:v>0.45639633758071907</c:v>
                </c:pt>
                <c:pt idx="1657" formatCode="0.0%">
                  <c:v>0.45969235324963309</c:v>
                </c:pt>
                <c:pt idx="1658" formatCode="0.0%">
                  <c:v>0.45974391679740478</c:v>
                </c:pt>
                <c:pt idx="1659" formatCode="0.0%">
                  <c:v>0.46908377134808632</c:v>
                </c:pt>
                <c:pt idx="1660" formatCode="0.0%">
                  <c:v>0.46668121764219933</c:v>
                </c:pt>
                <c:pt idx="1661" formatCode="0.0%">
                  <c:v>0.46668105950447225</c:v>
                </c:pt>
                <c:pt idx="1662" formatCode="0.0%">
                  <c:v>0.46668074322902614</c:v>
                </c:pt>
                <c:pt idx="1663" formatCode="0.0%">
                  <c:v>0.46390247437874538</c:v>
                </c:pt>
                <c:pt idx="1664" formatCode="0.0%">
                  <c:v>0.46130932671762226</c:v>
                </c:pt>
                <c:pt idx="1665" formatCode="0.0%">
                  <c:v>0.47137796610490257</c:v>
                </c:pt>
                <c:pt idx="1666" formatCode="0.0%">
                  <c:v>0.47374789615606089</c:v>
                </c:pt>
                <c:pt idx="1667" formatCode="0.0%">
                  <c:v>0.47653757178863798</c:v>
                </c:pt>
                <c:pt idx="1668" formatCode="0.0%">
                  <c:v>0.47653725773170519</c:v>
                </c:pt>
                <c:pt idx="1669" formatCode="0.0%">
                  <c:v>0.47653694367477184</c:v>
                </c:pt>
                <c:pt idx="1670" formatCode="0.0%">
                  <c:v>0.48424577118228596</c:v>
                </c:pt>
                <c:pt idx="1671" formatCode="0.0%">
                  <c:v>0.4919088191764695</c:v>
                </c:pt>
                <c:pt idx="1672" formatCode="0.0%">
                  <c:v>0.49280546272792181</c:v>
                </c:pt>
                <c:pt idx="1673" formatCode="0.0%">
                  <c:v>0.4911575782438018</c:v>
                </c:pt>
                <c:pt idx="1674" formatCode="0.0%">
                  <c:v>0.46417708730192031</c:v>
                </c:pt>
                <c:pt idx="1675" formatCode="0.0%">
                  <c:v>0.46417692790687254</c:v>
                </c:pt>
                <c:pt idx="1676" formatCode="0.0%">
                  <c:v>0.46417660911677699</c:v>
                </c:pt>
                <c:pt idx="1677" formatCode="0.0%">
                  <c:v>0.46870495224974662</c:v>
                </c:pt>
                <c:pt idx="1678" formatCode="0.0%">
                  <c:v>0.47050355432772106</c:v>
                </c:pt>
                <c:pt idx="1679" formatCode="0.0%">
                  <c:v>0.46824502044027272</c:v>
                </c:pt>
                <c:pt idx="1680" formatCode="0.0%">
                  <c:v>0.47371983192003569</c:v>
                </c:pt>
                <c:pt idx="1681" formatCode="0.0%">
                  <c:v>0.47595349824530048</c:v>
                </c:pt>
                <c:pt idx="1682" formatCode="0.0%">
                  <c:v>0.47596297873532534</c:v>
                </c:pt>
                <c:pt idx="1683" formatCode="0.0%">
                  <c:v>0.47596282072715551</c:v>
                </c:pt>
                <c:pt idx="1684" formatCode="0.0%">
                  <c:v>0.47961538331304837</c:v>
                </c:pt>
                <c:pt idx="1685" formatCode="0.0%">
                  <c:v>0.48331174878387229</c:v>
                </c:pt>
                <c:pt idx="1686" formatCode="0.0%">
                  <c:v>0.4875729575879032</c:v>
                </c:pt>
                <c:pt idx="1687" formatCode="0.0%">
                  <c:v>0.49298020312303037</c:v>
                </c:pt>
                <c:pt idx="1688" formatCode="0.0%">
                  <c:v>0.49012702485727688</c:v>
                </c:pt>
                <c:pt idx="1689" formatCode="0.0%">
                  <c:v>0.49012686759807478</c:v>
                </c:pt>
                <c:pt idx="1690" formatCode="0.0%">
                  <c:v>0.49012655307967068</c:v>
                </c:pt>
                <c:pt idx="1691" formatCode="0.0%">
                  <c:v>0.49295795101441942</c:v>
                </c:pt>
                <c:pt idx="1692" formatCode="0.0%">
                  <c:v>0.49163930994127386</c:v>
                </c:pt>
                <c:pt idx="1693" formatCode="0.0%">
                  <c:v>0.4896553746676926</c:v>
                </c:pt>
                <c:pt idx="1694" formatCode="0.0%">
                  <c:v>0.48997143730557124</c:v>
                </c:pt>
                <c:pt idx="1695" formatCode="0.0%">
                  <c:v>0.49645587423333326</c:v>
                </c:pt>
                <c:pt idx="1696" formatCode="0.0%">
                  <c:v>0.49645540261859933</c:v>
                </c:pt>
                <c:pt idx="1697" formatCode="0.0%">
                  <c:v>0.49645508820877637</c:v>
                </c:pt>
                <c:pt idx="1698" formatCode="0.0%">
                  <c:v>0.49616350307779611</c:v>
                </c:pt>
                <c:pt idx="1699" formatCode="0.0%">
                  <c:v>0.49677965048374662</c:v>
                </c:pt>
                <c:pt idx="1700" formatCode="0.0%">
                  <c:v>0.50386398824073497</c:v>
                </c:pt>
                <c:pt idx="1701" formatCode="0.0%">
                  <c:v>0.50002733214681772</c:v>
                </c:pt>
                <c:pt idx="1702" formatCode="0.0%">
                  <c:v>0.49180094223879822</c:v>
                </c:pt>
                <c:pt idx="1703" formatCode="0.0%">
                  <c:v>0.4918006274884249</c:v>
                </c:pt>
                <c:pt idx="1704" formatCode="0.0%">
                  <c:v>0.49174837892642442</c:v>
                </c:pt>
                <c:pt idx="1705" formatCode="0.0%">
                  <c:v>0.49074290742081816</c:v>
                </c:pt>
                <c:pt idx="1706" formatCode="0.0%">
                  <c:v>0.48322328424113492</c:v>
                </c:pt>
                <c:pt idx="1707" formatCode="0.0%">
                  <c:v>0.48720245162080261</c:v>
                </c:pt>
                <c:pt idx="1708" formatCode="0.0%">
                  <c:v>0.49708637842806069</c:v>
                </c:pt>
                <c:pt idx="1709" formatCode="0.0%">
                  <c:v>0.49322276214776312</c:v>
                </c:pt>
                <c:pt idx="1710" formatCode="0.0%">
                  <c:v>0.49322260517729122</c:v>
                </c:pt>
                <c:pt idx="1711" formatCode="0.0%">
                  <c:v>0.49322229123634287</c:v>
                </c:pt>
                <c:pt idx="1712" formatCode="0.0%">
                  <c:v>0.49616007373743087</c:v>
                </c:pt>
                <c:pt idx="1713" formatCode="0.0%">
                  <c:v>0.49919675344514047</c:v>
                </c:pt>
                <c:pt idx="1714" formatCode="0.0%">
                  <c:v>0.50358339923220852</c:v>
                </c:pt>
                <c:pt idx="1715" formatCode="0.0%">
                  <c:v>0.51137947936951944</c:v>
                </c:pt>
                <c:pt idx="1716" formatCode="0.0%">
                  <c:v>0.51200820309557715</c:v>
                </c:pt>
                <c:pt idx="1717" formatCode="0.0%">
                  <c:v>0.51200788894733673</c:v>
                </c:pt>
                <c:pt idx="1718" formatCode="0.0%">
                  <c:v>0.51200757479909664</c:v>
                </c:pt>
                <c:pt idx="1719" formatCode="0.0%">
                  <c:v>0.51328439904748224</c:v>
                </c:pt>
                <c:pt idx="1720" formatCode="0.0%">
                  <c:v>0.5033816435320847</c:v>
                </c:pt>
                <c:pt idx="1721" formatCode="0.0%">
                  <c:v>0.50223307724765309</c:v>
                </c:pt>
                <c:pt idx="1722" formatCode="0.0%">
                  <c:v>0.51398660847815136</c:v>
                </c:pt>
                <c:pt idx="1723" formatCode="0.0%">
                  <c:v>0.51854846344947902</c:v>
                </c:pt>
                <c:pt idx="1724" formatCode="0.0%">
                  <c:v>0.51854689682943644</c:v>
                </c:pt>
                <c:pt idx="1725" formatCode="0.0%">
                  <c:v>0.51854658350542759</c:v>
                </c:pt>
                <c:pt idx="1726" formatCode="0.0%">
                  <c:v>0.52029348173980883</c:v>
                </c:pt>
                <c:pt idx="1727" formatCode="0.0%">
                  <c:v>0.51752602746632592</c:v>
                </c:pt>
                <c:pt idx="1728" formatCode="0.0%">
                  <c:v>0.51671162625768063</c:v>
                </c:pt>
                <c:pt idx="1729" formatCode="0.0%">
                  <c:v>0.51388696466942951</c:v>
                </c:pt>
                <c:pt idx="1730" formatCode="0.0%">
                  <c:v>0.51809308440563229</c:v>
                </c:pt>
                <c:pt idx="1731" formatCode="0.0%">
                  <c:v>0.51809276930483716</c:v>
                </c:pt>
                <c:pt idx="1732" formatCode="0.0%">
                  <c:v>0.51809245420404182</c:v>
                </c:pt>
                <c:pt idx="1733" formatCode="0.0%">
                  <c:v>0.52036397360312747</c:v>
                </c:pt>
                <c:pt idx="1734" formatCode="0.0%">
                  <c:v>0.5237915157512486</c:v>
                </c:pt>
                <c:pt idx="1735" formatCode="0.0%">
                  <c:v>0.53146148886935551</c:v>
                </c:pt>
                <c:pt idx="1736" formatCode="0.0%">
                  <c:v>0.53939896931453291</c:v>
                </c:pt>
                <c:pt idx="1737" formatCode="0.0%">
                  <c:v>0.54247456345963996</c:v>
                </c:pt>
                <c:pt idx="1738" formatCode="0.0%">
                  <c:v>0.54246734355568405</c:v>
                </c:pt>
                <c:pt idx="1739" formatCode="0.0%">
                  <c:v>0.54246702964681648</c:v>
                </c:pt>
                <c:pt idx="1740" formatCode="0.0%">
                  <c:v>0.54900825029474565</c:v>
                </c:pt>
                <c:pt idx="1741" formatCode="0.0%">
                  <c:v>0.5499924730802479</c:v>
                </c:pt>
                <c:pt idx="1742" formatCode="0.0%">
                  <c:v>0.55871775326366591</c:v>
                </c:pt>
                <c:pt idx="1743" formatCode="0.0%">
                  <c:v>0.56027518002909316</c:v>
                </c:pt>
                <c:pt idx="1744" formatCode="0.0%">
                  <c:v>0.53895856448299728</c:v>
                </c:pt>
                <c:pt idx="1745" formatCode="0.0%">
                  <c:v>0.53898259456784048</c:v>
                </c:pt>
                <c:pt idx="1746" formatCode="0.0%">
                  <c:v>0.53898243542820579</c:v>
                </c:pt>
                <c:pt idx="1747" formatCode="0.0%">
                  <c:v>0.54275280338700926</c:v>
                </c:pt>
                <c:pt idx="1748" formatCode="0.0%">
                  <c:v>0.53759159093401709</c:v>
                </c:pt>
                <c:pt idx="1749" formatCode="0.0%">
                  <c:v>0.54449009469324716</c:v>
                </c:pt>
                <c:pt idx="1750" formatCode="0.0%">
                  <c:v>0.53973937842375053</c:v>
                </c:pt>
                <c:pt idx="1751" formatCode="0.0%">
                  <c:v>0.53544253893352134</c:v>
                </c:pt>
                <c:pt idx="1752" formatCode="0.0%">
                  <c:v>0.53544222297641342</c:v>
                </c:pt>
                <c:pt idx="1753" formatCode="0.0%">
                  <c:v>0.53544206499785962</c:v>
                </c:pt>
                <c:pt idx="1754" formatCode="0.0%">
                  <c:v>0.55168104980155108</c:v>
                </c:pt>
                <c:pt idx="1755" formatCode="0.0%">
                  <c:v>0.55941166178343993</c:v>
                </c:pt>
                <c:pt idx="1756" formatCode="0.0%">
                  <c:v>0.55535671977334344</c:v>
                </c:pt>
                <c:pt idx="1757" formatCode="0.0%">
                  <c:v>0.55791912352019613</c:v>
                </c:pt>
                <c:pt idx="1758" formatCode="0.0%">
                  <c:v>0.56526273510390579</c:v>
                </c:pt>
                <c:pt idx="1759" formatCode="0.0%">
                  <c:v>0.56526241799435695</c:v>
                </c:pt>
                <c:pt idx="1760" formatCode="0.0%">
                  <c:v>0.56526210088480555</c:v>
                </c:pt>
                <c:pt idx="1761" formatCode="0.0%">
                  <c:v>0.57555388512386629</c:v>
                </c:pt>
                <c:pt idx="1762" formatCode="0.0%">
                  <c:v>0.57665050925194239</c:v>
                </c:pt>
                <c:pt idx="1763" formatCode="0.0%">
                  <c:v>0.57504131810508197</c:v>
                </c:pt>
                <c:pt idx="1764" formatCode="0.0%">
                  <c:v>0.57464591000125465</c:v>
                </c:pt>
                <c:pt idx="1765" formatCode="0.0%">
                  <c:v>0.57601452408337106</c:v>
                </c:pt>
                <c:pt idx="1766" formatCode="0.0%">
                  <c:v>0.57601436443044263</c:v>
                </c:pt>
                <c:pt idx="1767" formatCode="0.0%">
                  <c:v>0.57598514794449385</c:v>
                </c:pt>
                <c:pt idx="1768" formatCode="0.0%">
                  <c:v>0.57812657103829623</c:v>
                </c:pt>
                <c:pt idx="1769" formatCode="0.0%">
                  <c:v>0.56900165706101657</c:v>
                </c:pt>
                <c:pt idx="1770" formatCode="0.0%">
                  <c:v>0.57054459279155367</c:v>
                </c:pt>
                <c:pt idx="1771" formatCode="0.0%">
                  <c:v>0.55675997066389582</c:v>
                </c:pt>
                <c:pt idx="1772" formatCode="0.0%">
                  <c:v>0.54797978121483137</c:v>
                </c:pt>
                <c:pt idx="1773" formatCode="0.0%">
                  <c:v>0.54798057730784644</c:v>
                </c:pt>
                <c:pt idx="1774" formatCode="0.0%">
                  <c:v>0.54798089574505271</c:v>
                </c:pt>
                <c:pt idx="1775" formatCode="0.0%">
                  <c:v>0.56658348459861008</c:v>
                </c:pt>
                <c:pt idx="1776" formatCode="0.0%">
                  <c:v>0.57120037259865175</c:v>
                </c:pt>
                <c:pt idx="1777" formatCode="0.0%">
                  <c:v>0.5782760045434171</c:v>
                </c:pt>
                <c:pt idx="1778" formatCode="0.0%">
                  <c:v>0.56273241922666895</c:v>
                </c:pt>
                <c:pt idx="1779" formatCode="0.0%">
                  <c:v>0.55323475777447273</c:v>
                </c:pt>
                <c:pt idx="1780" formatCode="0.0%">
                  <c:v>0.55323444038606229</c:v>
                </c:pt>
                <c:pt idx="1781" formatCode="0.0%">
                  <c:v>0.55323412299765384</c:v>
                </c:pt>
                <c:pt idx="1782" formatCode="0.0%">
                  <c:v>0.54564956356958338</c:v>
                </c:pt>
                <c:pt idx="1783" formatCode="0.0%">
                  <c:v>0.529362122030968</c:v>
                </c:pt>
                <c:pt idx="1784" formatCode="0.0%">
                  <c:v>0.53209325403855046</c:v>
                </c:pt>
                <c:pt idx="1785" formatCode="0.0%">
                  <c:v>0.52958968771085069</c:v>
                </c:pt>
                <c:pt idx="1786" formatCode="0.0%">
                  <c:v>0.52880045417478216</c:v>
                </c:pt>
                <c:pt idx="1787" formatCode="0.0%">
                  <c:v>0.52880013366959389</c:v>
                </c:pt>
                <c:pt idx="1788" formatCode="0.0%">
                  <c:v>0.52879997341699947</c:v>
                </c:pt>
                <c:pt idx="1789" formatCode="0.0%">
                  <c:v>0.54093233742092595</c:v>
                </c:pt>
                <c:pt idx="1790" formatCode="0.0%">
                  <c:v>0.55151491116189111</c:v>
                </c:pt>
                <c:pt idx="1791" formatCode="0.0%">
                  <c:v>0.56305820314989541</c:v>
                </c:pt>
                <c:pt idx="1792" formatCode="0.0%">
                  <c:v>0.56543027989879191</c:v>
                </c:pt>
                <c:pt idx="1793" formatCode="0.0%">
                  <c:v>0.56991663038407947</c:v>
                </c:pt>
                <c:pt idx="1794" formatCode="0.0%">
                  <c:v>0.56991647157142267</c:v>
                </c:pt>
                <c:pt idx="1795" formatCode="0.0%">
                  <c:v>0.56992107713846418</c:v>
                </c:pt>
                <c:pt idx="1796" formatCode="0.0%">
                  <c:v>0.56353506468592851</c:v>
                </c:pt>
                <c:pt idx="1797" formatCode="0.0%">
                  <c:v>0.56577576372696081</c:v>
                </c:pt>
                <c:pt idx="1798" formatCode="0.0%">
                  <c:v>0.56460732906118183</c:v>
                </c:pt>
                <c:pt idx="1799" formatCode="0.0%">
                  <c:v>0.56784691081482752</c:v>
                </c:pt>
                <c:pt idx="1800" formatCode="0.0%">
                  <c:v>0.57254022358391665</c:v>
                </c:pt>
                <c:pt idx="1801" formatCode="0.0%">
                  <c:v>0.57253990709130509</c:v>
                </c:pt>
                <c:pt idx="1802" formatCode="0.0%">
                  <c:v>0.57253974884499936</c:v>
                </c:pt>
                <c:pt idx="1803" formatCode="0.0%">
                  <c:v>0.57105602353298712</c:v>
                </c:pt>
                <c:pt idx="1804" formatCode="0.0%">
                  <c:v>0.56810249765476328</c:v>
                </c:pt>
                <c:pt idx="1805" formatCode="0.0%">
                  <c:v>0.57107583760018144</c:v>
                </c:pt>
                <c:pt idx="1806" formatCode="0.0%">
                  <c:v>0.56746127538620361</c:v>
                </c:pt>
                <c:pt idx="1807" formatCode="0.0%">
                  <c:v>0.56225384020535818</c:v>
                </c:pt>
                <c:pt idx="1808" formatCode="0.0%">
                  <c:v>0.5622535261410192</c:v>
                </c:pt>
                <c:pt idx="1809" formatCode="0.0%">
                  <c:v>0.56225305504451739</c:v>
                </c:pt>
                <c:pt idx="1810" formatCode="0.0%">
                  <c:v>0.55889069838601813</c:v>
                </c:pt>
                <c:pt idx="1811" formatCode="0.0%">
                  <c:v>0.55226189972805029</c:v>
                </c:pt>
                <c:pt idx="1812" formatCode="0.0%">
                  <c:v>0.54540266119328384</c:v>
                </c:pt>
                <c:pt idx="1813" formatCode="0.0%">
                  <c:v>0.55333309872221259</c:v>
                </c:pt>
                <c:pt idx="1814" formatCode="0.0%">
                  <c:v>0.56327231276701606</c:v>
                </c:pt>
                <c:pt idx="1815" formatCode="0.0%">
                  <c:v>0.56327215532890162</c:v>
                </c:pt>
                <c:pt idx="1816" formatCode="0.0%">
                  <c:v>0.5632718404526722</c:v>
                </c:pt>
                <c:pt idx="1817" formatCode="0.0%">
                  <c:v>0.5673478392467155</c:v>
                </c:pt>
                <c:pt idx="1818" formatCode="0.0%">
                  <c:v>0.57176609562268965</c:v>
                </c:pt>
                <c:pt idx="1819" formatCode="0.0%">
                  <c:v>0.5737994949804508</c:v>
                </c:pt>
                <c:pt idx="1820" formatCode="0.0%">
                  <c:v>0.57381076309564716</c:v>
                </c:pt>
                <c:pt idx="1821" formatCode="0.0%">
                  <c:v>0.57390521992334043</c:v>
                </c:pt>
                <c:pt idx="1822" formatCode="0.0%">
                  <c:v>0.57390490689792839</c:v>
                </c:pt>
                <c:pt idx="1823" formatCode="0.0%">
                  <c:v>0.57390443735981622</c:v>
                </c:pt>
                <c:pt idx="1824" formatCode="0.0%">
                  <c:v>0.57535409686590266</c:v>
                </c:pt>
                <c:pt idx="1825" formatCode="0.0%">
                  <c:v>0.57608999462537869</c:v>
                </c:pt>
                <c:pt idx="1826" formatCode="0.0%">
                  <c:v>0.57212466755219027</c:v>
                </c:pt>
              </c:numCache>
            </c:numRef>
          </c:val>
          <c:smooth val="0"/>
          <c:extLst>
            <c:ext xmlns:c16="http://schemas.microsoft.com/office/drawing/2014/chart" uri="{C3380CC4-5D6E-409C-BE32-E72D297353CC}">
              <c16:uniqueId val="{0000000B-3824-4B8F-B311-B8D727625BCA}"/>
            </c:ext>
          </c:extLst>
        </c:ser>
        <c:ser>
          <c:idx val="0"/>
          <c:order val="12"/>
          <c:tx>
            <c:strRef>
              <c:f>Sheet1!$B$1</c:f>
              <c:strCache>
                <c:ptCount val="1"/>
                <c:pt idx="0">
                  <c:v>BankInvest Globale Aktier A </c:v>
                </c:pt>
              </c:strCache>
            </c:strRef>
          </c:tx>
          <c:spPr>
            <a:ln w="28575" cap="rnd">
              <a:solidFill>
                <a:schemeClr val="tx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B$2:$B$2069</c:f>
              <c:numCache>
                <c:formatCode>0.00%</c:formatCode>
                <c:ptCount val="2068"/>
                <c:pt idx="0">
                  <c:v>0</c:v>
                </c:pt>
                <c:pt idx="1">
                  <c:v>0</c:v>
                </c:pt>
                <c:pt idx="2">
                  <c:v>0</c:v>
                </c:pt>
                <c:pt idx="3">
                  <c:v>0</c:v>
                </c:pt>
                <c:pt idx="4">
                  <c:v>-3.9486289629736861E-3</c:v>
                </c:pt>
                <c:pt idx="5">
                  <c:v>-8.6009432704091185E-3</c:v>
                </c:pt>
                <c:pt idx="6">
                  <c:v>7.271658484370818E-3</c:v>
                </c:pt>
                <c:pt idx="7">
                  <c:v>1.8127058535053635E-2</c:v>
                </c:pt>
                <c:pt idx="8">
                  <c:v>2.6428246809105219E-2</c:v>
                </c:pt>
                <c:pt idx="9">
                  <c:v>2.6428246809105219E-2</c:v>
                </c:pt>
                <c:pt idx="10">
                  <c:v>2.6428246809105219E-2</c:v>
                </c:pt>
                <c:pt idx="11">
                  <c:v>2.8435127490744207E-2</c:v>
                </c:pt>
                <c:pt idx="12">
                  <c:v>3.1536670362367826E-2</c:v>
                </c:pt>
                <c:pt idx="13">
                  <c:v>3.3087441798179643E-2</c:v>
                </c:pt>
                <c:pt idx="14">
                  <c:v>3.8195865351442253E-2</c:v>
                </c:pt>
                <c:pt idx="15">
                  <c:v>2.7796574546586187E-2</c:v>
                </c:pt>
                <c:pt idx="16">
                  <c:v>2.7796574546586187E-2</c:v>
                </c:pt>
                <c:pt idx="17">
                  <c:v>2.7796574546586187E-2</c:v>
                </c:pt>
                <c:pt idx="18">
                  <c:v>3.2266445155691062E-2</c:v>
                </c:pt>
                <c:pt idx="19">
                  <c:v>3.4820656932322148E-2</c:v>
                </c:pt>
                <c:pt idx="20">
                  <c:v>4.8412712457967189E-2</c:v>
                </c:pt>
                <c:pt idx="21">
                  <c:v>4.8230268759636347E-2</c:v>
                </c:pt>
                <c:pt idx="22">
                  <c:v>4.0202746033080959E-2</c:v>
                </c:pt>
                <c:pt idx="23">
                  <c:v>4.0202746033080959E-2</c:v>
                </c:pt>
                <c:pt idx="24">
                  <c:v>4.0202746033080959E-2</c:v>
                </c:pt>
                <c:pt idx="25">
                  <c:v>4.8960043552959576E-2</c:v>
                </c:pt>
                <c:pt idx="26">
                  <c:v>4.3577954452201056E-2</c:v>
                </c:pt>
                <c:pt idx="27">
                  <c:v>3.5003100630652997E-2</c:v>
                </c:pt>
                <c:pt idx="28">
                  <c:v>2.6793134205767045E-2</c:v>
                </c:pt>
                <c:pt idx="29">
                  <c:v>1.4569406417602977E-2</c:v>
                </c:pt>
                <c:pt idx="30">
                  <c:v>1.4569406417602977E-2</c:v>
                </c:pt>
                <c:pt idx="31">
                  <c:v>3.1977819224931637E-3</c:v>
                </c:pt>
                <c:pt idx="32">
                  <c:v>1.7579727440061248E-2</c:v>
                </c:pt>
                <c:pt idx="33">
                  <c:v>4.0111524183915608E-2</c:v>
                </c:pt>
                <c:pt idx="34">
                  <c:v>4.2574514111381634E-2</c:v>
                </c:pt>
                <c:pt idx="35">
                  <c:v>5.0328371290440828E-2</c:v>
                </c:pt>
                <c:pt idx="36">
                  <c:v>5.3521136011229799E-2</c:v>
                </c:pt>
                <c:pt idx="37">
                  <c:v>5.3521136011229799E-2</c:v>
                </c:pt>
                <c:pt idx="38">
                  <c:v>5.3521136011229799E-2</c:v>
                </c:pt>
                <c:pt idx="39">
                  <c:v>6.1639880586950538E-2</c:v>
                </c:pt>
                <c:pt idx="40">
                  <c:v>6.1639880586950538E-2</c:v>
                </c:pt>
                <c:pt idx="41">
                  <c:v>5.2012600291581494E-2</c:v>
                </c:pt>
                <c:pt idx="42">
                  <c:v>6.1167989961217868E-2</c:v>
                </c:pt>
                <c:pt idx="43">
                  <c:v>6.5887169884091754E-2</c:v>
                </c:pt>
                <c:pt idx="44">
                  <c:v>6.5887169884091754E-2</c:v>
                </c:pt>
                <c:pt idx="45">
                  <c:v>6.5887169884091754E-2</c:v>
                </c:pt>
                <c:pt idx="46">
                  <c:v>7.249409475359414E-2</c:v>
                </c:pt>
                <c:pt idx="47">
                  <c:v>7.1739051508052251E-2</c:v>
                </c:pt>
                <c:pt idx="48">
                  <c:v>7.1267160882319727E-2</c:v>
                </c:pt>
                <c:pt idx="49">
                  <c:v>5.8242049149237689E-2</c:v>
                </c:pt>
                <c:pt idx="50">
                  <c:v>6.2206185826569393E-2</c:v>
                </c:pt>
                <c:pt idx="51">
                  <c:v>6.2206185826569393E-2</c:v>
                </c:pt>
                <c:pt idx="52">
                  <c:v>6.2206185826569393E-2</c:v>
                </c:pt>
                <c:pt idx="53">
                  <c:v>4.9936208560878582E-2</c:v>
                </c:pt>
                <c:pt idx="54">
                  <c:v>4.1630276750670415E-2</c:v>
                </c:pt>
                <c:pt idx="55">
                  <c:v>4.597198066169781E-2</c:v>
                </c:pt>
                <c:pt idx="56">
                  <c:v>4.0497666271432704E-2</c:v>
                </c:pt>
                <c:pt idx="57">
                  <c:v>2.5018595573952352E-2</c:v>
                </c:pt>
                <c:pt idx="58">
                  <c:v>2.5018595573952352E-2</c:v>
                </c:pt>
                <c:pt idx="59">
                  <c:v>2.182747284644819E-2</c:v>
                </c:pt>
                <c:pt idx="60">
                  <c:v>5.0596837192534563E-2</c:v>
                </c:pt>
                <c:pt idx="61">
                  <c:v>4.8614768853868784E-2</c:v>
                </c:pt>
                <c:pt idx="62">
                  <c:v>4.1441538744747389E-2</c:v>
                </c:pt>
                <c:pt idx="63">
                  <c:v>3.2946868928615626E-2</c:v>
                </c:pt>
                <c:pt idx="64">
                  <c:v>2.8227689005742036E-2</c:v>
                </c:pt>
                <c:pt idx="65">
                  <c:v>2.8227689005742036E-2</c:v>
                </c:pt>
                <c:pt idx="66">
                  <c:v>2.8227689005742036E-2</c:v>
                </c:pt>
                <c:pt idx="67">
                  <c:v>5.0408099186611113E-2</c:v>
                </c:pt>
                <c:pt idx="68">
                  <c:v>5.2862058151009708E-2</c:v>
                </c:pt>
                <c:pt idx="69">
                  <c:v>5.6165566196685578E-2</c:v>
                </c:pt>
                <c:pt idx="70">
                  <c:v>6.4943388632626553E-2</c:v>
                </c:pt>
                <c:pt idx="71">
                  <c:v>6.3055643685997753E-2</c:v>
                </c:pt>
                <c:pt idx="72">
                  <c:v>6.3055643685997753E-2</c:v>
                </c:pt>
                <c:pt idx="73">
                  <c:v>6.3055643685997753E-2</c:v>
                </c:pt>
                <c:pt idx="74">
                  <c:v>6.2017447820646082E-2</c:v>
                </c:pt>
                <c:pt idx="75">
                  <c:v>7.5325712173537618E-2</c:v>
                </c:pt>
                <c:pt idx="76">
                  <c:v>6.579284649205476E-2</c:v>
                </c:pt>
                <c:pt idx="77">
                  <c:v>7.2399771361557161E-2</c:v>
                </c:pt>
                <c:pt idx="78">
                  <c:v>6.2206185826569393E-2</c:v>
                </c:pt>
                <c:pt idx="79">
                  <c:v>6.2206185826569393E-2</c:v>
                </c:pt>
                <c:pt idx="80">
                  <c:v>6.2206185826569393E-2</c:v>
                </c:pt>
                <c:pt idx="81">
                  <c:v>6.3244381691920773E-2</c:v>
                </c:pt>
                <c:pt idx="82">
                  <c:v>6.7869238222757533E-2</c:v>
                </c:pt>
                <c:pt idx="83">
                  <c:v>6.5320864644472745E-2</c:v>
                </c:pt>
                <c:pt idx="84">
                  <c:v>5.7770067301655958E-2</c:v>
                </c:pt>
                <c:pt idx="85">
                  <c:v>7.7874085751822128E-2</c:v>
                </c:pt>
                <c:pt idx="86">
                  <c:v>7.7874085751822128E-2</c:v>
                </c:pt>
                <c:pt idx="87">
                  <c:v>7.7874085751822128E-2</c:v>
                </c:pt>
                <c:pt idx="88">
                  <c:v>8.5330468480753013E-2</c:v>
                </c:pt>
                <c:pt idx="89">
                  <c:v>9.1371088110636697E-2</c:v>
                </c:pt>
                <c:pt idx="90">
                  <c:v>9.0736275262294719E-2</c:v>
                </c:pt>
                <c:pt idx="91">
                  <c:v>9.2786851209683899E-2</c:v>
                </c:pt>
                <c:pt idx="92">
                  <c:v>9.2786851209683899E-2</c:v>
                </c:pt>
                <c:pt idx="93">
                  <c:v>9.2786851209683899E-2</c:v>
                </c:pt>
                <c:pt idx="94">
                  <c:v>9.2786851209683899E-2</c:v>
                </c:pt>
                <c:pt idx="95">
                  <c:v>9.2786851209683899E-2</c:v>
                </c:pt>
                <c:pt idx="96">
                  <c:v>0.10854907452697347</c:v>
                </c:pt>
                <c:pt idx="97">
                  <c:v>9.9016208845490616E-2</c:v>
                </c:pt>
                <c:pt idx="98">
                  <c:v>0.10071521578619638</c:v>
                </c:pt>
                <c:pt idx="99">
                  <c:v>0.10486809046945127</c:v>
                </c:pt>
                <c:pt idx="100">
                  <c:v>0.10486809046945127</c:v>
                </c:pt>
                <c:pt idx="101">
                  <c:v>0.10486809046945127</c:v>
                </c:pt>
                <c:pt idx="102">
                  <c:v>0.10335791275651801</c:v>
                </c:pt>
                <c:pt idx="103">
                  <c:v>0.10373547999021369</c:v>
                </c:pt>
                <c:pt idx="104">
                  <c:v>0.10741646404773604</c:v>
                </c:pt>
                <c:pt idx="105">
                  <c:v>0.11166384456672646</c:v>
                </c:pt>
                <c:pt idx="106">
                  <c:v>0.11666617710940926</c:v>
                </c:pt>
                <c:pt idx="107">
                  <c:v>0.11666617710940926</c:v>
                </c:pt>
                <c:pt idx="108">
                  <c:v>0.11666617710940926</c:v>
                </c:pt>
                <c:pt idx="109">
                  <c:v>0.10996483762602068</c:v>
                </c:pt>
                <c:pt idx="110">
                  <c:v>9.8638732833644271E-2</c:v>
                </c:pt>
                <c:pt idx="111">
                  <c:v>0.10326358936448116</c:v>
                </c:pt>
                <c:pt idx="112">
                  <c:v>0.10807718390124109</c:v>
                </c:pt>
                <c:pt idx="113">
                  <c:v>0.1036410653763275</c:v>
                </c:pt>
                <c:pt idx="114">
                  <c:v>0.1036410653763275</c:v>
                </c:pt>
                <c:pt idx="115">
                  <c:v>0.1036410653763275</c:v>
                </c:pt>
                <c:pt idx="116">
                  <c:v>0.10798276928735476</c:v>
                </c:pt>
                <c:pt idx="117">
                  <c:v>0.10354674198429052</c:v>
                </c:pt>
                <c:pt idx="118">
                  <c:v>0.10213097888524331</c:v>
                </c:pt>
                <c:pt idx="119">
                  <c:v>9.9393776079186577E-2</c:v>
                </c:pt>
                <c:pt idx="120">
                  <c:v>9.7542519872223746E-2</c:v>
                </c:pt>
                <c:pt idx="121">
                  <c:v>9.7542519872223746E-2</c:v>
                </c:pt>
                <c:pt idx="122">
                  <c:v>9.7542519872223746E-2</c:v>
                </c:pt>
                <c:pt idx="123">
                  <c:v>9.967692869899579E-2</c:v>
                </c:pt>
                <c:pt idx="124">
                  <c:v>9.7411707740520506E-2</c:v>
                </c:pt>
                <c:pt idx="125">
                  <c:v>0.10703898803588956</c:v>
                </c:pt>
                <c:pt idx="126">
                  <c:v>0.10288602213078547</c:v>
                </c:pt>
                <c:pt idx="127">
                  <c:v>0.11515599939647615</c:v>
                </c:pt>
                <c:pt idx="128">
                  <c:v>0.11515599939647615</c:v>
                </c:pt>
                <c:pt idx="129">
                  <c:v>0.11515599939647615</c:v>
                </c:pt>
                <c:pt idx="130">
                  <c:v>0.11676059172329573</c:v>
                </c:pt>
                <c:pt idx="131">
                  <c:v>9.0616044865094808E-2</c:v>
                </c:pt>
                <c:pt idx="132">
                  <c:v>9.1559826116560009E-2</c:v>
                </c:pt>
                <c:pt idx="133">
                  <c:v>9.1559826116560009E-2</c:v>
                </c:pt>
                <c:pt idx="134">
                  <c:v>9.1559826116560009E-2</c:v>
                </c:pt>
                <c:pt idx="135">
                  <c:v>9.1559826116560009E-2</c:v>
                </c:pt>
                <c:pt idx="136">
                  <c:v>9.1559826116560009E-2</c:v>
                </c:pt>
                <c:pt idx="137">
                  <c:v>9.6656664494978492E-2</c:v>
                </c:pt>
                <c:pt idx="138">
                  <c:v>9.5901530027587112E-2</c:v>
                </c:pt>
                <c:pt idx="139">
                  <c:v>7.2966076601176155E-2</c:v>
                </c:pt>
                <c:pt idx="140">
                  <c:v>9.2598113203760588E-2</c:v>
                </c:pt>
                <c:pt idx="141">
                  <c:v>0.10335791275651801</c:v>
                </c:pt>
                <c:pt idx="142">
                  <c:v>0.10335791275651801</c:v>
                </c:pt>
                <c:pt idx="143">
                  <c:v>0.10335791275651801</c:v>
                </c:pt>
                <c:pt idx="144">
                  <c:v>0.10335791275651801</c:v>
                </c:pt>
                <c:pt idx="145">
                  <c:v>0.10241413150505281</c:v>
                </c:pt>
                <c:pt idx="146">
                  <c:v>0.10307476013670878</c:v>
                </c:pt>
                <c:pt idx="147">
                  <c:v>0.1108143867072981</c:v>
                </c:pt>
                <c:pt idx="148">
                  <c:v>0.11355149829150606</c:v>
                </c:pt>
                <c:pt idx="149">
                  <c:v>0.11355149829150606</c:v>
                </c:pt>
                <c:pt idx="150">
                  <c:v>0.11355149829150606</c:v>
                </c:pt>
                <c:pt idx="151">
                  <c:v>0.10848448945776454</c:v>
                </c:pt>
                <c:pt idx="152">
                  <c:v>0.10939853238640197</c:v>
                </c:pt>
                <c:pt idx="153">
                  <c:v>0.11374023629742908</c:v>
                </c:pt>
                <c:pt idx="154">
                  <c:v>0.11345708367761986</c:v>
                </c:pt>
                <c:pt idx="155">
                  <c:v>0.11647743910348624</c:v>
                </c:pt>
                <c:pt idx="156">
                  <c:v>0.11647743910348624</c:v>
                </c:pt>
                <c:pt idx="157">
                  <c:v>0.11647743910348624</c:v>
                </c:pt>
                <c:pt idx="158">
                  <c:v>0.11742131157680064</c:v>
                </c:pt>
                <c:pt idx="159">
                  <c:v>0.11864824544807533</c:v>
                </c:pt>
                <c:pt idx="160">
                  <c:v>0.11779878758864698</c:v>
                </c:pt>
                <c:pt idx="161">
                  <c:v>0.11902581268177087</c:v>
                </c:pt>
                <c:pt idx="162">
                  <c:v>0.12553841415923642</c:v>
                </c:pt>
                <c:pt idx="163">
                  <c:v>0.12553841415923642</c:v>
                </c:pt>
                <c:pt idx="164">
                  <c:v>0.12553841415923642</c:v>
                </c:pt>
                <c:pt idx="165">
                  <c:v>0.12553841415923642</c:v>
                </c:pt>
                <c:pt idx="166">
                  <c:v>0.12412255983834015</c:v>
                </c:pt>
                <c:pt idx="167">
                  <c:v>0.12223490611356055</c:v>
                </c:pt>
                <c:pt idx="168">
                  <c:v>0.13063516131580585</c:v>
                </c:pt>
                <c:pt idx="169">
                  <c:v>0.12336751659279827</c:v>
                </c:pt>
                <c:pt idx="170">
                  <c:v>0.12336751659279827</c:v>
                </c:pt>
                <c:pt idx="171">
                  <c:v>0.12336751659279827</c:v>
                </c:pt>
                <c:pt idx="172">
                  <c:v>0.12733165327013013</c:v>
                </c:pt>
                <c:pt idx="173">
                  <c:v>0.13299479688816732</c:v>
                </c:pt>
                <c:pt idx="174">
                  <c:v>0.13195650980096674</c:v>
                </c:pt>
                <c:pt idx="175">
                  <c:v>0.1393185691378605</c:v>
                </c:pt>
                <c:pt idx="176">
                  <c:v>0.13950730714378351</c:v>
                </c:pt>
                <c:pt idx="177">
                  <c:v>0.13950730714378351</c:v>
                </c:pt>
                <c:pt idx="178">
                  <c:v>0.13950730714378351</c:v>
                </c:pt>
                <c:pt idx="179">
                  <c:v>0.14507603614793482</c:v>
                </c:pt>
                <c:pt idx="180">
                  <c:v>0.15357061474221709</c:v>
                </c:pt>
                <c:pt idx="181">
                  <c:v>0.15505798699285905</c:v>
                </c:pt>
                <c:pt idx="182">
                  <c:v>0.15800673326713066</c:v>
                </c:pt>
                <c:pt idx="183">
                  <c:v>0.16178213193853908</c:v>
                </c:pt>
                <c:pt idx="184">
                  <c:v>0.16178213193853908</c:v>
                </c:pt>
                <c:pt idx="185">
                  <c:v>0.16178213193853908</c:v>
                </c:pt>
                <c:pt idx="186">
                  <c:v>0.16517996337625207</c:v>
                </c:pt>
                <c:pt idx="187">
                  <c:v>0.16244285179204426</c:v>
                </c:pt>
                <c:pt idx="188">
                  <c:v>0.17188130285964065</c:v>
                </c:pt>
                <c:pt idx="189">
                  <c:v>0.15083350315800928</c:v>
                </c:pt>
                <c:pt idx="190">
                  <c:v>0.16385861489109119</c:v>
                </c:pt>
                <c:pt idx="191">
                  <c:v>0.16385861489109119</c:v>
                </c:pt>
                <c:pt idx="192">
                  <c:v>0.16385861489109119</c:v>
                </c:pt>
                <c:pt idx="193">
                  <c:v>0.17197571747352697</c:v>
                </c:pt>
                <c:pt idx="194">
                  <c:v>0.17565670153104931</c:v>
                </c:pt>
                <c:pt idx="195">
                  <c:v>0.17565670153104931</c:v>
                </c:pt>
                <c:pt idx="196">
                  <c:v>0.17254202271314584</c:v>
                </c:pt>
                <c:pt idx="197">
                  <c:v>0.16791716618230892</c:v>
                </c:pt>
                <c:pt idx="198">
                  <c:v>0.16791716618230892</c:v>
                </c:pt>
                <c:pt idx="199">
                  <c:v>0.16791716618230892</c:v>
                </c:pt>
                <c:pt idx="200">
                  <c:v>0.14611423201328619</c:v>
                </c:pt>
                <c:pt idx="201">
                  <c:v>0.16046069223152898</c:v>
                </c:pt>
                <c:pt idx="202">
                  <c:v>0.16706770832288073</c:v>
                </c:pt>
                <c:pt idx="203">
                  <c:v>0.17150373562594495</c:v>
                </c:pt>
                <c:pt idx="204">
                  <c:v>0.18047029606780923</c:v>
                </c:pt>
                <c:pt idx="205">
                  <c:v>0.18047029606780923</c:v>
                </c:pt>
                <c:pt idx="206">
                  <c:v>0.18047029606780923</c:v>
                </c:pt>
                <c:pt idx="207">
                  <c:v>0.17669489739640071</c:v>
                </c:pt>
                <c:pt idx="208">
                  <c:v>0.16782275156842302</c:v>
                </c:pt>
                <c:pt idx="209">
                  <c:v>0.17442967643792542</c:v>
                </c:pt>
                <c:pt idx="210">
                  <c:v>0.17461841444384846</c:v>
                </c:pt>
                <c:pt idx="211">
                  <c:v>0.17329706595868785</c:v>
                </c:pt>
                <c:pt idx="212">
                  <c:v>0.17196905827853798</c:v>
                </c:pt>
                <c:pt idx="213">
                  <c:v>0.17196905827853798</c:v>
                </c:pt>
                <c:pt idx="214">
                  <c:v>0.17565670153104931</c:v>
                </c:pt>
                <c:pt idx="215">
                  <c:v>0.17631733016270501</c:v>
                </c:pt>
                <c:pt idx="216">
                  <c:v>0.18500073798475952</c:v>
                </c:pt>
                <c:pt idx="217">
                  <c:v>0.18462326197291332</c:v>
                </c:pt>
                <c:pt idx="218">
                  <c:v>0.19123018684241599</c:v>
                </c:pt>
                <c:pt idx="219">
                  <c:v>0.19123018684241599</c:v>
                </c:pt>
                <c:pt idx="220">
                  <c:v>0.19123018684241599</c:v>
                </c:pt>
                <c:pt idx="221">
                  <c:v>0.19340099318700482</c:v>
                </c:pt>
                <c:pt idx="222">
                  <c:v>0.1974595444782227</c:v>
                </c:pt>
                <c:pt idx="223">
                  <c:v>0.20198998639517327</c:v>
                </c:pt>
                <c:pt idx="224">
                  <c:v>0.20076305252389859</c:v>
                </c:pt>
                <c:pt idx="225">
                  <c:v>0.20104620514370808</c:v>
                </c:pt>
                <c:pt idx="226">
                  <c:v>0.20104620514370808</c:v>
                </c:pt>
                <c:pt idx="227">
                  <c:v>0.20104620514370808</c:v>
                </c:pt>
                <c:pt idx="228">
                  <c:v>0.19717639185841349</c:v>
                </c:pt>
                <c:pt idx="229">
                  <c:v>0.20397214595568827</c:v>
                </c:pt>
                <c:pt idx="230">
                  <c:v>0.20718123938747809</c:v>
                </c:pt>
                <c:pt idx="231">
                  <c:v>0.18962559451559641</c:v>
                </c:pt>
                <c:pt idx="232">
                  <c:v>0.20123494314963125</c:v>
                </c:pt>
                <c:pt idx="233">
                  <c:v>0.20123494314963125</c:v>
                </c:pt>
                <c:pt idx="234">
                  <c:v>0.20123494314963125</c:v>
                </c:pt>
                <c:pt idx="235">
                  <c:v>0.20765313001321076</c:v>
                </c:pt>
                <c:pt idx="236">
                  <c:v>0.21086222344500044</c:v>
                </c:pt>
                <c:pt idx="237">
                  <c:v>0.21114537606480965</c:v>
                </c:pt>
                <c:pt idx="238">
                  <c:v>0.20699241015970585</c:v>
                </c:pt>
                <c:pt idx="239">
                  <c:v>0.20982393635779986</c:v>
                </c:pt>
                <c:pt idx="240">
                  <c:v>0.20982393635779986</c:v>
                </c:pt>
                <c:pt idx="241">
                  <c:v>0.20982393635779986</c:v>
                </c:pt>
                <c:pt idx="242">
                  <c:v>0.21633653783526527</c:v>
                </c:pt>
                <c:pt idx="243">
                  <c:v>0.2115948261156477</c:v>
                </c:pt>
                <c:pt idx="244">
                  <c:v>0.20925763111818085</c:v>
                </c:pt>
                <c:pt idx="245">
                  <c:v>0.21171168130442866</c:v>
                </c:pt>
                <c:pt idx="246">
                  <c:v>0.20840817325875263</c:v>
                </c:pt>
                <c:pt idx="247">
                  <c:v>0.20840817325875263</c:v>
                </c:pt>
                <c:pt idx="248">
                  <c:v>0.20840817325875263</c:v>
                </c:pt>
                <c:pt idx="249">
                  <c:v>0.21661969045507462</c:v>
                </c:pt>
                <c:pt idx="250">
                  <c:v>0.21057907082519109</c:v>
                </c:pt>
                <c:pt idx="251">
                  <c:v>0.20321701148829718</c:v>
                </c:pt>
                <c:pt idx="252">
                  <c:v>0.20991835097168618</c:v>
                </c:pt>
                <c:pt idx="253">
                  <c:v>0.20434962196753476</c:v>
                </c:pt>
                <c:pt idx="254">
                  <c:v>0.20434962196753476</c:v>
                </c:pt>
                <c:pt idx="255">
                  <c:v>0.20434962196753476</c:v>
                </c:pt>
                <c:pt idx="256">
                  <c:v>0.20180124838925026</c:v>
                </c:pt>
                <c:pt idx="257">
                  <c:v>0.19812026433172789</c:v>
                </c:pt>
                <c:pt idx="258">
                  <c:v>0.19632693399898529</c:v>
                </c:pt>
                <c:pt idx="259">
                  <c:v>0.20010233267039368</c:v>
                </c:pt>
                <c:pt idx="260">
                  <c:v>0.20010233267039368</c:v>
                </c:pt>
                <c:pt idx="261">
                  <c:v>0.20010233267039368</c:v>
                </c:pt>
                <c:pt idx="262">
                  <c:v>0.20010233267039368</c:v>
                </c:pt>
                <c:pt idx="263">
                  <c:v>0.17896011835487613</c:v>
                </c:pt>
                <c:pt idx="264">
                  <c:v>0.17811066049544791</c:v>
                </c:pt>
                <c:pt idx="265">
                  <c:v>0.18669974492546529</c:v>
                </c:pt>
                <c:pt idx="266">
                  <c:v>0.19991359466447051</c:v>
                </c:pt>
                <c:pt idx="267">
                  <c:v>0.1958550433732526</c:v>
                </c:pt>
                <c:pt idx="268">
                  <c:v>0.1958550433732526</c:v>
                </c:pt>
                <c:pt idx="269">
                  <c:v>0.1958550433732526</c:v>
                </c:pt>
                <c:pt idx="270">
                  <c:v>0.19462801828012871</c:v>
                </c:pt>
                <c:pt idx="271">
                  <c:v>0.17480724367162112</c:v>
                </c:pt>
                <c:pt idx="272">
                  <c:v>0.17971525282226722</c:v>
                </c:pt>
                <c:pt idx="273">
                  <c:v>0.16763401356249957</c:v>
                </c:pt>
                <c:pt idx="274">
                  <c:v>0.15904492913248205</c:v>
                </c:pt>
                <c:pt idx="275">
                  <c:v>0.15904492913248205</c:v>
                </c:pt>
                <c:pt idx="276">
                  <c:v>0.15904492913248205</c:v>
                </c:pt>
                <c:pt idx="277">
                  <c:v>0.15281557149667507</c:v>
                </c:pt>
                <c:pt idx="278">
                  <c:v>0.16914410005358363</c:v>
                </c:pt>
                <c:pt idx="279">
                  <c:v>0.16536870138217524</c:v>
                </c:pt>
                <c:pt idx="280">
                  <c:v>0.18981442374336879</c:v>
                </c:pt>
                <c:pt idx="281">
                  <c:v>0.1830186696460939</c:v>
                </c:pt>
                <c:pt idx="282">
                  <c:v>0.1830186696460939</c:v>
                </c:pt>
                <c:pt idx="283">
                  <c:v>0.1830186696460939</c:v>
                </c:pt>
                <c:pt idx="284">
                  <c:v>0.18754920278489351</c:v>
                </c:pt>
                <c:pt idx="285">
                  <c:v>0.17962083820838104</c:v>
                </c:pt>
                <c:pt idx="286">
                  <c:v>0.17660057400436344</c:v>
                </c:pt>
                <c:pt idx="287">
                  <c:v>0.19406171304050987</c:v>
                </c:pt>
                <c:pt idx="288">
                  <c:v>0.20661484292601018</c:v>
                </c:pt>
                <c:pt idx="289">
                  <c:v>0.20661484292601018</c:v>
                </c:pt>
                <c:pt idx="290">
                  <c:v>0.20661484292601018</c:v>
                </c:pt>
                <c:pt idx="291">
                  <c:v>0.20519907982696295</c:v>
                </c:pt>
                <c:pt idx="292">
                  <c:v>0.21076780883111426</c:v>
                </c:pt>
                <c:pt idx="293">
                  <c:v>0.21775230093431247</c:v>
                </c:pt>
                <c:pt idx="294">
                  <c:v>0.21378816425698077</c:v>
                </c:pt>
                <c:pt idx="295">
                  <c:v>0.22247157207903542</c:v>
                </c:pt>
                <c:pt idx="296">
                  <c:v>0.22247157207903542</c:v>
                </c:pt>
                <c:pt idx="297">
                  <c:v>0.22247157207903542</c:v>
                </c:pt>
                <c:pt idx="298">
                  <c:v>0.2262468795285946</c:v>
                </c:pt>
                <c:pt idx="299">
                  <c:v>0.23662920306950569</c:v>
                </c:pt>
                <c:pt idx="300">
                  <c:v>0.23266506639217382</c:v>
                </c:pt>
                <c:pt idx="301">
                  <c:v>0.2280402098613375</c:v>
                </c:pt>
                <c:pt idx="302">
                  <c:v>0.23880010063594412</c:v>
                </c:pt>
                <c:pt idx="303">
                  <c:v>0.23880010063594412</c:v>
                </c:pt>
                <c:pt idx="304">
                  <c:v>0.2414705290484119</c:v>
                </c:pt>
                <c:pt idx="305">
                  <c:v>0.24049901635480039</c:v>
                </c:pt>
                <c:pt idx="306">
                  <c:v>0.24540702550544652</c:v>
                </c:pt>
                <c:pt idx="307">
                  <c:v>0.24748350845799877</c:v>
                </c:pt>
                <c:pt idx="308">
                  <c:v>0.26267942653566961</c:v>
                </c:pt>
                <c:pt idx="309">
                  <c:v>0.26551095273376363</c:v>
                </c:pt>
                <c:pt idx="310">
                  <c:v>0.26551095273376363</c:v>
                </c:pt>
                <c:pt idx="311">
                  <c:v>0.26551095273376363</c:v>
                </c:pt>
                <c:pt idx="312">
                  <c:v>0.26400086624267954</c:v>
                </c:pt>
                <c:pt idx="313">
                  <c:v>0.26371771362287033</c:v>
                </c:pt>
                <c:pt idx="314">
                  <c:v>0.26494464749414504</c:v>
                </c:pt>
                <c:pt idx="315">
                  <c:v>0.2673042830665065</c:v>
                </c:pt>
                <c:pt idx="316">
                  <c:v>0.27362805531619955</c:v>
                </c:pt>
                <c:pt idx="317">
                  <c:v>0.27362805531619955</c:v>
                </c:pt>
                <c:pt idx="318">
                  <c:v>0.27362805531619955</c:v>
                </c:pt>
                <c:pt idx="319">
                  <c:v>0.28250020114417734</c:v>
                </c:pt>
                <c:pt idx="320">
                  <c:v>0.29137243819400427</c:v>
                </c:pt>
                <c:pt idx="321">
                  <c:v>0.29618603273076444</c:v>
                </c:pt>
                <c:pt idx="322">
                  <c:v>0.28646442904335856</c:v>
                </c:pt>
                <c:pt idx="323">
                  <c:v>0.29382639715840297</c:v>
                </c:pt>
                <c:pt idx="324">
                  <c:v>0.29382639715840297</c:v>
                </c:pt>
                <c:pt idx="325">
                  <c:v>0.29382639715840297</c:v>
                </c:pt>
                <c:pt idx="326">
                  <c:v>0.30779538136479945</c:v>
                </c:pt>
                <c:pt idx="327">
                  <c:v>0.28618127642354863</c:v>
                </c:pt>
                <c:pt idx="328">
                  <c:v>0.29193874343362325</c:v>
                </c:pt>
                <c:pt idx="329">
                  <c:v>0.29769621044369754</c:v>
                </c:pt>
                <c:pt idx="330">
                  <c:v>0.26201870668216459</c:v>
                </c:pt>
                <c:pt idx="331">
                  <c:v>0.26201870668216459</c:v>
                </c:pt>
                <c:pt idx="332">
                  <c:v>0.26201870668216459</c:v>
                </c:pt>
                <c:pt idx="333">
                  <c:v>0.27079652911810542</c:v>
                </c:pt>
                <c:pt idx="334">
                  <c:v>0.25398753508164246</c:v>
                </c:pt>
                <c:pt idx="335">
                  <c:v>0.26768185030020208</c:v>
                </c:pt>
                <c:pt idx="336">
                  <c:v>0.2527689936204911</c:v>
                </c:pt>
                <c:pt idx="337">
                  <c:v>0.25239151760864459</c:v>
                </c:pt>
                <c:pt idx="338">
                  <c:v>0.25239151760864459</c:v>
                </c:pt>
                <c:pt idx="339">
                  <c:v>0.25239151760864459</c:v>
                </c:pt>
                <c:pt idx="340">
                  <c:v>0.26211312129605074</c:v>
                </c:pt>
                <c:pt idx="341">
                  <c:v>0.29193874343362325</c:v>
                </c:pt>
                <c:pt idx="342">
                  <c:v>0.28419920808488286</c:v>
                </c:pt>
                <c:pt idx="343">
                  <c:v>0.28948469324737547</c:v>
                </c:pt>
                <c:pt idx="344">
                  <c:v>0.28929595524145213</c:v>
                </c:pt>
                <c:pt idx="345">
                  <c:v>0.28929595524145213</c:v>
                </c:pt>
                <c:pt idx="346">
                  <c:v>0.28929595524145213</c:v>
                </c:pt>
                <c:pt idx="347">
                  <c:v>0.28854082077406107</c:v>
                </c:pt>
                <c:pt idx="348">
                  <c:v>0.27211787760326644</c:v>
                </c:pt>
                <c:pt idx="349">
                  <c:v>0.2772147159816849</c:v>
                </c:pt>
                <c:pt idx="350">
                  <c:v>0.29561972749114546</c:v>
                </c:pt>
                <c:pt idx="351">
                  <c:v>0.27674273413410305</c:v>
                </c:pt>
                <c:pt idx="352">
                  <c:v>0.27674273413410305</c:v>
                </c:pt>
                <c:pt idx="353">
                  <c:v>0.27674273413410305</c:v>
                </c:pt>
                <c:pt idx="354">
                  <c:v>0.24663405059857041</c:v>
                </c:pt>
                <c:pt idx="355">
                  <c:v>0.25909285709203372</c:v>
                </c:pt>
                <c:pt idx="356">
                  <c:v>0.27032463849237276</c:v>
                </c:pt>
                <c:pt idx="357">
                  <c:v>0.28467109871061552</c:v>
                </c:pt>
                <c:pt idx="358">
                  <c:v>0.28467109871061552</c:v>
                </c:pt>
                <c:pt idx="359">
                  <c:v>0.28467109871061552</c:v>
                </c:pt>
                <c:pt idx="360">
                  <c:v>0.28467109871061552</c:v>
                </c:pt>
                <c:pt idx="361">
                  <c:v>0.29316567730489795</c:v>
                </c:pt>
                <c:pt idx="362">
                  <c:v>0.30383115346561851</c:v>
                </c:pt>
                <c:pt idx="363">
                  <c:v>0.29656359996446013</c:v>
                </c:pt>
                <c:pt idx="364">
                  <c:v>0.30269854298638083</c:v>
                </c:pt>
                <c:pt idx="365">
                  <c:v>0.29173148739231947</c:v>
                </c:pt>
                <c:pt idx="366">
                  <c:v>0.29173148739231947</c:v>
                </c:pt>
                <c:pt idx="367">
                  <c:v>0.29173148739231947</c:v>
                </c:pt>
                <c:pt idx="368">
                  <c:v>0.29901755892885828</c:v>
                </c:pt>
                <c:pt idx="369">
                  <c:v>0.30496385516670499</c:v>
                </c:pt>
                <c:pt idx="370">
                  <c:v>0.30317052483396251</c:v>
                </c:pt>
                <c:pt idx="371">
                  <c:v>0.28740821029482333</c:v>
                </c:pt>
                <c:pt idx="372">
                  <c:v>0.27513823302913282</c:v>
                </c:pt>
                <c:pt idx="373">
                  <c:v>0.27513823302913282</c:v>
                </c:pt>
                <c:pt idx="374">
                  <c:v>0.27513823302913282</c:v>
                </c:pt>
                <c:pt idx="375">
                  <c:v>0.26116924882273634</c:v>
                </c:pt>
                <c:pt idx="376">
                  <c:v>0.26872004616555345</c:v>
                </c:pt>
                <c:pt idx="377">
                  <c:v>0.28240587775214038</c:v>
                </c:pt>
                <c:pt idx="378">
                  <c:v>0.27815849723314984</c:v>
                </c:pt>
                <c:pt idx="379">
                  <c:v>0.26466149487433527</c:v>
                </c:pt>
                <c:pt idx="380">
                  <c:v>0.26466149487433527</c:v>
                </c:pt>
                <c:pt idx="381">
                  <c:v>0.26466149487433527</c:v>
                </c:pt>
                <c:pt idx="382">
                  <c:v>0.2712684197438382</c:v>
                </c:pt>
                <c:pt idx="383">
                  <c:v>0.25862087524445188</c:v>
                </c:pt>
                <c:pt idx="384">
                  <c:v>0.25597808705228076</c:v>
                </c:pt>
                <c:pt idx="385">
                  <c:v>0.26116924882273634</c:v>
                </c:pt>
                <c:pt idx="386">
                  <c:v>0.2365348796774687</c:v>
                </c:pt>
                <c:pt idx="387">
                  <c:v>0.2365348796774687</c:v>
                </c:pt>
                <c:pt idx="388">
                  <c:v>0.2365348796774687</c:v>
                </c:pt>
                <c:pt idx="389">
                  <c:v>0.20057422329612634</c:v>
                </c:pt>
                <c:pt idx="390">
                  <c:v>0.20821943525282946</c:v>
                </c:pt>
                <c:pt idx="391">
                  <c:v>0.22218832823737686</c:v>
                </c:pt>
                <c:pt idx="392">
                  <c:v>0.23379767687141167</c:v>
                </c:pt>
                <c:pt idx="393">
                  <c:v>0.21794103894023564</c:v>
                </c:pt>
                <c:pt idx="394">
                  <c:v>0.21794103894023564</c:v>
                </c:pt>
                <c:pt idx="395">
                  <c:v>0.21794103894023564</c:v>
                </c:pt>
                <c:pt idx="396">
                  <c:v>0.2480365865294884</c:v>
                </c:pt>
                <c:pt idx="397">
                  <c:v>0.24625648336487488</c:v>
                </c:pt>
                <c:pt idx="398">
                  <c:v>0.26022546757127119</c:v>
                </c:pt>
                <c:pt idx="399">
                  <c:v>0.24578459273914219</c:v>
                </c:pt>
                <c:pt idx="400">
                  <c:v>0.22596372690878525</c:v>
                </c:pt>
                <c:pt idx="401">
                  <c:v>0.22596372690878525</c:v>
                </c:pt>
                <c:pt idx="402">
                  <c:v>0.22596372690878525</c:v>
                </c:pt>
                <c:pt idx="403">
                  <c:v>0.23426965871899341</c:v>
                </c:pt>
                <c:pt idx="404">
                  <c:v>0.2287009297148424</c:v>
                </c:pt>
                <c:pt idx="405">
                  <c:v>0.25449664422183488</c:v>
                </c:pt>
                <c:pt idx="406">
                  <c:v>0.24882155054155675</c:v>
                </c:pt>
                <c:pt idx="407">
                  <c:v>0.23943190316326352</c:v>
                </c:pt>
                <c:pt idx="408">
                  <c:v>0.23943190316326352</c:v>
                </c:pt>
                <c:pt idx="409">
                  <c:v>0.23943190316326352</c:v>
                </c:pt>
                <c:pt idx="410">
                  <c:v>0.21704122662006811</c:v>
                </c:pt>
                <c:pt idx="411">
                  <c:v>0.23117732925413548</c:v>
                </c:pt>
                <c:pt idx="412">
                  <c:v>0.22839141398062424</c:v>
                </c:pt>
                <c:pt idx="413">
                  <c:v>0.22447042523794764</c:v>
                </c:pt>
                <c:pt idx="414">
                  <c:v>0.21642219515163164</c:v>
                </c:pt>
                <c:pt idx="415">
                  <c:v>0.21642219515163164</c:v>
                </c:pt>
                <c:pt idx="416">
                  <c:v>0.21642219515163164</c:v>
                </c:pt>
                <c:pt idx="417">
                  <c:v>0.2034211659867293</c:v>
                </c:pt>
                <c:pt idx="418">
                  <c:v>0.20414336936657193</c:v>
                </c:pt>
                <c:pt idx="419">
                  <c:v>0.19640474623632342</c:v>
                </c:pt>
                <c:pt idx="420">
                  <c:v>0.1782444829481733</c:v>
                </c:pt>
                <c:pt idx="421">
                  <c:v>0.20703254777333854</c:v>
                </c:pt>
                <c:pt idx="422">
                  <c:v>0.20703254777333854</c:v>
                </c:pt>
                <c:pt idx="423">
                  <c:v>0.20703254777333854</c:v>
                </c:pt>
                <c:pt idx="424">
                  <c:v>0.21440245218926052</c:v>
                </c:pt>
                <c:pt idx="425">
                  <c:v>0.21724766166472947</c:v>
                </c:pt>
                <c:pt idx="426">
                  <c:v>0.22787546320174457</c:v>
                </c:pt>
                <c:pt idx="427">
                  <c:v>0.23097098543132305</c:v>
                </c:pt>
                <c:pt idx="428" formatCode="0.0%">
                  <c:v>0.22457359714935393</c:v>
                </c:pt>
                <c:pt idx="429" formatCode="0.0%">
                  <c:v>0.22457359714935393</c:v>
                </c:pt>
                <c:pt idx="430" formatCode="0.0%">
                  <c:v>0.22457359714935393</c:v>
                </c:pt>
                <c:pt idx="431" formatCode="0.0%">
                  <c:v>0.21404896752374469</c:v>
                </c:pt>
                <c:pt idx="432" formatCode="0.0%">
                  <c:v>0.19588879545744375</c:v>
                </c:pt>
                <c:pt idx="433" formatCode="0.0%">
                  <c:v>0.20104793835884208</c:v>
                </c:pt>
                <c:pt idx="434" formatCode="0.0%">
                  <c:v>0.19681743388194775</c:v>
                </c:pt>
                <c:pt idx="435" formatCode="0.0%">
                  <c:v>0.21085027338275977</c:v>
                </c:pt>
                <c:pt idx="436" formatCode="0.0%">
                  <c:v>0.21085027338275977</c:v>
                </c:pt>
                <c:pt idx="437" formatCode="0.0%">
                  <c:v>0.21085027338275977</c:v>
                </c:pt>
                <c:pt idx="438" formatCode="0.0%">
                  <c:v>0.20022247184574454</c:v>
                </c:pt>
                <c:pt idx="439" formatCode="0.0%">
                  <c:v>0.19723012152757177</c:v>
                </c:pt>
                <c:pt idx="440" formatCode="0.0%">
                  <c:v>0.22932005240512793</c:v>
                </c:pt>
                <c:pt idx="441" formatCode="0.0%">
                  <c:v>0.23220913959004549</c:v>
                </c:pt>
                <c:pt idx="442" formatCode="0.0%">
                  <c:v>0.24778974020564676</c:v>
                </c:pt>
                <c:pt idx="443" formatCode="0.0%">
                  <c:v>0.24778974020564676</c:v>
                </c:pt>
                <c:pt idx="444" formatCode="0.0%">
                  <c:v>0.24778974020564676</c:v>
                </c:pt>
                <c:pt idx="445" formatCode="0.0%">
                  <c:v>0.25955261521182721</c:v>
                </c:pt>
                <c:pt idx="446" formatCode="0.0%">
                  <c:v>0.27028358866024832</c:v>
                </c:pt>
                <c:pt idx="447" formatCode="0.0%">
                  <c:v>0.26801353294376723</c:v>
                </c:pt>
                <c:pt idx="448" formatCode="0.0%">
                  <c:v>0.2698709010146243</c:v>
                </c:pt>
                <c:pt idx="449" formatCode="0.0%">
                  <c:v>0.26491810193603782</c:v>
                </c:pt>
                <c:pt idx="450" formatCode="0.0%">
                  <c:v>0.26491810193603782</c:v>
                </c:pt>
                <c:pt idx="451" formatCode="0.0%">
                  <c:v>0.26491810193603782</c:v>
                </c:pt>
                <c:pt idx="452" formatCode="0.0%">
                  <c:v>0.27399814235826353</c:v>
                </c:pt>
                <c:pt idx="453" formatCode="0.0%">
                  <c:v>0.27451409313714309</c:v>
                </c:pt>
                <c:pt idx="454" formatCode="0.0%">
                  <c:v>0.2718313497750377</c:v>
                </c:pt>
                <c:pt idx="455" formatCode="0.0%">
                  <c:v>0.2560067307129188</c:v>
                </c:pt>
                <c:pt idx="456" formatCode="0.0%">
                  <c:v>0.26553722462632323</c:v>
                </c:pt>
                <c:pt idx="457" formatCode="0.0%">
                  <c:v>0.26553722462632323</c:v>
                </c:pt>
                <c:pt idx="458" formatCode="0.0%">
                  <c:v>0.26553722462632323</c:v>
                </c:pt>
                <c:pt idx="459" formatCode="0.0%">
                  <c:v>0.28029235872882707</c:v>
                </c:pt>
                <c:pt idx="460" formatCode="0.0%">
                  <c:v>0.28596736118725602</c:v>
                </c:pt>
                <c:pt idx="461" formatCode="0.0%">
                  <c:v>0.26233853048533845</c:v>
                </c:pt>
                <c:pt idx="462" formatCode="0.0%">
                  <c:v>0.26316399699843629</c:v>
                </c:pt>
                <c:pt idx="463" formatCode="0.0%">
                  <c:v>0.27843508187981952</c:v>
                </c:pt>
                <c:pt idx="464" formatCode="0.0%">
                  <c:v>0.27843508187981952</c:v>
                </c:pt>
                <c:pt idx="465" formatCode="0.0%">
                  <c:v>0.27843508187981952</c:v>
                </c:pt>
                <c:pt idx="466" formatCode="0.0%">
                  <c:v>0.26202901475112017</c:v>
                </c:pt>
                <c:pt idx="467" formatCode="0.0%">
                  <c:v>0.26140989206083476</c:v>
                </c:pt>
                <c:pt idx="468" formatCode="0.0%">
                  <c:v>0.25903666443294782</c:v>
                </c:pt>
                <c:pt idx="469" formatCode="0.0%">
                  <c:v>0.25903666443294782</c:v>
                </c:pt>
                <c:pt idx="470" formatCode="0.0%">
                  <c:v>0.25903666443294782</c:v>
                </c:pt>
                <c:pt idx="471" formatCode="0.0%">
                  <c:v>0.25903666443294782</c:v>
                </c:pt>
                <c:pt idx="472" formatCode="0.0%">
                  <c:v>0.25903666443294782</c:v>
                </c:pt>
                <c:pt idx="473" formatCode="0.0%">
                  <c:v>0.25903666443294782</c:v>
                </c:pt>
                <c:pt idx="474" formatCode="0.0%">
                  <c:v>0.26440215115715832</c:v>
                </c:pt>
                <c:pt idx="475" formatCode="0.0%">
                  <c:v>0.2718313497750377</c:v>
                </c:pt>
                <c:pt idx="476" formatCode="0.0%">
                  <c:v>0.27420457740292492</c:v>
                </c:pt>
                <c:pt idx="477" formatCode="0.0%">
                  <c:v>0.24727378942676709</c:v>
                </c:pt>
                <c:pt idx="478" formatCode="0.0%">
                  <c:v>0.24727378942676709</c:v>
                </c:pt>
                <c:pt idx="479" formatCode="0.0%">
                  <c:v>0.24727378942676709</c:v>
                </c:pt>
                <c:pt idx="480" formatCode="0.0%">
                  <c:v>0.22013674884964701</c:v>
                </c:pt>
                <c:pt idx="481" formatCode="0.0%">
                  <c:v>0.23282826228033102</c:v>
                </c:pt>
                <c:pt idx="482" formatCode="0.0%">
                  <c:v>0.23809057709313536</c:v>
                </c:pt>
                <c:pt idx="483" formatCode="0.0%">
                  <c:v>0.24015419776495533</c:v>
                </c:pt>
                <c:pt idx="484" formatCode="0.0%">
                  <c:v>0.24665475795833089</c:v>
                </c:pt>
                <c:pt idx="485" formatCode="0.0%">
                  <c:v>0.22961926007039041</c:v>
                </c:pt>
                <c:pt idx="486" formatCode="0.0%">
                  <c:v>0.22961926007039041</c:v>
                </c:pt>
                <c:pt idx="487" formatCode="0.0%">
                  <c:v>0.22849458589202995</c:v>
                </c:pt>
                <c:pt idx="488" formatCode="0.0%">
                  <c:v>0.23427276026186505</c:v>
                </c:pt>
                <c:pt idx="489" formatCode="0.0%">
                  <c:v>0.2266373090430224</c:v>
                </c:pt>
                <c:pt idx="490" formatCode="0.0%">
                  <c:v>0.22581184252992487</c:v>
                </c:pt>
                <c:pt idx="491" formatCode="0.0%">
                  <c:v>0.20228609251756424</c:v>
                </c:pt>
                <c:pt idx="492" formatCode="0.0%">
                  <c:v>0.20228609251756424</c:v>
                </c:pt>
                <c:pt idx="493" formatCode="0.0%">
                  <c:v>0.20228609251756424</c:v>
                </c:pt>
                <c:pt idx="494" formatCode="0.0%">
                  <c:v>0.18350688898282713</c:v>
                </c:pt>
                <c:pt idx="495" formatCode="0.0%">
                  <c:v>0.18185595595663145</c:v>
                </c:pt>
                <c:pt idx="496" formatCode="0.0%">
                  <c:v>0.18278459438113542</c:v>
                </c:pt>
                <c:pt idx="497" formatCode="0.0%">
                  <c:v>0.17896677754986512</c:v>
                </c:pt>
                <c:pt idx="498" formatCode="0.0%">
                  <c:v>0.17896677754986512</c:v>
                </c:pt>
                <c:pt idx="499" formatCode="0.0%">
                  <c:v>0.17896677754986512</c:v>
                </c:pt>
                <c:pt idx="500" formatCode="0.0%">
                  <c:v>0.17896677754986512</c:v>
                </c:pt>
                <c:pt idx="501" formatCode="0.0%">
                  <c:v>0.19609513928025593</c:v>
                </c:pt>
                <c:pt idx="502" formatCode="0.0%">
                  <c:v>0.20022247184574454</c:v>
                </c:pt>
                <c:pt idx="503" formatCode="0.0%">
                  <c:v>0.1918646348033613</c:v>
                </c:pt>
                <c:pt idx="504" formatCode="0.0%">
                  <c:v>0.15368701382175204</c:v>
                </c:pt>
                <c:pt idx="505" formatCode="0.0%">
                  <c:v>0.15709205178554897</c:v>
                </c:pt>
                <c:pt idx="506" formatCode="0.0%">
                  <c:v>0.15709205178554897</c:v>
                </c:pt>
                <c:pt idx="507" formatCode="0.0%">
                  <c:v>0.15709205178554897</c:v>
                </c:pt>
                <c:pt idx="508" formatCode="0.0%">
                  <c:v>0.16132255626244388</c:v>
                </c:pt>
                <c:pt idx="509" formatCode="0.0%">
                  <c:v>0.14213057386023323</c:v>
                </c:pt>
                <c:pt idx="510" formatCode="0.0%">
                  <c:v>0.16317983311145126</c:v>
                </c:pt>
                <c:pt idx="511" formatCode="0.0%">
                  <c:v>0.16317983311145126</c:v>
                </c:pt>
                <c:pt idx="512" formatCode="0.0%">
                  <c:v>0.16317983311145126</c:v>
                </c:pt>
                <c:pt idx="513" formatCode="0.0%">
                  <c:v>0.16317983311145126</c:v>
                </c:pt>
                <c:pt idx="514" formatCode="0.0%">
                  <c:v>0.16317983311145126</c:v>
                </c:pt>
                <c:pt idx="515" formatCode="0.0%">
                  <c:v>0.20981846304684978</c:v>
                </c:pt>
                <c:pt idx="516" formatCode="0.0%">
                  <c:v>0.20336059467888348</c:v>
                </c:pt>
                <c:pt idx="517" formatCode="0.0%">
                  <c:v>0.19723012152757177</c:v>
                </c:pt>
                <c:pt idx="518" formatCode="0.0%">
                  <c:v>0.18742778650365438</c:v>
                </c:pt>
                <c:pt idx="519" formatCode="0.0%">
                  <c:v>0.19299970827252649</c:v>
                </c:pt>
                <c:pt idx="520" formatCode="0.0%">
                  <c:v>0.19299970827252649</c:v>
                </c:pt>
                <c:pt idx="521" formatCode="0.0%">
                  <c:v>0.19299970827252649</c:v>
                </c:pt>
                <c:pt idx="522" formatCode="0.0%">
                  <c:v>0.19299970827252649</c:v>
                </c:pt>
                <c:pt idx="523" formatCode="0.0%">
                  <c:v>0.19836519499673713</c:v>
                </c:pt>
                <c:pt idx="524" formatCode="0.0%">
                  <c:v>0.19681743388194775</c:v>
                </c:pt>
                <c:pt idx="525" formatCode="0.0%">
                  <c:v>0.19042013682182726</c:v>
                </c:pt>
                <c:pt idx="526" formatCode="0.0%">
                  <c:v>0.16204485086413542</c:v>
                </c:pt>
                <c:pt idx="527" formatCode="0.0%">
                  <c:v>0.16204485086413542</c:v>
                </c:pt>
                <c:pt idx="528" formatCode="0.0%">
                  <c:v>0.16204485086413542</c:v>
                </c:pt>
                <c:pt idx="529" formatCode="0.0%">
                  <c:v>0.13119316536715048</c:v>
                </c:pt>
                <c:pt idx="530" formatCode="0.0%">
                  <c:v>0.13088364963293245</c:v>
                </c:pt>
                <c:pt idx="531" formatCode="0.0%">
                  <c:v>0.13377273681784985</c:v>
                </c:pt>
                <c:pt idx="532" formatCode="0.0%">
                  <c:v>9.8587374932564267E-2</c:v>
                </c:pt>
                <c:pt idx="533" formatCode="0.0%">
                  <c:v>0.10034147987016581</c:v>
                </c:pt>
                <c:pt idx="534" formatCode="0.0%">
                  <c:v>0.10034147987016581</c:v>
                </c:pt>
                <c:pt idx="535" formatCode="0.0%">
                  <c:v>0.10034147987016581</c:v>
                </c:pt>
                <c:pt idx="536" formatCode="0.0%">
                  <c:v>0.10560379468297015</c:v>
                </c:pt>
                <c:pt idx="537" formatCode="0.0%">
                  <c:v>0.11901760271534599</c:v>
                </c:pt>
                <c:pt idx="538" formatCode="0.0%">
                  <c:v>0.11303299330084983</c:v>
                </c:pt>
                <c:pt idx="539" formatCode="0.0%">
                  <c:v>0.12252581259054907</c:v>
                </c:pt>
                <c:pt idx="540" formatCode="0.0%">
                  <c:v>0.14501966104515063</c:v>
                </c:pt>
                <c:pt idx="541" formatCode="0.0%">
                  <c:v>0.14501966104515063</c:v>
                </c:pt>
                <c:pt idx="542" formatCode="0.0%">
                  <c:v>0.14501966104515063</c:v>
                </c:pt>
                <c:pt idx="543" formatCode="0.0%">
                  <c:v>0.14997246012373694</c:v>
                </c:pt>
                <c:pt idx="544" formatCode="0.0%">
                  <c:v>0.15317106304287265</c:v>
                </c:pt>
                <c:pt idx="545" formatCode="0.0%">
                  <c:v>0.14027329701122568</c:v>
                </c:pt>
                <c:pt idx="546" formatCode="0.0%">
                  <c:v>0.12968371742901069</c:v>
                </c:pt>
                <c:pt idx="547" formatCode="0.0%">
                  <c:v>0.12820090627082692</c:v>
                </c:pt>
                <c:pt idx="548" formatCode="0.0%">
                  <c:v>0.12820090627082692</c:v>
                </c:pt>
                <c:pt idx="549" formatCode="0.0%">
                  <c:v>0.12820090627082692</c:v>
                </c:pt>
                <c:pt idx="550" formatCode="0.0%">
                  <c:v>0.13284409839334615</c:v>
                </c:pt>
                <c:pt idx="551" formatCode="0.0%">
                  <c:v>0.13707460287024076</c:v>
                </c:pt>
                <c:pt idx="552" formatCode="0.0%">
                  <c:v>0.16029074592653386</c:v>
                </c:pt>
                <c:pt idx="553" formatCode="0.0%">
                  <c:v>0.17968907215155652</c:v>
                </c:pt>
                <c:pt idx="554" formatCode="0.0%">
                  <c:v>0.18515773078717332</c:v>
                </c:pt>
                <c:pt idx="555" formatCode="0.0%">
                  <c:v>0.18515773078717332</c:v>
                </c:pt>
                <c:pt idx="556" formatCode="0.0%">
                  <c:v>0.18515773078717332</c:v>
                </c:pt>
                <c:pt idx="557" formatCode="0.0%">
                  <c:v>0.18402274853985759</c:v>
                </c:pt>
                <c:pt idx="558" formatCode="0.0%">
                  <c:v>0.18350688898282713</c:v>
                </c:pt>
                <c:pt idx="559" formatCode="0.0%">
                  <c:v>0.17050585981792479</c:v>
                </c:pt>
                <c:pt idx="560" formatCode="0.0%">
                  <c:v>0.16121938435103772</c:v>
                </c:pt>
                <c:pt idx="561" formatCode="0.0%">
                  <c:v>0.18082405439887267</c:v>
                </c:pt>
                <c:pt idx="562" formatCode="0.0%">
                  <c:v>0.18082405439887267</c:v>
                </c:pt>
                <c:pt idx="563" formatCode="0.0%">
                  <c:v>0.18082405439887267</c:v>
                </c:pt>
                <c:pt idx="564" formatCode="0.0%">
                  <c:v>0.17958590024015081</c:v>
                </c:pt>
                <c:pt idx="565" formatCode="0.0%">
                  <c:v>0.17690315687804528</c:v>
                </c:pt>
                <c:pt idx="566" formatCode="0.0%">
                  <c:v>0.19248375749364682</c:v>
                </c:pt>
                <c:pt idx="567" formatCode="0.0%">
                  <c:v>0.19103916829026374</c:v>
                </c:pt>
                <c:pt idx="568" formatCode="0.0%">
                  <c:v>0.20115111027024837</c:v>
                </c:pt>
                <c:pt idx="569" formatCode="0.0%">
                  <c:v>0.20115111027024837</c:v>
                </c:pt>
                <c:pt idx="570" formatCode="0.0%">
                  <c:v>0.20115111027024837</c:v>
                </c:pt>
                <c:pt idx="571" formatCode="0.0%">
                  <c:v>0.19165829098054915</c:v>
                </c:pt>
                <c:pt idx="572" formatCode="0.0%">
                  <c:v>0.1956824516346316</c:v>
                </c:pt>
                <c:pt idx="573" formatCode="0.0%">
                  <c:v>0.20651659699445887</c:v>
                </c:pt>
                <c:pt idx="574" formatCode="0.0%">
                  <c:v>0.21425531134655657</c:v>
                </c:pt>
                <c:pt idx="575" formatCode="0.0%">
                  <c:v>0.22839141398062424</c:v>
                </c:pt>
                <c:pt idx="576" formatCode="0.0%">
                  <c:v>0.22839141398062424</c:v>
                </c:pt>
                <c:pt idx="577" formatCode="0.0%">
                  <c:v>0.22960959055437896</c:v>
                </c:pt>
                <c:pt idx="578" formatCode="0.0%">
                  <c:v>0.22488311288357196</c:v>
                </c:pt>
                <c:pt idx="579" formatCode="0.0%">
                  <c:v>0.22292266412315825</c:v>
                </c:pt>
                <c:pt idx="580" formatCode="0.0%">
                  <c:v>0.22880410162624826</c:v>
                </c:pt>
                <c:pt idx="581" formatCode="0.0%">
                  <c:v>0.22704999668864673</c:v>
                </c:pt>
                <c:pt idx="582" formatCode="0.0%">
                  <c:v>0.23024869082963179</c:v>
                </c:pt>
                <c:pt idx="583" formatCode="0.0%">
                  <c:v>0.23024869082963179</c:v>
                </c:pt>
                <c:pt idx="584" formatCode="0.0%">
                  <c:v>0.23024869082963179</c:v>
                </c:pt>
                <c:pt idx="585" formatCode="0.0%">
                  <c:v>0.23416958835045903</c:v>
                </c:pt>
                <c:pt idx="586" formatCode="0.0%">
                  <c:v>0.22271632030034597</c:v>
                </c:pt>
                <c:pt idx="587" formatCode="0.0%">
                  <c:v>0.22426408141513549</c:v>
                </c:pt>
                <c:pt idx="588" formatCode="0.0%">
                  <c:v>0.23778097013706812</c:v>
                </c:pt>
                <c:pt idx="589" formatCode="0.0%">
                  <c:v>0.24283694112706031</c:v>
                </c:pt>
                <c:pt idx="590" formatCode="0.0%">
                  <c:v>0.24283694112706031</c:v>
                </c:pt>
                <c:pt idx="591" formatCode="0.0%">
                  <c:v>0.24283694112706031</c:v>
                </c:pt>
                <c:pt idx="592" formatCode="0.0%">
                  <c:v>0.25697304376112795</c:v>
                </c:pt>
                <c:pt idx="593" formatCode="0.0%">
                  <c:v>0.26130672014942857</c:v>
                </c:pt>
                <c:pt idx="594" formatCode="0.0%">
                  <c:v>0.25944944330042108</c:v>
                </c:pt>
                <c:pt idx="595" formatCode="0.0%">
                  <c:v>0.26646586305082692</c:v>
                </c:pt>
                <c:pt idx="596" formatCode="0.0%">
                  <c:v>0.26367985655546661</c:v>
                </c:pt>
                <c:pt idx="597" formatCode="0.0%">
                  <c:v>0.26367985655546661</c:v>
                </c:pt>
                <c:pt idx="598" formatCode="0.0%">
                  <c:v>0.26367985655546661</c:v>
                </c:pt>
                <c:pt idx="599" formatCode="0.0%">
                  <c:v>0.25429030039902245</c:v>
                </c:pt>
                <c:pt idx="600" formatCode="0.0%">
                  <c:v>0.24748022447142873</c:v>
                </c:pt>
                <c:pt idx="601" formatCode="0.0%">
                  <c:v>0.24665475795833089</c:v>
                </c:pt>
                <c:pt idx="602" formatCode="0.0%">
                  <c:v>0.25893349252154169</c:v>
                </c:pt>
                <c:pt idx="603" formatCode="0.0%">
                  <c:v>0.24077332045524089</c:v>
                </c:pt>
                <c:pt idx="604" formatCode="0.0%">
                  <c:v>0.24077332045524089</c:v>
                </c:pt>
                <c:pt idx="605" formatCode="0.0%">
                  <c:v>0.24077332045524089</c:v>
                </c:pt>
                <c:pt idx="606" formatCode="0.0%">
                  <c:v>0.21446165516936871</c:v>
                </c:pt>
                <c:pt idx="607" formatCode="0.0%">
                  <c:v>0.20476249205685762</c:v>
                </c:pt>
                <c:pt idx="608" formatCode="0.0%">
                  <c:v>0.18983075245436937</c:v>
                </c:pt>
                <c:pt idx="609" formatCode="0.0%">
                  <c:v>0.18753095841506068</c:v>
                </c:pt>
                <c:pt idx="610" formatCode="0.0%">
                  <c:v>0.20228609251756424</c:v>
                </c:pt>
                <c:pt idx="611" formatCode="0.0%">
                  <c:v>0.20228609251756424</c:v>
                </c:pt>
                <c:pt idx="612" formatCode="0.0%">
                  <c:v>0.20228609251756424</c:v>
                </c:pt>
                <c:pt idx="613" formatCode="0.0%">
                  <c:v>0.19351556782955653</c:v>
                </c:pt>
                <c:pt idx="614" formatCode="0.0%">
                  <c:v>0.192690101316459</c:v>
                </c:pt>
                <c:pt idx="615" formatCode="0.0%">
                  <c:v>0.18484821505295515</c:v>
                </c:pt>
                <c:pt idx="616" formatCode="0.0%">
                  <c:v>0.19877788264236115</c:v>
                </c:pt>
                <c:pt idx="617" formatCode="0.0%">
                  <c:v>0.21250120640895503</c:v>
                </c:pt>
                <c:pt idx="618" formatCode="0.0%">
                  <c:v>0.21250120640895503</c:v>
                </c:pt>
                <c:pt idx="619" formatCode="0.0%">
                  <c:v>0.21250120640895503</c:v>
                </c:pt>
                <c:pt idx="620" formatCode="0.0%">
                  <c:v>0.21539029359387257</c:v>
                </c:pt>
                <c:pt idx="621" formatCode="0.0%">
                  <c:v>0.198571538819549</c:v>
                </c:pt>
                <c:pt idx="622" formatCode="0.0%">
                  <c:v>0.18815008110534606</c:v>
                </c:pt>
                <c:pt idx="623" formatCode="0.0%">
                  <c:v>0.1776254514797371</c:v>
                </c:pt>
                <c:pt idx="624" formatCode="0.0%">
                  <c:v>0.15771117447583463</c:v>
                </c:pt>
                <c:pt idx="625" formatCode="0.0%">
                  <c:v>0.15771117447583463</c:v>
                </c:pt>
                <c:pt idx="626" formatCode="0.0%">
                  <c:v>0.15771117447583463</c:v>
                </c:pt>
                <c:pt idx="627" formatCode="0.0%">
                  <c:v>0.16235436659835359</c:v>
                </c:pt>
                <c:pt idx="628" formatCode="0.0%">
                  <c:v>0.15471882415766203</c:v>
                </c:pt>
                <c:pt idx="629" formatCode="0.0%">
                  <c:v>0.16978356521623311</c:v>
                </c:pt>
                <c:pt idx="630" formatCode="0.0%">
                  <c:v>0.15224242461836895</c:v>
                </c:pt>
                <c:pt idx="631" formatCode="0.0%">
                  <c:v>0.14233691768304538</c:v>
                </c:pt>
                <c:pt idx="632" formatCode="0.0%">
                  <c:v>0.14233691768304538</c:v>
                </c:pt>
                <c:pt idx="633" formatCode="0.0%">
                  <c:v>0.14233691768304538</c:v>
                </c:pt>
                <c:pt idx="634" formatCode="0.0%">
                  <c:v>0.14986928821233092</c:v>
                </c:pt>
                <c:pt idx="635" formatCode="0.0%">
                  <c:v>0.1529647192200605</c:v>
                </c:pt>
                <c:pt idx="636" formatCode="0.0%">
                  <c:v>0.14667059407134617</c:v>
                </c:pt>
                <c:pt idx="637" formatCode="0.0%">
                  <c:v>0.12128765843182719</c:v>
                </c:pt>
                <c:pt idx="638" formatCode="0.0%">
                  <c:v>0.11064945760400718</c:v>
                </c:pt>
                <c:pt idx="639" formatCode="0.0%">
                  <c:v>0.11064945760400718</c:v>
                </c:pt>
                <c:pt idx="640" formatCode="0.0%">
                  <c:v>0.11064945760400718</c:v>
                </c:pt>
                <c:pt idx="641" formatCode="0.0%">
                  <c:v>0.12737543975772936</c:v>
                </c:pt>
                <c:pt idx="642" formatCode="0.0%">
                  <c:v>0.14574195564684217</c:v>
                </c:pt>
                <c:pt idx="643" formatCode="0.0%">
                  <c:v>0.14646425024853385</c:v>
                </c:pt>
                <c:pt idx="644" formatCode="0.0%">
                  <c:v>0.15533794684794741</c:v>
                </c:pt>
                <c:pt idx="645" formatCode="0.0%">
                  <c:v>0.1393445673648725</c:v>
                </c:pt>
                <c:pt idx="646" formatCode="0.0%">
                  <c:v>0.1393445673648725</c:v>
                </c:pt>
                <c:pt idx="647" formatCode="0.0%">
                  <c:v>0.1393445673648725</c:v>
                </c:pt>
                <c:pt idx="648" formatCode="0.0%">
                  <c:v>0.13170911614603001</c:v>
                </c:pt>
                <c:pt idx="649" formatCode="0.0%">
                  <c:v>0.12427991752815061</c:v>
                </c:pt>
                <c:pt idx="650" formatCode="0.0%">
                  <c:v>0.12892310965066955</c:v>
                </c:pt>
                <c:pt idx="651" formatCode="0.0%">
                  <c:v>0.11292982138944367</c:v>
                </c:pt>
                <c:pt idx="652" formatCode="0.0%">
                  <c:v>0.13170911614603001</c:v>
                </c:pt>
                <c:pt idx="653" formatCode="0.0%">
                  <c:v>0.13170911614603001</c:v>
                </c:pt>
                <c:pt idx="654" formatCode="0.0%">
                  <c:v>0.13170911614603001</c:v>
                </c:pt>
                <c:pt idx="655" formatCode="0.0%">
                  <c:v>0.13738411860445893</c:v>
                </c:pt>
                <c:pt idx="656" formatCode="0.0%">
                  <c:v>0.15038514776936127</c:v>
                </c:pt>
                <c:pt idx="657" formatCode="0.0%">
                  <c:v>0.14543234869077465</c:v>
                </c:pt>
                <c:pt idx="658" formatCode="0.0%">
                  <c:v>0.14409102262064694</c:v>
                </c:pt>
                <c:pt idx="659" formatCode="0.0%">
                  <c:v>0.1364554801799551</c:v>
                </c:pt>
                <c:pt idx="660" formatCode="0.0%">
                  <c:v>0.1364554801799551</c:v>
                </c:pt>
                <c:pt idx="661" formatCode="0.0%">
                  <c:v>0.1364554801799551</c:v>
                </c:pt>
                <c:pt idx="662" formatCode="0.0%">
                  <c:v>0.14883738665457172</c:v>
                </c:pt>
                <c:pt idx="663" formatCode="0.0%">
                  <c:v>0.16163207199666205</c:v>
                </c:pt>
                <c:pt idx="664" formatCode="0.0%">
                  <c:v>0.16039391783793988</c:v>
                </c:pt>
                <c:pt idx="665" formatCode="0.0%">
                  <c:v>0.15833020594427111</c:v>
                </c:pt>
                <c:pt idx="666" formatCode="0.0%">
                  <c:v>0.16534671691652633</c:v>
                </c:pt>
                <c:pt idx="667" formatCode="0.0%">
                  <c:v>0.16534671691652633</c:v>
                </c:pt>
                <c:pt idx="668" formatCode="0.0%">
                  <c:v>0.16534671691652633</c:v>
                </c:pt>
                <c:pt idx="669" formatCode="0.0%">
                  <c:v>0.17517997614731101</c:v>
                </c:pt>
                <c:pt idx="670" formatCode="0.0%">
                  <c:v>0.17329177509143606</c:v>
                </c:pt>
                <c:pt idx="671" formatCode="0.0%">
                  <c:v>0.17349811891424835</c:v>
                </c:pt>
                <c:pt idx="672" formatCode="0.0%">
                  <c:v>0.15358384191034588</c:v>
                </c:pt>
                <c:pt idx="673" formatCode="0.0%">
                  <c:v>0.15028197585795525</c:v>
                </c:pt>
                <c:pt idx="674" formatCode="0.0%">
                  <c:v>0.15028197585795525</c:v>
                </c:pt>
                <c:pt idx="675" formatCode="0.0%">
                  <c:v>0.15028197585795525</c:v>
                </c:pt>
                <c:pt idx="676" formatCode="0.0%">
                  <c:v>0.15275837539724832</c:v>
                </c:pt>
                <c:pt idx="677" formatCode="0.0%">
                  <c:v>0.16452125040342863</c:v>
                </c:pt>
                <c:pt idx="678" formatCode="0.0%">
                  <c:v>0.15915567245736881</c:v>
                </c:pt>
                <c:pt idx="679" formatCode="0.0%">
                  <c:v>0.17071220364073697</c:v>
                </c:pt>
                <c:pt idx="680" formatCode="0.0%">
                  <c:v>0.1737044627370605</c:v>
                </c:pt>
                <c:pt idx="681" formatCode="0.0%">
                  <c:v>0.1737044627370605</c:v>
                </c:pt>
                <c:pt idx="682" formatCode="0.0%">
                  <c:v>0.1737044627370605</c:v>
                </c:pt>
                <c:pt idx="683" formatCode="0.0%">
                  <c:v>0.17452992925015806</c:v>
                </c:pt>
                <c:pt idx="684" formatCode="0.0%">
                  <c:v>0.17999867910762404</c:v>
                </c:pt>
                <c:pt idx="685" formatCode="0.0%">
                  <c:v>0.16864849174706806</c:v>
                </c:pt>
                <c:pt idx="686" formatCode="0.0%">
                  <c:v>0.16317983311145126</c:v>
                </c:pt>
                <c:pt idx="687" formatCode="0.0%">
                  <c:v>0.17267265240115065</c:v>
                </c:pt>
                <c:pt idx="688" formatCode="0.0%">
                  <c:v>0.17267265240115065</c:v>
                </c:pt>
                <c:pt idx="689" formatCode="0.0%">
                  <c:v>0.17267265240115065</c:v>
                </c:pt>
                <c:pt idx="690" formatCode="0.0%">
                  <c:v>0.17927638450593236</c:v>
                </c:pt>
                <c:pt idx="691" formatCode="0.0%">
                  <c:v>0.18577685347745884</c:v>
                </c:pt>
                <c:pt idx="692" formatCode="0.0%">
                  <c:v>0.18907871952985006</c:v>
                </c:pt>
                <c:pt idx="693" formatCode="0.0%">
                  <c:v>0.18938823526406806</c:v>
                </c:pt>
                <c:pt idx="694" formatCode="0.0%">
                  <c:v>0.18876920379563158</c:v>
                </c:pt>
                <c:pt idx="695" formatCode="0.0%">
                  <c:v>0.18876920379563158</c:v>
                </c:pt>
                <c:pt idx="696" formatCode="0.0%">
                  <c:v>0.18876920379563158</c:v>
                </c:pt>
                <c:pt idx="697" formatCode="0.0%">
                  <c:v>0.18154634900056421</c:v>
                </c:pt>
                <c:pt idx="698" formatCode="0.0%">
                  <c:v>0.1843323554959248</c:v>
                </c:pt>
                <c:pt idx="699" formatCode="0.0%">
                  <c:v>0.21556571320981788</c:v>
                </c:pt>
                <c:pt idx="700" formatCode="0.0%">
                  <c:v>0.19846836690814285</c:v>
                </c:pt>
                <c:pt idx="701" formatCode="0.0%">
                  <c:v>0.19774607230645144</c:v>
                </c:pt>
                <c:pt idx="702" formatCode="0.0%">
                  <c:v>0.19774607230645144</c:v>
                </c:pt>
                <c:pt idx="703" formatCode="0.0%">
                  <c:v>0.19774607230645144</c:v>
                </c:pt>
                <c:pt idx="704" formatCode="0.0%">
                  <c:v>0.19011052986575977</c:v>
                </c:pt>
                <c:pt idx="705" formatCode="0.0%">
                  <c:v>0.17741910765692467</c:v>
                </c:pt>
                <c:pt idx="706" formatCode="0.0%">
                  <c:v>0.1737044627370605</c:v>
                </c:pt>
                <c:pt idx="707" formatCode="0.0%">
                  <c:v>0.17483953620622544</c:v>
                </c:pt>
                <c:pt idx="708" formatCode="0.0%">
                  <c:v>0.17380763464846652</c:v>
                </c:pt>
                <c:pt idx="709" formatCode="0.0%">
                  <c:v>0.17380763464846652</c:v>
                </c:pt>
                <c:pt idx="710" formatCode="0.0%">
                  <c:v>0.17380763464846652</c:v>
                </c:pt>
                <c:pt idx="711" formatCode="0.0%">
                  <c:v>0.16720399376553388</c:v>
                </c:pt>
                <c:pt idx="712" formatCode="0.0%">
                  <c:v>0.1834036258495719</c:v>
                </c:pt>
                <c:pt idx="713" formatCode="0.0%">
                  <c:v>0.18113366135494019</c:v>
                </c:pt>
                <c:pt idx="714" formatCode="0.0%">
                  <c:v>0.14873421474316587</c:v>
                </c:pt>
                <c:pt idx="715" formatCode="0.0%">
                  <c:v>0.13428868759672924</c:v>
                </c:pt>
                <c:pt idx="716" formatCode="0.0%">
                  <c:v>0.13428868759672924</c:v>
                </c:pt>
                <c:pt idx="717" formatCode="0.0%">
                  <c:v>0.13428868759672924</c:v>
                </c:pt>
                <c:pt idx="718" formatCode="0.0%">
                  <c:v>0.13728094669305294</c:v>
                </c:pt>
                <c:pt idx="719" formatCode="0.0%">
                  <c:v>0.13088364963293245</c:v>
                </c:pt>
                <c:pt idx="720" formatCode="0.0%">
                  <c:v>0.14316238419614308</c:v>
                </c:pt>
                <c:pt idx="721" formatCode="0.0%">
                  <c:v>0.13346322108363154</c:v>
                </c:pt>
                <c:pt idx="722" formatCode="0.0%">
                  <c:v>0.13387590872925587</c:v>
                </c:pt>
                <c:pt idx="723" formatCode="0.0%">
                  <c:v>0.13387590872925587</c:v>
                </c:pt>
                <c:pt idx="724" formatCode="0.0%">
                  <c:v>0.13387590872925587</c:v>
                </c:pt>
                <c:pt idx="725" formatCode="0.0%">
                  <c:v>0.13387590872925587</c:v>
                </c:pt>
                <c:pt idx="726" formatCode="0.0%">
                  <c:v>0.13501089097657201</c:v>
                </c:pt>
                <c:pt idx="727" formatCode="0.0%">
                  <c:v>0.1310899934557446</c:v>
                </c:pt>
                <c:pt idx="728" formatCode="0.0%">
                  <c:v>0.13191545996884216</c:v>
                </c:pt>
                <c:pt idx="729" formatCode="0.0%">
                  <c:v>0.12489904021843629</c:v>
                </c:pt>
                <c:pt idx="730" formatCode="0.0%">
                  <c:v>0.12586891091876268</c:v>
                </c:pt>
                <c:pt idx="731" formatCode="0.0%">
                  <c:v>0.12586891091876268</c:v>
                </c:pt>
                <c:pt idx="732" formatCode="0.0%">
                  <c:v>0.1262403662885643</c:v>
                </c:pt>
                <c:pt idx="733" formatCode="0.0%">
                  <c:v>0.14047964083403769</c:v>
                </c:pt>
                <c:pt idx="734" formatCode="0.0%">
                  <c:v>0.14285277724007556</c:v>
                </c:pt>
                <c:pt idx="735" formatCode="0.0%">
                  <c:v>0.14440053835486494</c:v>
                </c:pt>
                <c:pt idx="736" formatCode="0.0%">
                  <c:v>0.14625781520387249</c:v>
                </c:pt>
                <c:pt idx="737" formatCode="0.0%">
                  <c:v>0.14625781520387249</c:v>
                </c:pt>
                <c:pt idx="738" formatCode="0.0%">
                  <c:v>0.14625781520387249</c:v>
                </c:pt>
                <c:pt idx="739" formatCode="0.0%">
                  <c:v>0.15760800256442864</c:v>
                </c:pt>
                <c:pt idx="740" formatCode="0.0%">
                  <c:v>0.14563878373543632</c:v>
                </c:pt>
                <c:pt idx="741" formatCode="0.0%">
                  <c:v>0.15317106304287265</c:v>
                </c:pt>
                <c:pt idx="742" formatCode="0.0%">
                  <c:v>0.15894932863455666</c:v>
                </c:pt>
                <c:pt idx="743" formatCode="0.0%">
                  <c:v>0.16194167895272954</c:v>
                </c:pt>
                <c:pt idx="744" formatCode="0.0%">
                  <c:v>0.16194167895272954</c:v>
                </c:pt>
                <c:pt idx="745" formatCode="0.0%">
                  <c:v>0.16194167895272954</c:v>
                </c:pt>
                <c:pt idx="746" formatCode="0.0%">
                  <c:v>0.16751350949975219</c:v>
                </c:pt>
                <c:pt idx="747" formatCode="0.0%">
                  <c:v>0.17174401397664682</c:v>
                </c:pt>
                <c:pt idx="748" formatCode="0.0%">
                  <c:v>0.16875166365847435</c:v>
                </c:pt>
                <c:pt idx="749" formatCode="0.0%">
                  <c:v>0.15306789113146663</c:v>
                </c:pt>
                <c:pt idx="750" formatCode="0.0%">
                  <c:v>0.15626658527245141</c:v>
                </c:pt>
                <c:pt idx="751" formatCode="0.0%">
                  <c:v>0.15626658527245141</c:v>
                </c:pt>
                <c:pt idx="752" formatCode="0.0%">
                  <c:v>0.15626658527245141</c:v>
                </c:pt>
                <c:pt idx="753" formatCode="0.0%">
                  <c:v>0.16937078634875988</c:v>
                </c:pt>
                <c:pt idx="754" formatCode="0.0%">
                  <c:v>0.16833897601285003</c:v>
                </c:pt>
                <c:pt idx="755" formatCode="0.0%">
                  <c:v>0.15492516798047418</c:v>
                </c:pt>
                <c:pt idx="756" formatCode="0.0%">
                  <c:v>0.17391080655987254</c:v>
                </c:pt>
                <c:pt idx="757" formatCode="0.0%">
                  <c:v>0.18113366135494019</c:v>
                </c:pt>
                <c:pt idx="758" formatCode="0.0%">
                  <c:v>0.18113366135494019</c:v>
                </c:pt>
                <c:pt idx="759" formatCode="0.0%">
                  <c:v>0.18113366135494019</c:v>
                </c:pt>
                <c:pt idx="760" formatCode="0.0%">
                  <c:v>0.17597451845354159</c:v>
                </c:pt>
                <c:pt idx="761" formatCode="0.0%">
                  <c:v>0.18300124627290315</c:v>
                </c:pt>
                <c:pt idx="762" formatCode="0.0%">
                  <c:v>0.17865726181564695</c:v>
                </c:pt>
                <c:pt idx="763" formatCode="0.0%">
                  <c:v>0.19619831119166206</c:v>
                </c:pt>
                <c:pt idx="764" formatCode="0.0%">
                  <c:v>0.20259569947363162</c:v>
                </c:pt>
                <c:pt idx="765" formatCode="0.0%">
                  <c:v>0.20259569947363162</c:v>
                </c:pt>
                <c:pt idx="766" formatCode="0.0%">
                  <c:v>0.20259569947363162</c:v>
                </c:pt>
                <c:pt idx="767" formatCode="0.0%">
                  <c:v>0.19950017724405286</c:v>
                </c:pt>
                <c:pt idx="768" formatCode="0.0%">
                  <c:v>0.19681743388194775</c:v>
                </c:pt>
                <c:pt idx="769" formatCode="0.0%">
                  <c:v>0.20759192015242078</c:v>
                </c:pt>
                <c:pt idx="770" formatCode="0.0%">
                  <c:v>0.20695181643682686</c:v>
                </c:pt>
                <c:pt idx="771" formatCode="0.0%">
                  <c:v>0.19863092424335577</c:v>
                </c:pt>
                <c:pt idx="772" formatCode="0.0%">
                  <c:v>0.19863092424335577</c:v>
                </c:pt>
                <c:pt idx="773" formatCode="0.0%">
                  <c:v>0.19863092424335577</c:v>
                </c:pt>
                <c:pt idx="774" formatCode="0.0%">
                  <c:v>0.20801856474096708</c:v>
                </c:pt>
                <c:pt idx="775" formatCode="0.0%">
                  <c:v>0.20449822235982523</c:v>
                </c:pt>
                <c:pt idx="776" formatCode="0.0%">
                  <c:v>0.20855193889303719</c:v>
                </c:pt>
                <c:pt idx="777" formatCode="0.0%">
                  <c:v>0.21132563043876076</c:v>
                </c:pt>
                <c:pt idx="778" formatCode="0.0%">
                  <c:v>0.19745753759754109</c:v>
                </c:pt>
                <c:pt idx="779" formatCode="0.0%">
                  <c:v>0.19745753759754109</c:v>
                </c:pt>
                <c:pt idx="780" formatCode="0.0%">
                  <c:v>0.19745753759754109</c:v>
                </c:pt>
                <c:pt idx="781" formatCode="0.0%">
                  <c:v>0.19628405972987764</c:v>
                </c:pt>
                <c:pt idx="782" formatCode="0.0%">
                  <c:v>0.18550957345940419</c:v>
                </c:pt>
                <c:pt idx="783" formatCode="0.0%">
                  <c:v>0.18422945725006629</c:v>
                </c:pt>
                <c:pt idx="784" formatCode="0.0%">
                  <c:v>0.19372373608935206</c:v>
                </c:pt>
                <c:pt idx="785" formatCode="0.0%">
                  <c:v>0.1803890174002028</c:v>
                </c:pt>
                <c:pt idx="786" formatCode="0.0%">
                  <c:v>0.1803890174002028</c:v>
                </c:pt>
                <c:pt idx="787" formatCode="0.0%">
                  <c:v>0.1803890174002028</c:v>
                </c:pt>
                <c:pt idx="788" formatCode="0.0%">
                  <c:v>0.18689641923226602</c:v>
                </c:pt>
                <c:pt idx="789" formatCode="0.0%">
                  <c:v>0.18022901427676657</c:v>
                </c:pt>
                <c:pt idx="790" formatCode="0.0%">
                  <c:v>0.17590856505659502</c:v>
                </c:pt>
                <c:pt idx="791" formatCode="0.0%">
                  <c:v>0.17846888869712019</c:v>
                </c:pt>
                <c:pt idx="792" formatCode="0.0%">
                  <c:v>0.19244361988001388</c:v>
                </c:pt>
                <c:pt idx="793" formatCode="0.0%">
                  <c:v>0.19244361988001388</c:v>
                </c:pt>
                <c:pt idx="794" formatCode="0.0%">
                  <c:v>0.19244361988001388</c:v>
                </c:pt>
                <c:pt idx="795" formatCode="0.0%">
                  <c:v>0.19788418218608797</c:v>
                </c:pt>
                <c:pt idx="796" formatCode="0.0%">
                  <c:v>0.19244361988001388</c:v>
                </c:pt>
                <c:pt idx="797" formatCode="0.0%">
                  <c:v>0.19084349742380355</c:v>
                </c:pt>
                <c:pt idx="798" formatCode="0.0%">
                  <c:v>0.19201697529146755</c:v>
                </c:pt>
                <c:pt idx="799" formatCode="0.0%">
                  <c:v>0.15179945131882164</c:v>
                </c:pt>
                <c:pt idx="800" formatCode="0.0%">
                  <c:v>0.15179945131882164</c:v>
                </c:pt>
                <c:pt idx="801" formatCode="0.0%">
                  <c:v>0.15179945131882164</c:v>
                </c:pt>
                <c:pt idx="802" formatCode="0.0%">
                  <c:v>0.13889146844006789</c:v>
                </c:pt>
                <c:pt idx="803" formatCode="0.0%">
                  <c:v>0.14614552110755</c:v>
                </c:pt>
                <c:pt idx="804" formatCode="0.0%">
                  <c:v>0.14443866908781616</c:v>
                </c:pt>
                <c:pt idx="805" formatCode="0.0%">
                  <c:v>0.14219844291601219</c:v>
                </c:pt>
                <c:pt idx="806" formatCode="0.0%">
                  <c:v>0.14550541739195638</c:v>
                </c:pt>
                <c:pt idx="807" formatCode="0.0%">
                  <c:v>0.14550541739195638</c:v>
                </c:pt>
                <c:pt idx="808" formatCode="0.0%">
                  <c:v>0.14550541739195638</c:v>
                </c:pt>
                <c:pt idx="809" formatCode="0.0%">
                  <c:v>0.14870575352622623</c:v>
                </c:pt>
                <c:pt idx="810" formatCode="0.0%">
                  <c:v>0.15382630958542776</c:v>
                </c:pt>
                <c:pt idx="811" formatCode="0.0%">
                  <c:v>0.16097372391123513</c:v>
                </c:pt>
                <c:pt idx="812" formatCode="0.0%">
                  <c:v>0.15489305788956798</c:v>
                </c:pt>
                <c:pt idx="813" formatCode="0.0%">
                  <c:v>0.15147935385010031</c:v>
                </c:pt>
                <c:pt idx="814" formatCode="0.0%">
                  <c:v>0.15147935385010031</c:v>
                </c:pt>
                <c:pt idx="815" formatCode="0.0%">
                  <c:v>0.15147935385010031</c:v>
                </c:pt>
                <c:pt idx="816" formatCode="0.0%">
                  <c:v>0.15926687189150129</c:v>
                </c:pt>
                <c:pt idx="817" formatCode="0.0%">
                  <c:v>0.14955922514701769</c:v>
                </c:pt>
                <c:pt idx="818" formatCode="0.0%">
                  <c:v>0.16225384012057334</c:v>
                </c:pt>
                <c:pt idx="819" formatCode="0.0%">
                  <c:v>0.16566754416004101</c:v>
                </c:pt>
                <c:pt idx="820" formatCode="0.0%">
                  <c:v>0.18536024329232048</c:v>
                </c:pt>
                <c:pt idx="821" formatCode="0.0%">
                  <c:v>0.18536024329232048</c:v>
                </c:pt>
                <c:pt idx="822" formatCode="0.0%">
                  <c:v>0.18536024329232048</c:v>
                </c:pt>
                <c:pt idx="823" formatCode="0.0%">
                  <c:v>0.18241596688865797</c:v>
                </c:pt>
                <c:pt idx="824" formatCode="0.0%">
                  <c:v>0.17761541707632872</c:v>
                </c:pt>
                <c:pt idx="825" formatCode="0.0%">
                  <c:v>0.17100137690259104</c:v>
                </c:pt>
                <c:pt idx="826" formatCode="0.0%">
                  <c:v>0.17100137690259104</c:v>
                </c:pt>
                <c:pt idx="827" formatCode="0.0%">
                  <c:v>0.17100137690259104</c:v>
                </c:pt>
                <c:pt idx="828" formatCode="0.0%">
                  <c:v>0.17100137690259104</c:v>
                </c:pt>
                <c:pt idx="829" formatCode="0.0%">
                  <c:v>0.17100137690259104</c:v>
                </c:pt>
                <c:pt idx="830" formatCode="0.0%">
                  <c:v>0.17100137690259104</c:v>
                </c:pt>
                <c:pt idx="831" formatCode="0.0%">
                  <c:v>0.17868225660231801</c:v>
                </c:pt>
                <c:pt idx="832" formatCode="0.0%">
                  <c:v>0.17462844884725698</c:v>
                </c:pt>
                <c:pt idx="833" formatCode="0.0%">
                  <c:v>0.17377506844831458</c:v>
                </c:pt>
                <c:pt idx="834" formatCode="0.0%">
                  <c:v>0.18337607685112389</c:v>
                </c:pt>
                <c:pt idx="835" formatCode="0.0%">
                  <c:v>0.18337607685112389</c:v>
                </c:pt>
                <c:pt idx="836" formatCode="0.0%">
                  <c:v>0.18337607685112389</c:v>
                </c:pt>
                <c:pt idx="837" formatCode="0.0%">
                  <c:v>0.19180360738626973</c:v>
                </c:pt>
                <c:pt idx="838" formatCode="0.0%">
                  <c:v>0.18999002580301222</c:v>
                </c:pt>
                <c:pt idx="839" formatCode="0.0%">
                  <c:v>0.18764316128953368</c:v>
                </c:pt>
                <c:pt idx="840" formatCode="0.0%">
                  <c:v>0.1887099095936739</c:v>
                </c:pt>
                <c:pt idx="841" formatCode="0.0%">
                  <c:v>0.18380272143967047</c:v>
                </c:pt>
                <c:pt idx="842" formatCode="0.0%">
                  <c:v>0.18380272143967047</c:v>
                </c:pt>
                <c:pt idx="843" formatCode="0.0%">
                  <c:v>0.18380272143967047</c:v>
                </c:pt>
                <c:pt idx="844" formatCode="0.0%">
                  <c:v>0.18070911486892413</c:v>
                </c:pt>
                <c:pt idx="845" formatCode="0.0%">
                  <c:v>0.17857552703879478</c:v>
                </c:pt>
                <c:pt idx="846" formatCode="0.0%">
                  <c:v>0.16257384636744546</c:v>
                </c:pt>
                <c:pt idx="847" formatCode="0.0%">
                  <c:v>0.16844114448391509</c:v>
                </c:pt>
                <c:pt idx="848" formatCode="0.0%">
                  <c:v>0.17942899865958623</c:v>
                </c:pt>
                <c:pt idx="849" formatCode="0.0%">
                  <c:v>0.17942899865958623</c:v>
                </c:pt>
                <c:pt idx="850" formatCode="0.0%">
                  <c:v>0.18124248902099452</c:v>
                </c:pt>
                <c:pt idx="851" formatCode="0.0%">
                  <c:v>0.18124248902099452</c:v>
                </c:pt>
                <c:pt idx="852" formatCode="0.0%">
                  <c:v>0.17238822267545273</c:v>
                </c:pt>
                <c:pt idx="853" formatCode="0.0%">
                  <c:v>0.17046800275052093</c:v>
                </c:pt>
                <c:pt idx="854" formatCode="0.0%">
                  <c:v>0.15852012983423364</c:v>
                </c:pt>
                <c:pt idx="855" formatCode="0.0%">
                  <c:v>0.15852012983423364</c:v>
                </c:pt>
                <c:pt idx="856" formatCode="0.0%">
                  <c:v>0.15852012983423364</c:v>
                </c:pt>
                <c:pt idx="857" formatCode="0.0%">
                  <c:v>0.15852012983423364</c:v>
                </c:pt>
                <c:pt idx="858" formatCode="0.0%">
                  <c:v>0.17612193296179271</c:v>
                </c:pt>
                <c:pt idx="859" formatCode="0.0%">
                  <c:v>0.17782878498152685</c:v>
                </c:pt>
                <c:pt idx="860" formatCode="0.0%">
                  <c:v>0.1748418167524548</c:v>
                </c:pt>
                <c:pt idx="861" formatCode="0.0%">
                  <c:v>0.18017574071685402</c:v>
                </c:pt>
                <c:pt idx="862" formatCode="0.0%">
                  <c:v>0.18593630926980012</c:v>
                </c:pt>
                <c:pt idx="863" formatCode="0.0%">
                  <c:v>0.18593630926980012</c:v>
                </c:pt>
                <c:pt idx="864" formatCode="0.0%">
                  <c:v>0.18593630926980012</c:v>
                </c:pt>
                <c:pt idx="865" formatCode="0.0%">
                  <c:v>0.18785652919473178</c:v>
                </c:pt>
                <c:pt idx="866" formatCode="0.0%">
                  <c:v>0.18593630926980012</c:v>
                </c:pt>
                <c:pt idx="867" formatCode="0.0%">
                  <c:v>0.18764316128953368</c:v>
                </c:pt>
                <c:pt idx="868" formatCode="0.0%">
                  <c:v>0.18764316128953368</c:v>
                </c:pt>
                <c:pt idx="869" formatCode="0.0%">
                  <c:v>0.18764316128953368</c:v>
                </c:pt>
                <c:pt idx="870" formatCode="0.0%">
                  <c:v>0.18764316128953368</c:v>
                </c:pt>
                <c:pt idx="871" formatCode="0.0%">
                  <c:v>0.18764316128953368</c:v>
                </c:pt>
                <c:pt idx="872" formatCode="0.0%">
                  <c:v>0.20599170647436124</c:v>
                </c:pt>
                <c:pt idx="873" formatCode="0.0%">
                  <c:v>0.20023113792141514</c:v>
                </c:pt>
                <c:pt idx="874" formatCode="0.0%">
                  <c:v>0.18209586941993677</c:v>
                </c:pt>
                <c:pt idx="875" formatCode="0.0%">
                  <c:v>0.18902991584054646</c:v>
                </c:pt>
                <c:pt idx="876" formatCode="0.0%">
                  <c:v>0.20449822235982523</c:v>
                </c:pt>
                <c:pt idx="877" formatCode="0.0%">
                  <c:v>0.20449822235982523</c:v>
                </c:pt>
                <c:pt idx="878" formatCode="0.0%">
                  <c:v>0.20449822235982523</c:v>
                </c:pt>
                <c:pt idx="879" formatCode="0.0%">
                  <c:v>0.20449822235982523</c:v>
                </c:pt>
                <c:pt idx="880" formatCode="0.0%">
                  <c:v>0.20161789247242795</c:v>
                </c:pt>
                <c:pt idx="881" formatCode="0.0%">
                  <c:v>0.19729744325225582</c:v>
                </c:pt>
                <c:pt idx="882" formatCode="0.0%">
                  <c:v>0.19639069807155182</c:v>
                </c:pt>
                <c:pt idx="883" formatCode="0.0%">
                  <c:v>0.21623281859276416</c:v>
                </c:pt>
                <c:pt idx="884" formatCode="0.0%">
                  <c:v>0.21623281859276416</c:v>
                </c:pt>
                <c:pt idx="885" formatCode="0.0%">
                  <c:v>0.21623281859276416</c:v>
                </c:pt>
                <c:pt idx="886" formatCode="0.0%">
                  <c:v>0.21623281859276416</c:v>
                </c:pt>
                <c:pt idx="887" formatCode="0.0%">
                  <c:v>0.22647383948931818</c:v>
                </c:pt>
                <c:pt idx="888" formatCode="0.0%">
                  <c:v>0.21772630270730048</c:v>
                </c:pt>
                <c:pt idx="889" formatCode="0.0%">
                  <c:v>0.21207237249602856</c:v>
                </c:pt>
                <c:pt idx="890" formatCode="0.0%">
                  <c:v>0.21943315472703404</c:v>
                </c:pt>
                <c:pt idx="891" formatCode="0.0%">
                  <c:v>0.21943315472703404</c:v>
                </c:pt>
                <c:pt idx="892" formatCode="0.0%">
                  <c:v>0.21943315472703404</c:v>
                </c:pt>
                <c:pt idx="893" formatCode="0.0%">
                  <c:v>0.22188665758218676</c:v>
                </c:pt>
                <c:pt idx="894" formatCode="0.0%">
                  <c:v>0.23383462172032382</c:v>
                </c:pt>
                <c:pt idx="895" formatCode="0.0%">
                  <c:v>0.23500809958798727</c:v>
                </c:pt>
                <c:pt idx="896" formatCode="0.0%">
                  <c:v>0.2324477759474621</c:v>
                </c:pt>
                <c:pt idx="897" formatCode="0.0%">
                  <c:v>0.24258215850234152</c:v>
                </c:pt>
                <c:pt idx="898" formatCode="0.0%">
                  <c:v>0.24258215850234152</c:v>
                </c:pt>
                <c:pt idx="899" formatCode="0.0%">
                  <c:v>0.24258215850234152</c:v>
                </c:pt>
                <c:pt idx="900" formatCode="0.0%">
                  <c:v>0.23084765349125164</c:v>
                </c:pt>
                <c:pt idx="901" formatCode="0.0%">
                  <c:v>0.22647383948931818</c:v>
                </c:pt>
                <c:pt idx="902" formatCode="0.0%">
                  <c:v>0.21804630895417262</c:v>
                </c:pt>
                <c:pt idx="903" formatCode="0.0%">
                  <c:v>0.21484597281990275</c:v>
                </c:pt>
                <c:pt idx="904" formatCode="0.0%">
                  <c:v>0.21644609527611308</c:v>
                </c:pt>
                <c:pt idx="905" formatCode="0.0%">
                  <c:v>0.21644609527611308</c:v>
                </c:pt>
                <c:pt idx="906" formatCode="0.0%">
                  <c:v>0.21644609527611308</c:v>
                </c:pt>
                <c:pt idx="907" formatCode="0.0%">
                  <c:v>0.2139925924209605</c:v>
                </c:pt>
                <c:pt idx="908" formatCode="0.0%">
                  <c:v>0.20897867470343329</c:v>
                </c:pt>
                <c:pt idx="909" formatCode="0.0%">
                  <c:v>0.21975316097390632</c:v>
                </c:pt>
                <c:pt idx="910" formatCode="0.0%">
                  <c:v>0.22444698122271206</c:v>
                </c:pt>
                <c:pt idx="911" formatCode="0.0%">
                  <c:v>0.23837911180204571</c:v>
                </c:pt>
                <c:pt idx="912" formatCode="0.0%">
                  <c:v>0.23837911180204571</c:v>
                </c:pt>
                <c:pt idx="913" formatCode="0.0%">
                  <c:v>0.23837911180204571</c:v>
                </c:pt>
                <c:pt idx="914" formatCode="0.0%">
                  <c:v>0.23810170615873388</c:v>
                </c:pt>
                <c:pt idx="915" formatCode="0.0%">
                  <c:v>0.24012856442533972</c:v>
                </c:pt>
                <c:pt idx="916" formatCode="0.0%">
                  <c:v>0.23831507406393143</c:v>
                </c:pt>
                <c:pt idx="917" formatCode="0.0%">
                  <c:v>0.22124664508844233</c:v>
                </c:pt>
                <c:pt idx="918" formatCode="0.0%">
                  <c:v>0.21612608902924094</c:v>
                </c:pt>
                <c:pt idx="919" formatCode="0.0%">
                  <c:v>0.21612608902924094</c:v>
                </c:pt>
                <c:pt idx="920" formatCode="0.0%">
                  <c:v>0.21612608902924094</c:v>
                </c:pt>
                <c:pt idx="921" formatCode="0.0%">
                  <c:v>0.21463260491470465</c:v>
                </c:pt>
                <c:pt idx="922" formatCode="0.0%">
                  <c:v>0.22039317346765103</c:v>
                </c:pt>
                <c:pt idx="923" formatCode="0.0%">
                  <c:v>0.22594046533724807</c:v>
                </c:pt>
                <c:pt idx="924" formatCode="0.0%">
                  <c:v>0.22636720114764386</c:v>
                </c:pt>
                <c:pt idx="925" formatCode="0.0%">
                  <c:v>0.22444698122271206</c:v>
                </c:pt>
                <c:pt idx="926" formatCode="0.0%">
                  <c:v>0.22444698122271206</c:v>
                </c:pt>
                <c:pt idx="927" formatCode="0.0%">
                  <c:v>0.22444698122271206</c:v>
                </c:pt>
                <c:pt idx="928" formatCode="0.0%">
                  <c:v>0.22626047158412008</c:v>
                </c:pt>
                <c:pt idx="929" formatCode="0.0%">
                  <c:v>0.23031427933918153</c:v>
                </c:pt>
                <c:pt idx="930" formatCode="0.0%">
                  <c:v>0.23820843572225711</c:v>
                </c:pt>
                <c:pt idx="931" formatCode="0.0%">
                  <c:v>0.23810170615873388</c:v>
                </c:pt>
                <c:pt idx="932" formatCode="0.0%">
                  <c:v>0.24119540395132916</c:v>
                </c:pt>
                <c:pt idx="933" formatCode="0.0%">
                  <c:v>0.24119540395132916</c:v>
                </c:pt>
                <c:pt idx="934" formatCode="0.0%">
                  <c:v>0.24119540395132916</c:v>
                </c:pt>
                <c:pt idx="935" formatCode="0.0%">
                  <c:v>0.24098203604613119</c:v>
                </c:pt>
                <c:pt idx="936" formatCode="0.0%">
                  <c:v>0.25090305069581276</c:v>
                </c:pt>
                <c:pt idx="937" formatCode="0.0%">
                  <c:v>0.24396900427520293</c:v>
                </c:pt>
                <c:pt idx="938" formatCode="0.0%">
                  <c:v>0.25890384542056283</c:v>
                </c:pt>
                <c:pt idx="939" formatCode="0.0%">
                  <c:v>0.25004957907502118</c:v>
                </c:pt>
                <c:pt idx="940" formatCode="0.0%">
                  <c:v>0.25004957907502118</c:v>
                </c:pt>
                <c:pt idx="941" formatCode="0.0%">
                  <c:v>0.25004957907502118</c:v>
                </c:pt>
                <c:pt idx="942" formatCode="0.0%">
                  <c:v>0.25590620423513855</c:v>
                </c:pt>
                <c:pt idx="943" formatCode="0.0%">
                  <c:v>0.25527686469774663</c:v>
                </c:pt>
                <c:pt idx="944" formatCode="0.0%">
                  <c:v>0.24226215225546938</c:v>
                </c:pt>
                <c:pt idx="945" formatCode="0.0%">
                  <c:v>0.23436799587239393</c:v>
                </c:pt>
                <c:pt idx="946" formatCode="0.0%">
                  <c:v>0.2314876659849962</c:v>
                </c:pt>
                <c:pt idx="947" formatCode="0.0%">
                  <c:v>0.2314876659849962</c:v>
                </c:pt>
                <c:pt idx="948" formatCode="0.0%">
                  <c:v>0.2314876659849962</c:v>
                </c:pt>
                <c:pt idx="949" formatCode="0.0%">
                  <c:v>0.23159439554851957</c:v>
                </c:pt>
                <c:pt idx="950" formatCode="0.0%">
                  <c:v>0.22892743356631981</c:v>
                </c:pt>
                <c:pt idx="951" formatCode="0.0%">
                  <c:v>0.23010091143398384</c:v>
                </c:pt>
                <c:pt idx="952" formatCode="0.0%">
                  <c:v>0.23340788590992773</c:v>
                </c:pt>
                <c:pt idx="953" formatCode="0.0%">
                  <c:v>0.22455361956438652</c:v>
                </c:pt>
                <c:pt idx="954" formatCode="0.0%">
                  <c:v>0.22455361956438652</c:v>
                </c:pt>
                <c:pt idx="955" formatCode="0.0%">
                  <c:v>0.22455361956438652</c:v>
                </c:pt>
                <c:pt idx="956" formatCode="0.0%">
                  <c:v>0.23266114385265979</c:v>
                </c:pt>
                <c:pt idx="957" formatCode="0.0%">
                  <c:v>0.22135328343011665</c:v>
                </c:pt>
                <c:pt idx="958" formatCode="0.0%">
                  <c:v>0.22594046533724807</c:v>
                </c:pt>
                <c:pt idx="959" formatCode="0.0%">
                  <c:v>0.21644609527611308</c:v>
                </c:pt>
                <c:pt idx="960" formatCode="0.0%">
                  <c:v>0.20385811864423162</c:v>
                </c:pt>
                <c:pt idx="961" formatCode="0.0%">
                  <c:v>0.20385811864423162</c:v>
                </c:pt>
                <c:pt idx="962" formatCode="0.0%">
                  <c:v>0.20385811864423162</c:v>
                </c:pt>
                <c:pt idx="963" formatCode="0.0%">
                  <c:v>0.2076985584940951</c:v>
                </c:pt>
                <c:pt idx="964" formatCode="0.0%">
                  <c:v>0.21943315472703404</c:v>
                </c:pt>
                <c:pt idx="965" formatCode="0.0%">
                  <c:v>0.22455361956438652</c:v>
                </c:pt>
                <c:pt idx="966" formatCode="0.0%">
                  <c:v>0.22551372952685228</c:v>
                </c:pt>
                <c:pt idx="967" formatCode="0.0%">
                  <c:v>0.21612608902924094</c:v>
                </c:pt>
                <c:pt idx="968" formatCode="0.0%">
                  <c:v>0.21612608902924094</c:v>
                </c:pt>
                <c:pt idx="969" formatCode="0.0%">
                  <c:v>0.21612608902924094</c:v>
                </c:pt>
                <c:pt idx="970" formatCode="0.0%">
                  <c:v>0.22775395569865636</c:v>
                </c:pt>
                <c:pt idx="971" formatCode="0.0%">
                  <c:v>0.23810170615873388</c:v>
                </c:pt>
                <c:pt idx="972" formatCode="0.0%">
                  <c:v>0.23959519027326961</c:v>
                </c:pt>
                <c:pt idx="973" formatCode="0.0%">
                  <c:v>0.24559047264411801</c:v>
                </c:pt>
                <c:pt idx="974" formatCode="0.0%">
                  <c:v>0.2541033868300826</c:v>
                </c:pt>
                <c:pt idx="975" formatCode="0.0%">
                  <c:v>0.2541033868300826</c:v>
                </c:pt>
                <c:pt idx="976" formatCode="0.0%">
                  <c:v>0.2541033868300826</c:v>
                </c:pt>
                <c:pt idx="977" formatCode="0.0%">
                  <c:v>0.25634361300188685</c:v>
                </c:pt>
                <c:pt idx="978" formatCode="0.0%">
                  <c:v>0.25847720083201636</c:v>
                </c:pt>
                <c:pt idx="979" formatCode="0.0%">
                  <c:v>0.25090305069581276</c:v>
                </c:pt>
                <c:pt idx="980" formatCode="0.0%">
                  <c:v>0.24460901676894764</c:v>
                </c:pt>
                <c:pt idx="981" formatCode="0.0%">
                  <c:v>0.24855609496048545</c:v>
                </c:pt>
                <c:pt idx="982" formatCode="0.0%">
                  <c:v>0.24855609496048545</c:v>
                </c:pt>
                <c:pt idx="983" formatCode="0.0%">
                  <c:v>0.24855609496048545</c:v>
                </c:pt>
                <c:pt idx="984" formatCode="0.0%">
                  <c:v>0.24962293448647485</c:v>
                </c:pt>
                <c:pt idx="985" formatCode="0.0%">
                  <c:v>0.25004957907502118</c:v>
                </c:pt>
                <c:pt idx="986" formatCode="0.0%">
                  <c:v>0.24631586878868134</c:v>
                </c:pt>
                <c:pt idx="987" formatCode="0.0%">
                  <c:v>0.26082406534549452</c:v>
                </c:pt>
                <c:pt idx="988" formatCode="0.0%">
                  <c:v>0.25506349679254853</c:v>
                </c:pt>
                <c:pt idx="989" formatCode="0.0%">
                  <c:v>0.25506349679254853</c:v>
                </c:pt>
                <c:pt idx="990" formatCode="0.0%">
                  <c:v>0.25506349679254853</c:v>
                </c:pt>
                <c:pt idx="991" formatCode="0.0%">
                  <c:v>0.24930283701775324</c:v>
                </c:pt>
                <c:pt idx="992" formatCode="0.0%">
                  <c:v>0.24396900427520293</c:v>
                </c:pt>
                <c:pt idx="993" formatCode="0.0%">
                  <c:v>0.24770271456154291</c:v>
                </c:pt>
                <c:pt idx="994" formatCode="0.0%">
                  <c:v>0.23031427933918153</c:v>
                </c:pt>
                <c:pt idx="995" formatCode="0.0%">
                  <c:v>0.23202104013706631</c:v>
                </c:pt>
                <c:pt idx="996" formatCode="0.0%">
                  <c:v>0.23202104013706631</c:v>
                </c:pt>
                <c:pt idx="997" formatCode="0.0%">
                  <c:v>0.23202104013706631</c:v>
                </c:pt>
                <c:pt idx="998" formatCode="0.0%">
                  <c:v>0.22988754352878588</c:v>
                </c:pt>
                <c:pt idx="999" formatCode="0.0%">
                  <c:v>0.22498035537478217</c:v>
                </c:pt>
                <c:pt idx="1000" formatCode="0.0%">
                  <c:v>0.22722058154658625</c:v>
                </c:pt>
                <c:pt idx="1001" formatCode="0.0%">
                  <c:v>0.22892743356631981</c:v>
                </c:pt>
                <c:pt idx="1002" formatCode="0.0%">
                  <c:v>0.23532810583485955</c:v>
                </c:pt>
                <c:pt idx="1003" formatCode="0.0%">
                  <c:v>0.22649518540202293</c:v>
                </c:pt>
                <c:pt idx="1004" formatCode="0.0%">
                  <c:v>0.22649518540202293</c:v>
                </c:pt>
                <c:pt idx="1005" formatCode="0.0%">
                  <c:v>0.2324477759474621</c:v>
                </c:pt>
                <c:pt idx="1006" formatCode="0.0%">
                  <c:v>0.22081990927804654</c:v>
                </c:pt>
                <c:pt idx="1007" formatCode="0.0%">
                  <c:v>0.21495261116157693</c:v>
                </c:pt>
                <c:pt idx="1008" formatCode="0.0%">
                  <c:v>0.21761957314377667</c:v>
                </c:pt>
                <c:pt idx="1009" formatCode="0.0%">
                  <c:v>0.22167338089883798</c:v>
                </c:pt>
                <c:pt idx="1010" formatCode="0.0%">
                  <c:v>0.22167338089883798</c:v>
                </c:pt>
                <c:pt idx="1011" formatCode="0.0%">
                  <c:v>0.22167338089883798</c:v>
                </c:pt>
                <c:pt idx="1012" formatCode="0.0%">
                  <c:v>0.22583373577372456</c:v>
                </c:pt>
                <c:pt idx="1013" formatCode="0.0%">
                  <c:v>0.24300889431273731</c:v>
                </c:pt>
                <c:pt idx="1014" formatCode="0.0%">
                  <c:v>0.24268888806586503</c:v>
                </c:pt>
                <c:pt idx="1015" formatCode="0.0%">
                  <c:v>0.25346328311448912</c:v>
                </c:pt>
                <c:pt idx="1016" formatCode="0.0%">
                  <c:v>0.24844945661881085</c:v>
                </c:pt>
                <c:pt idx="1017" formatCode="0.0%">
                  <c:v>0.24844945661881085</c:v>
                </c:pt>
                <c:pt idx="1018" formatCode="0.0%">
                  <c:v>0.24844945661881085</c:v>
                </c:pt>
                <c:pt idx="1019" formatCode="0.0%">
                  <c:v>0.24951620492295107</c:v>
                </c:pt>
                <c:pt idx="1020" formatCode="0.0%">
                  <c:v>0.24439574008559903</c:v>
                </c:pt>
                <c:pt idx="1021" formatCode="0.0%">
                  <c:v>0.2421554226919457</c:v>
                </c:pt>
                <c:pt idx="1022" formatCode="0.0%">
                  <c:v>0.22402024541231641</c:v>
                </c:pt>
                <c:pt idx="1023" formatCode="0.0%">
                  <c:v>0.20620507437955923</c:v>
                </c:pt>
                <c:pt idx="1024" formatCode="0.0%">
                  <c:v>0.20620507437955923</c:v>
                </c:pt>
                <c:pt idx="1025" formatCode="0.0%">
                  <c:v>0.20620507437955923</c:v>
                </c:pt>
                <c:pt idx="1026" formatCode="0.0%">
                  <c:v>0.19831091799648348</c:v>
                </c:pt>
                <c:pt idx="1027" formatCode="0.0%">
                  <c:v>0.20801856474096708</c:v>
                </c:pt>
                <c:pt idx="1028" formatCode="0.0%">
                  <c:v>0.20076451207348525</c:v>
                </c:pt>
                <c:pt idx="1029" formatCode="0.0%">
                  <c:v>0.19585732391948171</c:v>
                </c:pt>
                <c:pt idx="1030" formatCode="0.0%">
                  <c:v>0.18721642547913817</c:v>
                </c:pt>
                <c:pt idx="1031" formatCode="0.0%">
                  <c:v>0.18721642547913817</c:v>
                </c:pt>
                <c:pt idx="1032" formatCode="0.0%">
                  <c:v>0.18721642547913817</c:v>
                </c:pt>
                <c:pt idx="1033" formatCode="0.0%">
                  <c:v>0.18614967717499795</c:v>
                </c:pt>
                <c:pt idx="1034" formatCode="0.0%">
                  <c:v>0.19407585242713069</c:v>
                </c:pt>
                <c:pt idx="1035" formatCode="0.0%">
                  <c:v>0.20449822235982523</c:v>
                </c:pt>
                <c:pt idx="1036" formatCode="0.0%">
                  <c:v>0.21815294729584678</c:v>
                </c:pt>
                <c:pt idx="1037" formatCode="0.0%">
                  <c:v>0.21985979931558092</c:v>
                </c:pt>
                <c:pt idx="1038" formatCode="0.0%">
                  <c:v>0.21985979931558092</c:v>
                </c:pt>
                <c:pt idx="1039" formatCode="0.0%">
                  <c:v>0.21985979931558092</c:v>
                </c:pt>
                <c:pt idx="1040" formatCode="0.0%">
                  <c:v>0.22220675505090809</c:v>
                </c:pt>
                <c:pt idx="1041" formatCode="0.0%">
                  <c:v>0.22967417562358775</c:v>
                </c:pt>
                <c:pt idx="1042" formatCode="0.0%">
                  <c:v>0.22935416937671577</c:v>
                </c:pt>
                <c:pt idx="1043" formatCode="0.0%">
                  <c:v>0.22914080147151764</c:v>
                </c:pt>
                <c:pt idx="1044" formatCode="0.0%">
                  <c:v>0.22796732360385419</c:v>
                </c:pt>
                <c:pt idx="1045" formatCode="0.0%">
                  <c:v>0.22796732360385419</c:v>
                </c:pt>
                <c:pt idx="1046" formatCode="0.0%">
                  <c:v>0.22796732360385419</c:v>
                </c:pt>
                <c:pt idx="1047" formatCode="0.0%">
                  <c:v>0.23778169991186132</c:v>
                </c:pt>
                <c:pt idx="1048" formatCode="0.0%">
                  <c:v>0.24268888806586503</c:v>
                </c:pt>
                <c:pt idx="1049" formatCode="0.0%">
                  <c:v>0.24620923044700718</c:v>
                </c:pt>
                <c:pt idx="1050" formatCode="0.0%">
                  <c:v>0.2366082220441976</c:v>
                </c:pt>
                <c:pt idx="1051" formatCode="0.0%">
                  <c:v>0.23938182236807165</c:v>
                </c:pt>
                <c:pt idx="1052" formatCode="0.0%">
                  <c:v>0.23938182236807165</c:v>
                </c:pt>
                <c:pt idx="1053" formatCode="0.0%">
                  <c:v>0.23938182236807165</c:v>
                </c:pt>
                <c:pt idx="1054" formatCode="0.0%">
                  <c:v>0.24066193857740983</c:v>
                </c:pt>
                <c:pt idx="1055" formatCode="0.0%">
                  <c:v>0.24002192608366527</c:v>
                </c:pt>
                <c:pt idx="1056" formatCode="0.0%">
                  <c:v>0.2506896827906151</c:v>
                </c:pt>
                <c:pt idx="1057" formatCode="0.0%">
                  <c:v>0.25036967654374265</c:v>
                </c:pt>
                <c:pt idx="1058" formatCode="0.0%">
                  <c:v>0.24567585629493707</c:v>
                </c:pt>
                <c:pt idx="1059" formatCode="0.0%">
                  <c:v>0.24567585629493707</c:v>
                </c:pt>
                <c:pt idx="1060" formatCode="0.0%">
                  <c:v>0.24567585629493707</c:v>
                </c:pt>
                <c:pt idx="1061" formatCode="0.0%">
                  <c:v>0.2472759787511474</c:v>
                </c:pt>
                <c:pt idx="1062" formatCode="0.0%">
                  <c:v>0.24322226221793514</c:v>
                </c:pt>
                <c:pt idx="1063" formatCode="0.0%">
                  <c:v>0.24450237842727304</c:v>
                </c:pt>
                <c:pt idx="1064" formatCode="0.0%">
                  <c:v>0.25170315753484274</c:v>
                </c:pt>
                <c:pt idx="1065" formatCode="0.0%">
                  <c:v>0.2614641690610881</c:v>
                </c:pt>
                <c:pt idx="1066" formatCode="0.0%">
                  <c:v>0.2614641690610881</c:v>
                </c:pt>
                <c:pt idx="1067" formatCode="0.0%">
                  <c:v>0.2614641690610881</c:v>
                </c:pt>
                <c:pt idx="1068" formatCode="0.0%">
                  <c:v>0.25741036130602707</c:v>
                </c:pt>
                <c:pt idx="1069" formatCode="0.0%">
                  <c:v>0.26082406534549452</c:v>
                </c:pt>
                <c:pt idx="1070" formatCode="0.0%">
                  <c:v>0.26583789184117251</c:v>
                </c:pt>
                <c:pt idx="1071" formatCode="0.0%">
                  <c:v>0.2653045176891024</c:v>
                </c:pt>
                <c:pt idx="1072" formatCode="0.0%">
                  <c:v>0.26861158338689561</c:v>
                </c:pt>
                <c:pt idx="1073" formatCode="0.0%">
                  <c:v>0.26861158338689561</c:v>
                </c:pt>
                <c:pt idx="1074" formatCode="0.0%">
                  <c:v>0.26861158338689561</c:v>
                </c:pt>
                <c:pt idx="1075" formatCode="0.0%">
                  <c:v>0.28183957251252167</c:v>
                </c:pt>
                <c:pt idx="1076" formatCode="0.0%">
                  <c:v>0.28119956001877711</c:v>
                </c:pt>
                <c:pt idx="1077" formatCode="0.0%">
                  <c:v>0.2864267544196531</c:v>
                </c:pt>
                <c:pt idx="1078" formatCode="0.0%">
                  <c:v>0.28632002485612928</c:v>
                </c:pt>
                <c:pt idx="1079" formatCode="0.0%">
                  <c:v>0.29634776906933469</c:v>
                </c:pt>
                <c:pt idx="1080" formatCode="0.0%">
                  <c:v>0.29634776906933469</c:v>
                </c:pt>
                <c:pt idx="1081" formatCode="0.0%">
                  <c:v>0.29634776906933469</c:v>
                </c:pt>
                <c:pt idx="1082" formatCode="0.0%">
                  <c:v>0.29080047719973723</c:v>
                </c:pt>
                <c:pt idx="1083" formatCode="0.0%">
                  <c:v>0.29528102076519447</c:v>
                </c:pt>
                <c:pt idx="1084" formatCode="0.0%">
                  <c:v>0.29912136939320871</c:v>
                </c:pt>
                <c:pt idx="1085" formatCode="0.0%">
                  <c:v>0.28834688312273554</c:v>
                </c:pt>
                <c:pt idx="1086" formatCode="0.0%">
                  <c:v>0.29165394882052881</c:v>
                </c:pt>
                <c:pt idx="1087" formatCode="0.0%">
                  <c:v>0.29165394882052881</c:v>
                </c:pt>
                <c:pt idx="1088" formatCode="0.0%">
                  <c:v>0.29165394882052881</c:v>
                </c:pt>
                <c:pt idx="1089" formatCode="0.0%">
                  <c:v>0.29165394882052881</c:v>
                </c:pt>
                <c:pt idx="1090" formatCode="0.0%">
                  <c:v>0.29165394882052881</c:v>
                </c:pt>
                <c:pt idx="1091" formatCode="0.0%">
                  <c:v>0.28546664445718706</c:v>
                </c:pt>
                <c:pt idx="1092" formatCode="0.0%">
                  <c:v>0.29048047095286506</c:v>
                </c:pt>
                <c:pt idx="1093" formatCode="0.0%">
                  <c:v>0.29080047719973723</c:v>
                </c:pt>
                <c:pt idx="1094" formatCode="0.0%">
                  <c:v>0.29080047719973723</c:v>
                </c:pt>
                <c:pt idx="1095" formatCode="0.0%">
                  <c:v>0.29368080708713479</c:v>
                </c:pt>
                <c:pt idx="1096" formatCode="0.0%">
                  <c:v>0.29368080708713479</c:v>
                </c:pt>
                <c:pt idx="1097" formatCode="0.0%">
                  <c:v>0.29336080084026295</c:v>
                </c:pt>
                <c:pt idx="1098" formatCode="0.0%">
                  <c:v>0.28557328279886152</c:v>
                </c:pt>
                <c:pt idx="1099" formatCode="0.0%">
                  <c:v>0.28151956626564922</c:v>
                </c:pt>
                <c:pt idx="1100" formatCode="0.0%">
                  <c:v>0.27746575851058791</c:v>
                </c:pt>
                <c:pt idx="1101" formatCode="0.0%">
                  <c:v>0.27746575851058791</c:v>
                </c:pt>
                <c:pt idx="1102" formatCode="0.0%">
                  <c:v>0.27746575851058791</c:v>
                </c:pt>
                <c:pt idx="1103" formatCode="0.0%">
                  <c:v>0.27853259803657737</c:v>
                </c:pt>
                <c:pt idx="1104" formatCode="0.0%">
                  <c:v>0.28503990864679141</c:v>
                </c:pt>
                <c:pt idx="1105" formatCode="0.0%">
                  <c:v>0.28781350897066543</c:v>
                </c:pt>
                <c:pt idx="1106" formatCode="0.0%">
                  <c:v>0.28770687062899131</c:v>
                </c:pt>
                <c:pt idx="1107" formatCode="0.0%">
                  <c:v>0.29272069712466903</c:v>
                </c:pt>
                <c:pt idx="1108" formatCode="0.0%">
                  <c:v>0.29272069712466903</c:v>
                </c:pt>
                <c:pt idx="1109" formatCode="0.0%">
                  <c:v>0.29272069712466903</c:v>
                </c:pt>
                <c:pt idx="1110" formatCode="0.0%">
                  <c:v>0.29560102701206659</c:v>
                </c:pt>
                <c:pt idx="1111" formatCode="0.0%">
                  <c:v>0.30008147935567453</c:v>
                </c:pt>
                <c:pt idx="1112" formatCode="0.0%">
                  <c:v>0.28685339900819939</c:v>
                </c:pt>
                <c:pt idx="1113" formatCode="0.0%">
                  <c:v>0.29560102701206659</c:v>
                </c:pt>
                <c:pt idx="1114" formatCode="0.0%">
                  <c:v>0.30125495722333823</c:v>
                </c:pt>
                <c:pt idx="1115" formatCode="0.0%">
                  <c:v>0.30125495722333823</c:v>
                </c:pt>
                <c:pt idx="1116" formatCode="0.0%">
                  <c:v>0.30125495722333823</c:v>
                </c:pt>
                <c:pt idx="1117" formatCode="0.0%">
                  <c:v>0.31320283013962608</c:v>
                </c:pt>
                <c:pt idx="1118" formatCode="0.0%">
                  <c:v>0.3177900120467575</c:v>
                </c:pt>
                <c:pt idx="1119" formatCode="0.0%">
                  <c:v>0.32312384478930767</c:v>
                </c:pt>
                <c:pt idx="1120" formatCode="0.0%">
                  <c:v>0.331018001172383</c:v>
                </c:pt>
                <c:pt idx="1121" formatCode="0.0%">
                  <c:v>0.3282444008485092</c:v>
                </c:pt>
                <c:pt idx="1122" formatCode="0.0%">
                  <c:v>0.3282444008485092</c:v>
                </c:pt>
                <c:pt idx="1123" formatCode="0.0%">
                  <c:v>0.3282444008485092</c:v>
                </c:pt>
                <c:pt idx="1124" formatCode="0.0%">
                  <c:v>0.33315158900251274</c:v>
                </c:pt>
                <c:pt idx="1125" formatCode="0.0%">
                  <c:v>0.33368496315458285</c:v>
                </c:pt>
                <c:pt idx="1126" formatCode="0.0%">
                  <c:v>0.32075563436312449</c:v>
                </c:pt>
                <c:pt idx="1127" formatCode="0.0%">
                  <c:v>0.32739092922771762</c:v>
                </c:pt>
                <c:pt idx="1128" formatCode="0.0%">
                  <c:v>0.33955226127105248</c:v>
                </c:pt>
                <c:pt idx="1129" formatCode="0.0%">
                  <c:v>0.33955226127105248</c:v>
                </c:pt>
                <c:pt idx="1130" formatCode="0.0%">
                  <c:v>0.33955226127105248</c:v>
                </c:pt>
                <c:pt idx="1131" formatCode="0.0%">
                  <c:v>0.34477945567192819</c:v>
                </c:pt>
                <c:pt idx="1132" formatCode="0.0%">
                  <c:v>0.35043338588319983</c:v>
                </c:pt>
                <c:pt idx="1133" formatCode="0.0%">
                  <c:v>0.35429836441048879</c:v>
                </c:pt>
                <c:pt idx="1134" formatCode="0.0%">
                  <c:v>0.3563965581631422</c:v>
                </c:pt>
                <c:pt idx="1135" formatCode="0.0%">
                  <c:v>0.35838419103460722</c:v>
                </c:pt>
                <c:pt idx="1136" formatCode="0.0%">
                  <c:v>0.35838419103460722</c:v>
                </c:pt>
                <c:pt idx="1137" formatCode="0.0%">
                  <c:v>0.35838419103460722</c:v>
                </c:pt>
                <c:pt idx="1138" formatCode="0.0%">
                  <c:v>0.36688725326086202</c:v>
                </c:pt>
                <c:pt idx="1139" formatCode="0.0%">
                  <c:v>0.35562354421331432</c:v>
                </c:pt>
                <c:pt idx="1140" formatCode="0.0%">
                  <c:v>0.3593780530812643</c:v>
                </c:pt>
                <c:pt idx="1141" formatCode="0.0%">
                  <c:v>0.36335350126789251</c:v>
                </c:pt>
                <c:pt idx="1142" formatCode="0.0%">
                  <c:v>0.3652308469237161</c:v>
                </c:pt>
                <c:pt idx="1143" formatCode="0.0%">
                  <c:v>0.3652308469237161</c:v>
                </c:pt>
                <c:pt idx="1144" formatCode="0.0%">
                  <c:v>0.3652308469237161</c:v>
                </c:pt>
                <c:pt idx="1145" formatCode="0.0%">
                  <c:v>0.36180756459008623</c:v>
                </c:pt>
                <c:pt idx="1146" formatCode="0.0%">
                  <c:v>0.34756217818071888</c:v>
                </c:pt>
                <c:pt idx="1147" formatCode="0.0%">
                  <c:v>0.34723095164639917</c:v>
                </c:pt>
                <c:pt idx="1148" formatCode="0.0%">
                  <c:v>0.36810196340434798</c:v>
                </c:pt>
                <c:pt idx="1149" formatCode="0.0%">
                  <c:v>0.3750589977309477</c:v>
                </c:pt>
                <c:pt idx="1150" formatCode="0.0%">
                  <c:v>0.3750589977309477</c:v>
                </c:pt>
                <c:pt idx="1151" formatCode="0.0%">
                  <c:v>0.3750589977309477</c:v>
                </c:pt>
                <c:pt idx="1152" formatCode="0.0%">
                  <c:v>0.37196694193163748</c:v>
                </c:pt>
                <c:pt idx="1153" formatCode="0.0%">
                  <c:v>0.3697583697414939</c:v>
                </c:pt>
                <c:pt idx="1154" formatCode="0.0%">
                  <c:v>0.36754979755134998</c:v>
                </c:pt>
                <c:pt idx="1155" formatCode="0.0%">
                  <c:v>0.3746061724716907</c:v>
                </c:pt>
                <c:pt idx="1156" formatCode="0.0%">
                  <c:v>0.3800283079642327</c:v>
                </c:pt>
                <c:pt idx="1157" formatCode="0.0%">
                  <c:v>0.3800283079642327</c:v>
                </c:pt>
                <c:pt idx="1158" formatCode="0.0%">
                  <c:v>0.3800283079642327</c:v>
                </c:pt>
                <c:pt idx="1159" formatCode="0.0%">
                  <c:v>0.38113254844837996</c:v>
                </c:pt>
                <c:pt idx="1160" formatCode="0.0%">
                  <c:v>0.36699763169835192</c:v>
                </c:pt>
                <c:pt idx="1161" formatCode="0.0%">
                  <c:v>0.37152524573797818</c:v>
                </c:pt>
                <c:pt idx="1162" formatCode="0.0%">
                  <c:v>0.37870312816140739</c:v>
                </c:pt>
                <c:pt idx="1163" formatCode="0.0%">
                  <c:v>0.38411413458835114</c:v>
                </c:pt>
                <c:pt idx="1164" formatCode="0.0%">
                  <c:v>0.38411413458835114</c:v>
                </c:pt>
                <c:pt idx="1165" formatCode="0.0%">
                  <c:v>0.38411413458835114</c:v>
                </c:pt>
                <c:pt idx="1166" formatCode="0.0%">
                  <c:v>0.37108354954431944</c:v>
                </c:pt>
                <c:pt idx="1167" formatCode="0.0%">
                  <c:v>0.38698525106898302</c:v>
                </c:pt>
                <c:pt idx="1168" formatCode="0.0%">
                  <c:v>0.38610185868166552</c:v>
                </c:pt>
                <c:pt idx="1169" formatCode="0.0%">
                  <c:v>0.39051900306195253</c:v>
                </c:pt>
                <c:pt idx="1170" formatCode="0.0%">
                  <c:v>0.38289942444486458</c:v>
                </c:pt>
                <c:pt idx="1171" formatCode="0.0%">
                  <c:v>0.38289942444486458</c:v>
                </c:pt>
                <c:pt idx="1172" formatCode="0.0%">
                  <c:v>0.38289942444486458</c:v>
                </c:pt>
                <c:pt idx="1173" formatCode="0.0%">
                  <c:v>0.39151286510860955</c:v>
                </c:pt>
                <c:pt idx="1174" formatCode="0.0%">
                  <c:v>0.39361096763941389</c:v>
                </c:pt>
                <c:pt idx="1175" formatCode="0.0%">
                  <c:v>0.40167233367200966</c:v>
                </c:pt>
                <c:pt idx="1176" formatCode="0.0%">
                  <c:v>0.4229850416236175</c:v>
                </c:pt>
                <c:pt idx="1177" formatCode="0.0%">
                  <c:v>0.42121816562713266</c:v>
                </c:pt>
                <c:pt idx="1178" formatCode="0.0%">
                  <c:v>0.42121816562713266</c:v>
                </c:pt>
                <c:pt idx="1179" formatCode="0.0%">
                  <c:v>0.42121816562713266</c:v>
                </c:pt>
                <c:pt idx="1180" formatCode="0.0%">
                  <c:v>0.416248946615697</c:v>
                </c:pt>
                <c:pt idx="1181" formatCode="0.0%">
                  <c:v>0.41790535295284231</c:v>
                </c:pt>
                <c:pt idx="1182" formatCode="0.0%">
                  <c:v>0.41602800729701811</c:v>
                </c:pt>
                <c:pt idx="1183" formatCode="0.0%">
                  <c:v>0.4224328757706195</c:v>
                </c:pt>
                <c:pt idx="1184" formatCode="0.0%">
                  <c:v>0.4224328757706195</c:v>
                </c:pt>
                <c:pt idx="1185" formatCode="0.0%">
                  <c:v>0.4224328757706195</c:v>
                </c:pt>
                <c:pt idx="1186" formatCode="0.0%">
                  <c:v>0.42662917205407697</c:v>
                </c:pt>
                <c:pt idx="1187" formatCode="0.0%">
                  <c:v>0.42662917205407697</c:v>
                </c:pt>
                <c:pt idx="1188" formatCode="0.0%">
                  <c:v>0.41006492623892482</c:v>
                </c:pt>
                <c:pt idx="1189" formatCode="0.0%">
                  <c:v>0.41337773891321578</c:v>
                </c:pt>
                <c:pt idx="1190" formatCode="0.0%">
                  <c:v>0.41161086291673088</c:v>
                </c:pt>
                <c:pt idx="1191" formatCode="0.0%">
                  <c:v>0.40266619571866669</c:v>
                </c:pt>
                <c:pt idx="1192" formatCode="0.0%">
                  <c:v>0.40266619571866669</c:v>
                </c:pt>
                <c:pt idx="1193" formatCode="0.0%">
                  <c:v>0.40266619571866669</c:v>
                </c:pt>
                <c:pt idx="1194" formatCode="0.0%">
                  <c:v>0.4063103261491261</c:v>
                </c:pt>
                <c:pt idx="1195" formatCode="0.0%">
                  <c:v>0.3933901195425844</c:v>
                </c:pt>
                <c:pt idx="1196" formatCode="0.0%">
                  <c:v>0.40531646410246908</c:v>
                </c:pt>
                <c:pt idx="1197" formatCode="0.0%">
                  <c:v>0.40829805024244054</c:v>
                </c:pt>
                <c:pt idx="1198" formatCode="0.0%">
                  <c:v>0.41271519462272749</c:v>
                </c:pt>
                <c:pt idx="1199" formatCode="0.0%">
                  <c:v>0.41271519462272749</c:v>
                </c:pt>
                <c:pt idx="1200" formatCode="0.0%">
                  <c:v>0.41271519462272749</c:v>
                </c:pt>
                <c:pt idx="1201" formatCode="0.0%">
                  <c:v>0.41326736047572554</c:v>
                </c:pt>
                <c:pt idx="1202" formatCode="0.0%">
                  <c:v>0.38643317643783404</c:v>
                </c:pt>
                <c:pt idx="1203" formatCode="0.0%">
                  <c:v>0.38499752697566919</c:v>
                </c:pt>
                <c:pt idx="1204" formatCode="0.0%">
                  <c:v>0.38510799663500817</c:v>
                </c:pt>
                <c:pt idx="1205" formatCode="0.0%">
                  <c:v>0.37008968749766241</c:v>
                </c:pt>
                <c:pt idx="1206" formatCode="0.0%">
                  <c:v>0.37008968749766241</c:v>
                </c:pt>
                <c:pt idx="1207" formatCode="0.0%">
                  <c:v>0.37008968749766241</c:v>
                </c:pt>
                <c:pt idx="1208" formatCode="0.0%">
                  <c:v>0.37207741159097651</c:v>
                </c:pt>
                <c:pt idx="1209" formatCode="0.0%">
                  <c:v>0.38444545234452021</c:v>
                </c:pt>
                <c:pt idx="1210" formatCode="0.0%">
                  <c:v>0.38775826501881083</c:v>
                </c:pt>
                <c:pt idx="1211" formatCode="0.0%">
                  <c:v>0.36964799130400366</c:v>
                </c:pt>
                <c:pt idx="1212" formatCode="0.0%">
                  <c:v>0.40089931972218212</c:v>
                </c:pt>
                <c:pt idx="1213" formatCode="0.0%">
                  <c:v>0.40089931972218212</c:v>
                </c:pt>
                <c:pt idx="1214" formatCode="0.0%">
                  <c:v>0.40089931972218212</c:v>
                </c:pt>
                <c:pt idx="1215" formatCode="0.0%">
                  <c:v>0.40189318176883915</c:v>
                </c:pt>
                <c:pt idx="1216" formatCode="0.0%">
                  <c:v>0.38308715901044738</c:v>
                </c:pt>
                <c:pt idx="1217" formatCode="0.0%">
                  <c:v>0.38308715901044738</c:v>
                </c:pt>
                <c:pt idx="1218" formatCode="0.0%">
                  <c:v>0.3879791131156401</c:v>
                </c:pt>
                <c:pt idx="1219" formatCode="0.0%">
                  <c:v>0.39736556772921261</c:v>
                </c:pt>
                <c:pt idx="1220" formatCode="0.0%">
                  <c:v>0.39736556772921261</c:v>
                </c:pt>
                <c:pt idx="1221" formatCode="0.0%">
                  <c:v>0.39736556772921261</c:v>
                </c:pt>
                <c:pt idx="1222" formatCode="0.0%">
                  <c:v>0.41017530467641505</c:v>
                </c:pt>
                <c:pt idx="1223" formatCode="0.0%">
                  <c:v>0.41757403519667319</c:v>
                </c:pt>
                <c:pt idx="1224" formatCode="0.0%">
                  <c:v>0.42022430358047586</c:v>
                </c:pt>
                <c:pt idx="1225" formatCode="0.0%">
                  <c:v>0.42022430358047586</c:v>
                </c:pt>
                <c:pt idx="1226" formatCode="0.0%">
                  <c:v>0.42022430358047586</c:v>
                </c:pt>
                <c:pt idx="1227" formatCode="0.0%">
                  <c:v>0.42022430358047586</c:v>
                </c:pt>
                <c:pt idx="1228" formatCode="0.0%">
                  <c:v>0.42022430358047586</c:v>
                </c:pt>
                <c:pt idx="1229" formatCode="0.0%">
                  <c:v>0.42585624932609872</c:v>
                </c:pt>
                <c:pt idx="1230" formatCode="0.0%">
                  <c:v>0.42563531000741989</c:v>
                </c:pt>
                <c:pt idx="1231" formatCode="0.0%">
                  <c:v>0.43612609632698879</c:v>
                </c:pt>
                <c:pt idx="1232" formatCode="0.0%">
                  <c:v>0.44308313065358818</c:v>
                </c:pt>
                <c:pt idx="1233" formatCode="0.0%">
                  <c:v>0.43822419885779285</c:v>
                </c:pt>
                <c:pt idx="1234" formatCode="0.0%">
                  <c:v>0.43822419885779285</c:v>
                </c:pt>
                <c:pt idx="1235" formatCode="0.0%">
                  <c:v>0.43822419885779285</c:v>
                </c:pt>
                <c:pt idx="1236" formatCode="0.0%">
                  <c:v>0.43822419885779285</c:v>
                </c:pt>
                <c:pt idx="1237" formatCode="0.0%">
                  <c:v>0.44319350909107813</c:v>
                </c:pt>
                <c:pt idx="1238" formatCode="0.0%">
                  <c:v>0.44440821923456469</c:v>
                </c:pt>
                <c:pt idx="1239" formatCode="0.0%">
                  <c:v>0.44396652304090567</c:v>
                </c:pt>
                <c:pt idx="1240" formatCode="0.0%">
                  <c:v>0.44308313065358818</c:v>
                </c:pt>
                <c:pt idx="1241" formatCode="0.0%">
                  <c:v>0.44308313065358818</c:v>
                </c:pt>
                <c:pt idx="1242" formatCode="0.0%">
                  <c:v>0.44308313065358818</c:v>
                </c:pt>
                <c:pt idx="1243" formatCode="0.0%">
                  <c:v>0.44496038508756297</c:v>
                </c:pt>
                <c:pt idx="1244" formatCode="0.0%">
                  <c:v>0.44407699270024525</c:v>
                </c:pt>
                <c:pt idx="1245" formatCode="0.0%">
                  <c:v>0.44275181289741938</c:v>
                </c:pt>
                <c:pt idx="1246" formatCode="0.0%">
                  <c:v>0.43524261271782166</c:v>
                </c:pt>
                <c:pt idx="1247" formatCode="0.0%">
                  <c:v>0.4369101481205655</c:v>
                </c:pt>
                <c:pt idx="1248" formatCode="0.0%">
                  <c:v>0.4369101481205655</c:v>
                </c:pt>
                <c:pt idx="1249" formatCode="0.0%">
                  <c:v>0.4369101481205655</c:v>
                </c:pt>
                <c:pt idx="1250" formatCode="0.0%">
                  <c:v>0.43491138618350222</c:v>
                </c:pt>
                <c:pt idx="1251" formatCode="0.0%">
                  <c:v>0.42685011137275553</c:v>
                </c:pt>
                <c:pt idx="1252" formatCode="0.0%">
                  <c:v>0.42685011137275553</c:v>
                </c:pt>
                <c:pt idx="1253" formatCode="0.0%">
                  <c:v>0.45070270927067585</c:v>
                </c:pt>
                <c:pt idx="1254" formatCode="0.0%">
                  <c:v>0.45655541189127891</c:v>
                </c:pt>
                <c:pt idx="1255" formatCode="0.0%">
                  <c:v>0.45655541189127891</c:v>
                </c:pt>
                <c:pt idx="1256" formatCode="0.0%">
                  <c:v>0.45655541189127891</c:v>
                </c:pt>
                <c:pt idx="1257" formatCode="0.0%">
                  <c:v>0.46141425246522461</c:v>
                </c:pt>
                <c:pt idx="1258" formatCode="0.0%">
                  <c:v>0.46174557022139368</c:v>
                </c:pt>
                <c:pt idx="1259" formatCode="0.0%">
                  <c:v>0.46991731469147935</c:v>
                </c:pt>
                <c:pt idx="1260" formatCode="0.0%">
                  <c:v>0.46903383108231256</c:v>
                </c:pt>
                <c:pt idx="1261" formatCode="0.0%">
                  <c:v>0.47588039574957264</c:v>
                </c:pt>
                <c:pt idx="1262" formatCode="0.0%">
                  <c:v>0.47588039574957264</c:v>
                </c:pt>
                <c:pt idx="1263" formatCode="0.0%">
                  <c:v>0.47588039574957264</c:v>
                </c:pt>
                <c:pt idx="1264" formatCode="0.0%">
                  <c:v>0.47400314131559784</c:v>
                </c:pt>
                <c:pt idx="1265" formatCode="0.0%">
                  <c:v>0.48482515416948613</c:v>
                </c:pt>
                <c:pt idx="1266" formatCode="0.0%">
                  <c:v>0.48924229854977341</c:v>
                </c:pt>
                <c:pt idx="1267" formatCode="0.0%">
                  <c:v>0.4918925669335758</c:v>
                </c:pt>
                <c:pt idx="1268" formatCode="0.0%">
                  <c:v>0.48250620354185231</c:v>
                </c:pt>
                <c:pt idx="1269" formatCode="0.0%">
                  <c:v>0.48250620354185231</c:v>
                </c:pt>
                <c:pt idx="1270" formatCode="0.0%">
                  <c:v>0.48250620354185231</c:v>
                </c:pt>
                <c:pt idx="1271" formatCode="0.0%">
                  <c:v>0.47819943759905587</c:v>
                </c:pt>
                <c:pt idx="1272" formatCode="0.0%">
                  <c:v>0.48151234149519551</c:v>
                </c:pt>
                <c:pt idx="1273" formatCode="0.0%">
                  <c:v>0.48548769845997441</c:v>
                </c:pt>
                <c:pt idx="1274" formatCode="0.0%">
                  <c:v>0.48626071240980195</c:v>
                </c:pt>
                <c:pt idx="1275" formatCode="0.0%">
                  <c:v>0.49156134039925603</c:v>
                </c:pt>
                <c:pt idx="1276" formatCode="0.0%">
                  <c:v>0.49156134039925603</c:v>
                </c:pt>
                <c:pt idx="1277" formatCode="0.0%">
                  <c:v>0.47984480609245195</c:v>
                </c:pt>
                <c:pt idx="1278" formatCode="0.0%">
                  <c:v>0.4775368933085673</c:v>
                </c:pt>
                <c:pt idx="1279" formatCode="0.0%">
                  <c:v>0.47919329964571261</c:v>
                </c:pt>
                <c:pt idx="1280" formatCode="0.0%">
                  <c:v>0.48361044402599956</c:v>
                </c:pt>
                <c:pt idx="1281" formatCode="0.0%">
                  <c:v>0.49100917454625803</c:v>
                </c:pt>
                <c:pt idx="1282" formatCode="0.0%">
                  <c:v>0.48725457445645903</c:v>
                </c:pt>
                <c:pt idx="1283" formatCode="0.0%">
                  <c:v>0.48725457445645903</c:v>
                </c:pt>
                <c:pt idx="1284" formatCode="0.0%">
                  <c:v>0.48725457445645903</c:v>
                </c:pt>
                <c:pt idx="1285" formatCode="0.0%">
                  <c:v>0.49222388468974432</c:v>
                </c:pt>
                <c:pt idx="1286" formatCode="0.0%">
                  <c:v>0.49708272526369029</c:v>
                </c:pt>
                <c:pt idx="1287" formatCode="0.0%">
                  <c:v>0.49896007091951444</c:v>
                </c:pt>
                <c:pt idx="1288" formatCode="0.0%">
                  <c:v>0.49918091901634398</c:v>
                </c:pt>
                <c:pt idx="1289" formatCode="0.0%">
                  <c:v>0.50514409129628601</c:v>
                </c:pt>
                <c:pt idx="1290" formatCode="0.0%">
                  <c:v>0.50514409129628601</c:v>
                </c:pt>
                <c:pt idx="1291" formatCode="0.0%">
                  <c:v>0.50514409129628601</c:v>
                </c:pt>
                <c:pt idx="1292" formatCode="0.0%">
                  <c:v>0.50536493939311555</c:v>
                </c:pt>
                <c:pt idx="1293" formatCode="0.0%">
                  <c:v>0.51154895976988746</c:v>
                </c:pt>
                <c:pt idx="1294" formatCode="0.0%">
                  <c:v>0.48880060235611439</c:v>
                </c:pt>
                <c:pt idx="1295" formatCode="0.0%">
                  <c:v>0.48869013269677508</c:v>
                </c:pt>
                <c:pt idx="1296" formatCode="0.0%">
                  <c:v>0.47565954765274315</c:v>
                </c:pt>
                <c:pt idx="1297" formatCode="0.0%">
                  <c:v>0.47565954765274315</c:v>
                </c:pt>
                <c:pt idx="1298" formatCode="0.0%">
                  <c:v>0.47565954765274315</c:v>
                </c:pt>
                <c:pt idx="1299" formatCode="0.0%">
                  <c:v>0.48206441612634449</c:v>
                </c:pt>
                <c:pt idx="1300" formatCode="0.0%">
                  <c:v>0.49034663025576947</c:v>
                </c:pt>
                <c:pt idx="1301" formatCode="0.0%">
                  <c:v>0.47069032864130717</c:v>
                </c:pt>
                <c:pt idx="1302" formatCode="0.0%">
                  <c:v>0.45821181822842422</c:v>
                </c:pt>
                <c:pt idx="1303" formatCode="0.0%">
                  <c:v>0.46240811451188163</c:v>
                </c:pt>
                <c:pt idx="1304" formatCode="0.0%">
                  <c:v>0.46240811451188163</c:v>
                </c:pt>
                <c:pt idx="1305" formatCode="0.0%">
                  <c:v>0.46240811451188163</c:v>
                </c:pt>
                <c:pt idx="1306" formatCode="0.0%">
                  <c:v>0.47300927926894076</c:v>
                </c:pt>
                <c:pt idx="1307" formatCode="0.0%">
                  <c:v>0.4708007070787974</c:v>
                </c:pt>
                <c:pt idx="1308" formatCode="0.0%">
                  <c:v>0.48644844697538447</c:v>
                </c:pt>
                <c:pt idx="1309" formatCode="0.0%">
                  <c:v>0.47057985898196791</c:v>
                </c:pt>
                <c:pt idx="1310" formatCode="0.0%">
                  <c:v>0.40299742225298618</c:v>
                </c:pt>
                <c:pt idx="1311" formatCode="0.0%">
                  <c:v>0.40299742225298618</c:v>
                </c:pt>
                <c:pt idx="1312" formatCode="0.0%">
                  <c:v>0.40299742225298618</c:v>
                </c:pt>
                <c:pt idx="1313" formatCode="0.0%">
                  <c:v>0.36092408098091966</c:v>
                </c:pt>
                <c:pt idx="1314" formatCode="0.0%">
                  <c:v>0.38411413458835114</c:v>
                </c:pt>
                <c:pt idx="1315" formatCode="0.0%">
                  <c:v>0.39824905133837946</c:v>
                </c:pt>
                <c:pt idx="1316" formatCode="0.0%">
                  <c:v>0.39681340187621428</c:v>
                </c:pt>
                <c:pt idx="1317" formatCode="0.0%">
                  <c:v>0.40708334009895369</c:v>
                </c:pt>
                <c:pt idx="1318" formatCode="0.0%">
                  <c:v>0.40708334009895369</c:v>
                </c:pt>
                <c:pt idx="1319" formatCode="0.0%">
                  <c:v>0.40708334009895369</c:v>
                </c:pt>
                <c:pt idx="1320" formatCode="0.0%">
                  <c:v>0.41713233900301444</c:v>
                </c:pt>
                <c:pt idx="1321" formatCode="0.0%">
                  <c:v>0.42287466318612732</c:v>
                </c:pt>
                <c:pt idx="1322" formatCode="0.0%">
                  <c:v>0.42265381508929778</c:v>
                </c:pt>
                <c:pt idx="1323" formatCode="0.0%">
                  <c:v>0.449819225661509</c:v>
                </c:pt>
                <c:pt idx="1324" formatCode="0.0%">
                  <c:v>0.45688672964744742</c:v>
                </c:pt>
                <c:pt idx="1325" formatCode="0.0%">
                  <c:v>0.45688672964744742</c:v>
                </c:pt>
                <c:pt idx="1326" formatCode="0.0%">
                  <c:v>0.45688672964744742</c:v>
                </c:pt>
                <c:pt idx="1327" formatCode="0.0%">
                  <c:v>0.45754927393793593</c:v>
                </c:pt>
                <c:pt idx="1328" formatCode="0.0%">
                  <c:v>0.4569971080849376</c:v>
                </c:pt>
                <c:pt idx="1329" formatCode="0.0%">
                  <c:v>0.45799097013159468</c:v>
                </c:pt>
                <c:pt idx="1330" formatCode="0.0%">
                  <c:v>0.46351244621787802</c:v>
                </c:pt>
                <c:pt idx="1331" formatCode="0.0%">
                  <c:v>0.45545108018528252</c:v>
                </c:pt>
                <c:pt idx="1332" formatCode="0.0%">
                  <c:v>0.45545108018528252</c:v>
                </c:pt>
                <c:pt idx="1333" formatCode="0.0%">
                  <c:v>0.45545108018528252</c:v>
                </c:pt>
                <c:pt idx="1334" formatCode="0.0%">
                  <c:v>0.45876398408142249</c:v>
                </c:pt>
                <c:pt idx="1335" formatCode="0.0%">
                  <c:v>0.46262896260871117</c:v>
                </c:pt>
                <c:pt idx="1336" formatCode="0.0%">
                  <c:v>0.46428546016770583</c:v>
                </c:pt>
                <c:pt idx="1337" formatCode="0.0%">
                  <c:v>0.47654303126190994</c:v>
                </c:pt>
                <c:pt idx="1338" formatCode="0.0%">
                  <c:v>0.47323012736577025</c:v>
                </c:pt>
                <c:pt idx="1339" formatCode="0.0%">
                  <c:v>0.47960188230812462</c:v>
                </c:pt>
                <c:pt idx="1340" formatCode="0.0%">
                  <c:v>0.47960188230812462</c:v>
                </c:pt>
                <c:pt idx="1341" formatCode="0.0%">
                  <c:v>0.47886198188954354</c:v>
                </c:pt>
                <c:pt idx="1342" formatCode="0.0%">
                  <c:v>0.45633456379444937</c:v>
                </c:pt>
                <c:pt idx="1343" formatCode="0.0%">
                  <c:v>0.44032239261044626</c:v>
                </c:pt>
                <c:pt idx="1344" formatCode="0.0%">
                  <c:v>0.43756165456730456</c:v>
                </c:pt>
                <c:pt idx="1345" formatCode="0.0%">
                  <c:v>0.41326736047572554</c:v>
                </c:pt>
                <c:pt idx="1346" formatCode="0.0%">
                  <c:v>0.41326736047572554</c:v>
                </c:pt>
                <c:pt idx="1347" formatCode="0.0%">
                  <c:v>0.41326736047572554</c:v>
                </c:pt>
                <c:pt idx="1348" formatCode="0.0%">
                  <c:v>0.4230955112829568</c:v>
                </c:pt>
                <c:pt idx="1349" formatCode="0.0%">
                  <c:v>0.42718133790707496</c:v>
                </c:pt>
                <c:pt idx="1350" formatCode="0.0%">
                  <c:v>0.41967222894932688</c:v>
                </c:pt>
                <c:pt idx="1351" formatCode="0.0%">
                  <c:v>0.45600324603828085</c:v>
                </c:pt>
                <c:pt idx="1352" formatCode="0.0%">
                  <c:v>0.46561054874868263</c:v>
                </c:pt>
                <c:pt idx="1353" formatCode="0.0%">
                  <c:v>0.46561054874868263</c:v>
                </c:pt>
                <c:pt idx="1354" formatCode="0.0%">
                  <c:v>0.46561054874868263</c:v>
                </c:pt>
                <c:pt idx="1355" formatCode="0.0%">
                  <c:v>0.45799097013159468</c:v>
                </c:pt>
                <c:pt idx="1356" formatCode="0.0%">
                  <c:v>0.46781912093882594</c:v>
                </c:pt>
                <c:pt idx="1357" formatCode="0.0%">
                  <c:v>0.46053086007790711</c:v>
                </c:pt>
                <c:pt idx="1358" formatCode="0.0%">
                  <c:v>0.47875160345205386</c:v>
                </c:pt>
                <c:pt idx="1359" formatCode="0.0%">
                  <c:v>0.47179456912545448</c:v>
                </c:pt>
                <c:pt idx="1360" formatCode="0.0%">
                  <c:v>0.47179456912545448</c:v>
                </c:pt>
                <c:pt idx="1361" formatCode="0.0%">
                  <c:v>0.47179456912545448</c:v>
                </c:pt>
                <c:pt idx="1362" formatCode="0.0%">
                  <c:v>0.47941414774254182</c:v>
                </c:pt>
                <c:pt idx="1363" formatCode="0.0%">
                  <c:v>0.47853075535522438</c:v>
                </c:pt>
                <c:pt idx="1364" formatCode="0.0%">
                  <c:v>0.48327912626983105</c:v>
                </c:pt>
                <c:pt idx="1365" formatCode="0.0%">
                  <c:v>0.4904570086932597</c:v>
                </c:pt>
                <c:pt idx="1366" formatCode="0.0%">
                  <c:v>0.48990493406211072</c:v>
                </c:pt>
                <c:pt idx="1367" formatCode="0.0%">
                  <c:v>0.48990493406211072</c:v>
                </c:pt>
                <c:pt idx="1368" formatCode="0.0%">
                  <c:v>0.48990493406211072</c:v>
                </c:pt>
                <c:pt idx="1369" formatCode="0.0%">
                  <c:v>0.48984965362151656</c:v>
                </c:pt>
                <c:pt idx="1370" formatCode="0.0%">
                  <c:v>0.4843834579758271</c:v>
                </c:pt>
                <c:pt idx="1371" formatCode="0.0%">
                  <c:v>0.49399076068622916</c:v>
                </c:pt>
                <c:pt idx="1372" formatCode="0.0%">
                  <c:v>0.49200303659291478</c:v>
                </c:pt>
                <c:pt idx="1373" formatCode="0.0%">
                  <c:v>0.50127902154714798</c:v>
                </c:pt>
                <c:pt idx="1374" formatCode="0.0%">
                  <c:v>0.50127902154714798</c:v>
                </c:pt>
                <c:pt idx="1375" formatCode="0.0%">
                  <c:v>0.50127902154714798</c:v>
                </c:pt>
                <c:pt idx="1376" formatCode="0.0%">
                  <c:v>0.50381891149346014</c:v>
                </c:pt>
                <c:pt idx="1377" formatCode="0.0%">
                  <c:v>0.50381891149346014</c:v>
                </c:pt>
                <c:pt idx="1378" formatCode="0.0%">
                  <c:v>0.50735266348642971</c:v>
                </c:pt>
                <c:pt idx="1379" formatCode="0.0%">
                  <c:v>0.51519309020034687</c:v>
                </c:pt>
                <c:pt idx="1380" formatCode="0.0%">
                  <c:v>0.52413784862026036</c:v>
                </c:pt>
                <c:pt idx="1381" formatCode="0.0%">
                  <c:v>0.52413784862026036</c:v>
                </c:pt>
                <c:pt idx="1382" formatCode="0.0%">
                  <c:v>0.52413784862026036</c:v>
                </c:pt>
                <c:pt idx="1383" formatCode="0.0%">
                  <c:v>0.54092294253224171</c:v>
                </c:pt>
                <c:pt idx="1384" formatCode="0.0%">
                  <c:v>0.53893521843892789</c:v>
                </c:pt>
                <c:pt idx="1385" formatCode="0.0%">
                  <c:v>0.53794144761411988</c:v>
                </c:pt>
                <c:pt idx="1386" formatCode="0.0%">
                  <c:v>0.54754875032452166</c:v>
                </c:pt>
                <c:pt idx="1387" formatCode="0.0%">
                  <c:v>0.54445669452521117</c:v>
                </c:pt>
                <c:pt idx="1388" formatCode="0.0%">
                  <c:v>0.54445669452521117</c:v>
                </c:pt>
                <c:pt idx="1389" formatCode="0.0%">
                  <c:v>0.54445669452521117</c:v>
                </c:pt>
                <c:pt idx="1390" formatCode="0.0%">
                  <c:v>0.54169595648206947</c:v>
                </c:pt>
                <c:pt idx="1391" formatCode="0.0%">
                  <c:v>0.53827267414843927</c:v>
                </c:pt>
                <c:pt idx="1392" formatCode="0.0%">
                  <c:v>0.53738928176112155</c:v>
                </c:pt>
                <c:pt idx="1393" formatCode="0.0%">
                  <c:v>0.52457954481391911</c:v>
                </c:pt>
                <c:pt idx="1394" formatCode="0.0%">
                  <c:v>0.52700896510089223</c:v>
                </c:pt>
                <c:pt idx="1395" formatCode="0.0%">
                  <c:v>0.52700896510089223</c:v>
                </c:pt>
                <c:pt idx="1396" formatCode="0.0%">
                  <c:v>0.52700896510089223</c:v>
                </c:pt>
                <c:pt idx="1397" formatCode="0.0%">
                  <c:v>0.52513171066691766</c:v>
                </c:pt>
                <c:pt idx="1398" formatCode="0.0%">
                  <c:v>0.52789235748820995</c:v>
                </c:pt>
                <c:pt idx="1399" formatCode="0.0%">
                  <c:v>0.52104579282094987</c:v>
                </c:pt>
                <c:pt idx="1400" formatCode="0.0%">
                  <c:v>0.49303001217081915</c:v>
                </c:pt>
                <c:pt idx="1401" formatCode="0.0%">
                  <c:v>0.50845690397057697</c:v>
                </c:pt>
                <c:pt idx="1402" formatCode="0.0%">
                  <c:v>0.50845690397057697</c:v>
                </c:pt>
                <c:pt idx="1403" formatCode="0.0%">
                  <c:v>0.50845690397057697</c:v>
                </c:pt>
                <c:pt idx="1404" formatCode="0.0%">
                  <c:v>0.5068004976334316</c:v>
                </c:pt>
                <c:pt idx="1405" formatCode="0.0%">
                  <c:v>0.51287404835086392</c:v>
                </c:pt>
                <c:pt idx="1406" formatCode="0.0%">
                  <c:v>0.55053024524264371</c:v>
                </c:pt>
                <c:pt idx="1407" formatCode="0.0%">
                  <c:v>0.56510685818633111</c:v>
                </c:pt>
                <c:pt idx="1408" formatCode="0.0%">
                  <c:v>0.57305775455958752</c:v>
                </c:pt>
                <c:pt idx="1409" formatCode="0.0%">
                  <c:v>0.57305775455958752</c:v>
                </c:pt>
                <c:pt idx="1410" formatCode="0.0%">
                  <c:v>0.57305775455958752</c:v>
                </c:pt>
                <c:pt idx="1411" formatCode="0.0%">
                  <c:v>0.59050548398390645</c:v>
                </c:pt>
                <c:pt idx="1412" formatCode="0.0%">
                  <c:v>0.58365891931664604</c:v>
                </c:pt>
                <c:pt idx="1413" formatCode="0.0%">
                  <c:v>0.58156072556399263</c:v>
                </c:pt>
                <c:pt idx="1414" formatCode="0.0%">
                  <c:v>0.58553617375062117</c:v>
                </c:pt>
                <c:pt idx="1415" formatCode="0.0%">
                  <c:v>0.56234612014318885</c:v>
                </c:pt>
                <c:pt idx="1416" formatCode="0.0%">
                  <c:v>0.56234612014318885</c:v>
                </c:pt>
                <c:pt idx="1417" formatCode="0.0%">
                  <c:v>0.56234612014318885</c:v>
                </c:pt>
                <c:pt idx="1418" formatCode="0.0%">
                  <c:v>0.55693511371624482</c:v>
                </c:pt>
                <c:pt idx="1419" formatCode="0.0%">
                  <c:v>0.55384314913878341</c:v>
                </c:pt>
                <c:pt idx="1420" formatCode="0.0%">
                  <c:v>0.56267743789935765</c:v>
                </c:pt>
                <c:pt idx="1421" formatCode="0.0%">
                  <c:v>0.5675362784733039</c:v>
                </c:pt>
                <c:pt idx="1422" formatCode="0.0%">
                  <c:v>0.5942600840737049</c:v>
                </c:pt>
                <c:pt idx="1423" formatCode="0.0%">
                  <c:v>0.5942600840737049</c:v>
                </c:pt>
                <c:pt idx="1424" formatCode="0.0%">
                  <c:v>0.5942600840737049</c:v>
                </c:pt>
                <c:pt idx="1425" formatCode="0.0%">
                  <c:v>0.58807606369693299</c:v>
                </c:pt>
                <c:pt idx="1426" formatCode="0.0%">
                  <c:v>0.58796559403759374</c:v>
                </c:pt>
                <c:pt idx="1427" formatCode="0.0%">
                  <c:v>0.57780621669604326</c:v>
                </c:pt>
                <c:pt idx="1428" formatCode="0.0%">
                  <c:v>0.58244420917315975</c:v>
                </c:pt>
                <c:pt idx="1429" formatCode="0.0%">
                  <c:v>0.58829691179376253</c:v>
                </c:pt>
                <c:pt idx="1430" formatCode="0.0%">
                  <c:v>0.58918039540292966</c:v>
                </c:pt>
                <c:pt idx="1431" formatCode="0.0%">
                  <c:v>0.58918039540292966</c:v>
                </c:pt>
                <c:pt idx="1432" formatCode="0.0%">
                  <c:v>0.61093479954819629</c:v>
                </c:pt>
                <c:pt idx="1433" formatCode="0.0%">
                  <c:v>0.61027225525770801</c:v>
                </c:pt>
                <c:pt idx="1434" formatCode="0.0%">
                  <c:v>0.61711881992496809</c:v>
                </c:pt>
                <c:pt idx="1435" formatCode="0.0%">
                  <c:v>0.61789183387479596</c:v>
                </c:pt>
                <c:pt idx="1436" formatCode="0.0%">
                  <c:v>0.62076295035542783</c:v>
                </c:pt>
                <c:pt idx="1437" formatCode="0.0%">
                  <c:v>0.62076295035542783</c:v>
                </c:pt>
                <c:pt idx="1438" formatCode="0.0%">
                  <c:v>0.62076295035542783</c:v>
                </c:pt>
                <c:pt idx="1439" formatCode="0.0%">
                  <c:v>0.61115564764502606</c:v>
                </c:pt>
                <c:pt idx="1440" formatCode="0.0%">
                  <c:v>0.61855437816528425</c:v>
                </c:pt>
                <c:pt idx="1441" formatCode="0.0%">
                  <c:v>0.62529056439505415</c:v>
                </c:pt>
                <c:pt idx="1442" formatCode="0.0%">
                  <c:v>0.62893469482551356</c:v>
                </c:pt>
                <c:pt idx="1443" formatCode="0.0%">
                  <c:v>0.62065257191793766</c:v>
                </c:pt>
                <c:pt idx="1444" formatCode="0.0%">
                  <c:v>0.62065257191793766</c:v>
                </c:pt>
                <c:pt idx="1445" formatCode="0.0%">
                  <c:v>0.62065257191793766</c:v>
                </c:pt>
                <c:pt idx="1446" formatCode="0.0%">
                  <c:v>0.62363415805790856</c:v>
                </c:pt>
                <c:pt idx="1447" formatCode="0.0%">
                  <c:v>0.61513109583165426</c:v>
                </c:pt>
                <c:pt idx="1448" formatCode="0.0%">
                  <c:v>0.62506971629822461</c:v>
                </c:pt>
                <c:pt idx="1449" formatCode="0.0%">
                  <c:v>0.59679997402001728</c:v>
                </c:pt>
                <c:pt idx="1450" formatCode="0.0%">
                  <c:v>0.59602696007018974</c:v>
                </c:pt>
                <c:pt idx="1451" formatCode="0.0%">
                  <c:v>0.59602696007018974</c:v>
                </c:pt>
                <c:pt idx="1452" formatCode="0.0%">
                  <c:v>0.59602696007018974</c:v>
                </c:pt>
                <c:pt idx="1453" formatCode="0.0%">
                  <c:v>0.59679997402001728</c:v>
                </c:pt>
                <c:pt idx="1454" formatCode="0.0%">
                  <c:v>0.59679997402001728</c:v>
                </c:pt>
                <c:pt idx="1455" formatCode="0.0%">
                  <c:v>0.59679997402001728</c:v>
                </c:pt>
                <c:pt idx="1456" formatCode="0.0%">
                  <c:v>0.59679997402001728</c:v>
                </c:pt>
                <c:pt idx="1457" formatCode="0.0%">
                  <c:v>0.60210051078762206</c:v>
                </c:pt>
                <c:pt idx="1458" formatCode="0.0%">
                  <c:v>0.60210051078762206</c:v>
                </c:pt>
                <c:pt idx="1459" formatCode="0.0%">
                  <c:v>0.60210051078762206</c:v>
                </c:pt>
                <c:pt idx="1460" formatCode="0.0%">
                  <c:v>0.59646865626384848</c:v>
                </c:pt>
                <c:pt idx="1461" formatCode="0.0%">
                  <c:v>0.5987103419852392</c:v>
                </c:pt>
                <c:pt idx="1462" formatCode="0.0%">
                  <c:v>0.5987103419852392</c:v>
                </c:pt>
                <c:pt idx="1463" formatCode="0.0%">
                  <c:v>0.61667712373130934</c:v>
                </c:pt>
                <c:pt idx="1464" formatCode="0.0%">
                  <c:v>0.61932739211511179</c:v>
                </c:pt>
                <c:pt idx="1465" formatCode="0.0%">
                  <c:v>0.61932739211511179</c:v>
                </c:pt>
                <c:pt idx="1466" formatCode="0.0%">
                  <c:v>0.61932739211511179</c:v>
                </c:pt>
                <c:pt idx="1467" formatCode="0.0%">
                  <c:v>0.62992855687217031</c:v>
                </c:pt>
                <c:pt idx="1468" formatCode="0.0%">
                  <c:v>0.6210942681115964</c:v>
                </c:pt>
                <c:pt idx="1469" formatCode="0.0%">
                  <c:v>0.62219850859574366</c:v>
                </c:pt>
                <c:pt idx="1470" formatCode="0.0%">
                  <c:v>0.62241944791442227</c:v>
                </c:pt>
                <c:pt idx="1471" formatCode="0.0%">
                  <c:v>0.6121495096916828</c:v>
                </c:pt>
                <c:pt idx="1472" formatCode="0.0%">
                  <c:v>0.6121495096916828</c:v>
                </c:pt>
                <c:pt idx="1473" formatCode="0.0%">
                  <c:v>0.6121495096916828</c:v>
                </c:pt>
                <c:pt idx="1474" formatCode="0.0%">
                  <c:v>0.60541341468376231</c:v>
                </c:pt>
                <c:pt idx="1475" formatCode="0.0%">
                  <c:v>0.60541341468376231</c:v>
                </c:pt>
                <c:pt idx="1476" formatCode="0.0%">
                  <c:v>0.62429670234839707</c:v>
                </c:pt>
                <c:pt idx="1477" formatCode="0.0%">
                  <c:v>0.63092241891882794</c:v>
                </c:pt>
                <c:pt idx="1478" formatCode="0.0%">
                  <c:v>0.64218612796637498</c:v>
                </c:pt>
                <c:pt idx="1479" formatCode="0.0%">
                  <c:v>0.64218612796637498</c:v>
                </c:pt>
                <c:pt idx="1480" formatCode="0.0%">
                  <c:v>0.64218612796637498</c:v>
                </c:pt>
                <c:pt idx="1481" formatCode="0.0%">
                  <c:v>0.6340143834962888</c:v>
                </c:pt>
                <c:pt idx="1482" formatCode="0.0%">
                  <c:v>0.63346230886513977</c:v>
                </c:pt>
                <c:pt idx="1483" formatCode="0.0%">
                  <c:v>0.64450516981585759</c:v>
                </c:pt>
                <c:pt idx="1484" formatCode="0.0%">
                  <c:v>0.64936401038980363</c:v>
                </c:pt>
                <c:pt idx="1485" formatCode="0.0%">
                  <c:v>0.63798983168291701</c:v>
                </c:pt>
                <c:pt idx="1486" formatCode="0.0%">
                  <c:v>0.63798983168291701</c:v>
                </c:pt>
                <c:pt idx="1487" formatCode="0.0%">
                  <c:v>0.63798983168291701</c:v>
                </c:pt>
                <c:pt idx="1488" formatCode="0.0%">
                  <c:v>0.61380600725067747</c:v>
                </c:pt>
                <c:pt idx="1489" formatCode="0.0%">
                  <c:v>0.63136411511248636</c:v>
                </c:pt>
                <c:pt idx="1490" formatCode="0.0%">
                  <c:v>0.63909416338891356</c:v>
                </c:pt>
                <c:pt idx="1491" formatCode="0.0%">
                  <c:v>0.64052972162922972</c:v>
                </c:pt>
                <c:pt idx="1492" formatCode="0.0%">
                  <c:v>0.64405243577844973</c:v>
                </c:pt>
                <c:pt idx="1493" formatCode="0.0%">
                  <c:v>0.64405243577844973</c:v>
                </c:pt>
                <c:pt idx="1494" formatCode="0.0%">
                  <c:v>0.64405243577844973</c:v>
                </c:pt>
                <c:pt idx="1495" formatCode="0.0%">
                  <c:v>0.64251744572254355</c:v>
                </c:pt>
                <c:pt idx="1496" formatCode="0.0%">
                  <c:v>0.64075056972605859</c:v>
                </c:pt>
                <c:pt idx="1497" formatCode="0.0%">
                  <c:v>0.64227589026595355</c:v>
                </c:pt>
                <c:pt idx="1498" formatCode="0.0%">
                  <c:v>0.66579151465305697</c:v>
                </c:pt>
                <c:pt idx="1499" formatCode="0.0%">
                  <c:v>0.65740211485086208</c:v>
                </c:pt>
                <c:pt idx="1500" formatCode="0.0%">
                  <c:v>0.65740211485086208</c:v>
                </c:pt>
                <c:pt idx="1501" formatCode="0.0%">
                  <c:v>0.65740211485086208</c:v>
                </c:pt>
                <c:pt idx="1502" formatCode="0.0%">
                  <c:v>0.67545190847967318</c:v>
                </c:pt>
                <c:pt idx="1503" formatCode="0.0%">
                  <c:v>0.67354528061026686</c:v>
                </c:pt>
                <c:pt idx="1504" formatCode="0.0%">
                  <c:v>0.6614696971051478</c:v>
                </c:pt>
                <c:pt idx="1505" formatCode="0.0%">
                  <c:v>0.65880036335486947</c:v>
                </c:pt>
                <c:pt idx="1506" formatCode="0.0%">
                  <c:v>0.65816482073173432</c:v>
                </c:pt>
                <c:pt idx="1507" formatCode="0.0%">
                  <c:v>0.65816482073173432</c:v>
                </c:pt>
                <c:pt idx="1508" formatCode="0.0%">
                  <c:v>0.65816482073173432</c:v>
                </c:pt>
                <c:pt idx="1509" formatCode="0.0%">
                  <c:v>0.66477457347856106</c:v>
                </c:pt>
                <c:pt idx="1510" formatCode="0.0%">
                  <c:v>0.67049454830862831</c:v>
                </c:pt>
                <c:pt idx="1511" formatCode="0.0%">
                  <c:v>0.67087594685998908</c:v>
                </c:pt>
                <c:pt idx="1512" formatCode="0.0%">
                  <c:v>0.66070699122427556</c:v>
                </c:pt>
                <c:pt idx="1513" formatCode="0.0%">
                  <c:v>0.66261371031553074</c:v>
                </c:pt>
                <c:pt idx="1514" formatCode="0.0%">
                  <c:v>0.66261371031553074</c:v>
                </c:pt>
                <c:pt idx="1515" formatCode="0.0%">
                  <c:v>0.66261371031553074</c:v>
                </c:pt>
                <c:pt idx="1516" formatCode="0.0%">
                  <c:v>0.64316566818271292</c:v>
                </c:pt>
                <c:pt idx="1517" formatCode="0.0%">
                  <c:v>0.63147148322895419</c:v>
                </c:pt>
                <c:pt idx="1518" formatCode="0.0%">
                  <c:v>0.64952127685776506</c:v>
                </c:pt>
                <c:pt idx="1519" formatCode="0.0%">
                  <c:v>0.64837726364738157</c:v>
                </c:pt>
                <c:pt idx="1520" formatCode="0.0%">
                  <c:v>0.63980998123931443</c:v>
                </c:pt>
                <c:pt idx="1521" formatCode="0.0%">
                  <c:v>0.63980998123931443</c:v>
                </c:pt>
                <c:pt idx="1522" formatCode="0.0%">
                  <c:v>0.63980998123931443</c:v>
                </c:pt>
                <c:pt idx="1523" formatCode="0.0%">
                  <c:v>0.63147148322895419</c:v>
                </c:pt>
                <c:pt idx="1524" formatCode="0.0%">
                  <c:v>0.57846611555290561</c:v>
                </c:pt>
                <c:pt idx="1525" formatCode="0.0%">
                  <c:v>0.56384836155524487</c:v>
                </c:pt>
                <c:pt idx="1526" formatCode="0.0%">
                  <c:v>0.56079772047545562</c:v>
                </c:pt>
                <c:pt idx="1527" formatCode="0.0%">
                  <c:v>0.53842610929873558</c:v>
                </c:pt>
                <c:pt idx="1528" formatCode="0.0%">
                  <c:v>0.53842610929873558</c:v>
                </c:pt>
                <c:pt idx="1529" formatCode="0.0%">
                  <c:v>0.53842610929873558</c:v>
                </c:pt>
                <c:pt idx="1530" formatCode="0.0%">
                  <c:v>0.53003680071839054</c:v>
                </c:pt>
                <c:pt idx="1531" formatCode="0.0%">
                  <c:v>0.50537725434275305</c:v>
                </c:pt>
                <c:pt idx="1532" formatCode="0.0%">
                  <c:v>0.50639410429539966</c:v>
                </c:pt>
                <c:pt idx="1533" formatCode="0.0%">
                  <c:v>0.49914880892543778</c:v>
                </c:pt>
                <c:pt idx="1534" formatCode="0.0%">
                  <c:v>0.52139325684442095</c:v>
                </c:pt>
                <c:pt idx="1535" formatCode="0.0%">
                  <c:v>0.52139325684442095</c:v>
                </c:pt>
                <c:pt idx="1536" formatCode="0.0%">
                  <c:v>0.52139325684442095</c:v>
                </c:pt>
                <c:pt idx="1537" formatCode="0.0%">
                  <c:v>0.52355412000745105</c:v>
                </c:pt>
                <c:pt idx="1538" formatCode="0.0%">
                  <c:v>0.51630873341563988</c:v>
                </c:pt>
                <c:pt idx="1539" formatCode="0.0%">
                  <c:v>0.53728209608835242</c:v>
                </c:pt>
                <c:pt idx="1540" formatCode="0.0%">
                  <c:v>0.54935767959347148</c:v>
                </c:pt>
                <c:pt idx="1541" formatCode="0.0%">
                  <c:v>0.53550254025483357</c:v>
                </c:pt>
                <c:pt idx="1542" formatCode="0.0%">
                  <c:v>0.53550254025483357</c:v>
                </c:pt>
                <c:pt idx="1543" formatCode="0.0%">
                  <c:v>0.53550254025483357</c:v>
                </c:pt>
                <c:pt idx="1544" formatCode="0.0%">
                  <c:v>0.5658821526823874</c:v>
                </c:pt>
                <c:pt idx="1545" formatCode="0.0%">
                  <c:v>0.57096658488931984</c:v>
                </c:pt>
                <c:pt idx="1546" formatCode="0.0%">
                  <c:v>0.5661363879760114</c:v>
                </c:pt>
                <c:pt idx="1547" formatCode="0.0%">
                  <c:v>0.55558612501078697</c:v>
                </c:pt>
                <c:pt idx="1548" formatCode="0.0%">
                  <c:v>0.5330874417981798</c:v>
                </c:pt>
                <c:pt idx="1549" formatCode="0.0%">
                  <c:v>0.5330874417981798</c:v>
                </c:pt>
                <c:pt idx="1550" formatCode="0.0%">
                  <c:v>0.5330874417981798</c:v>
                </c:pt>
                <c:pt idx="1551" formatCode="0.0%">
                  <c:v>0.52919783337161619</c:v>
                </c:pt>
                <c:pt idx="1552" formatCode="0.0%">
                  <c:v>0.53385014767905148</c:v>
                </c:pt>
                <c:pt idx="1553" formatCode="0.0%">
                  <c:v>0.53346874912769093</c:v>
                </c:pt>
                <c:pt idx="1554" formatCode="0.0%">
                  <c:v>0.45453274982973452</c:v>
                </c:pt>
                <c:pt idx="1555" formatCode="0.0%">
                  <c:v>0.39949368224839249</c:v>
                </c:pt>
                <c:pt idx="1556" formatCode="0.0%">
                  <c:v>0.39949368224839249</c:v>
                </c:pt>
                <c:pt idx="1557" formatCode="0.0%">
                  <c:v>0.39949368224839249</c:v>
                </c:pt>
                <c:pt idx="1558" formatCode="0.0%">
                  <c:v>0.36898699778495114</c:v>
                </c:pt>
                <c:pt idx="1559" formatCode="0.0%">
                  <c:v>0.41144210249577495</c:v>
                </c:pt>
                <c:pt idx="1560" formatCode="0.0%">
                  <c:v>0.3372092280752389</c:v>
                </c:pt>
                <c:pt idx="1561" formatCode="0.0%">
                  <c:v>0.40686604965424178</c:v>
                </c:pt>
                <c:pt idx="1562" formatCode="0.0%">
                  <c:v>0.38716386344964915</c:v>
                </c:pt>
                <c:pt idx="1563" formatCode="0.0%">
                  <c:v>0.38716386344964915</c:v>
                </c:pt>
                <c:pt idx="1564" formatCode="0.0%">
                  <c:v>0.38716386344964915</c:v>
                </c:pt>
                <c:pt idx="1565" formatCode="0.0%">
                  <c:v>0.42656832708068376</c:v>
                </c:pt>
                <c:pt idx="1566" formatCode="0.0%">
                  <c:v>0.43012743874772125</c:v>
                </c:pt>
                <c:pt idx="1567" formatCode="0.0%">
                  <c:v>0.40826429815824922</c:v>
                </c:pt>
                <c:pt idx="1568" formatCode="0.0%">
                  <c:v>0.40826429815824922</c:v>
                </c:pt>
                <c:pt idx="1569" formatCode="0.0%">
                  <c:v>0.40826429815824922</c:v>
                </c:pt>
                <c:pt idx="1570" formatCode="0.0%">
                  <c:v>0.40826429815824922</c:v>
                </c:pt>
                <c:pt idx="1571" formatCode="0.0%">
                  <c:v>0.40826429815824922</c:v>
                </c:pt>
                <c:pt idx="1572" formatCode="0.0%">
                  <c:v>0.40826429815824922</c:v>
                </c:pt>
                <c:pt idx="1573" formatCode="0.0%">
                  <c:v>0.38996026923581439</c:v>
                </c:pt>
                <c:pt idx="1574" formatCode="0.0%">
                  <c:v>0.44245716632461496</c:v>
                </c:pt>
                <c:pt idx="1575" formatCode="0.0%">
                  <c:v>0.44055053845520914</c:v>
                </c:pt>
                <c:pt idx="1576" formatCode="0.0%">
                  <c:v>0.44779583382517102</c:v>
                </c:pt>
                <c:pt idx="1577" formatCode="0.0%">
                  <c:v>0.44779583382517102</c:v>
                </c:pt>
                <c:pt idx="1578" formatCode="0.0%">
                  <c:v>0.44779583382517102</c:v>
                </c:pt>
                <c:pt idx="1579" formatCode="0.0%">
                  <c:v>0.45783762620314777</c:v>
                </c:pt>
                <c:pt idx="1580" formatCode="0.0%">
                  <c:v>0.46279498637419236</c:v>
                </c:pt>
                <c:pt idx="1581" formatCode="0.0%">
                  <c:v>0.4730401122539587</c:v>
                </c:pt>
                <c:pt idx="1582" formatCode="0.0%">
                  <c:v>0.4730401122539587</c:v>
                </c:pt>
                <c:pt idx="1583" formatCode="0.0%">
                  <c:v>0.49635231191742318</c:v>
                </c:pt>
                <c:pt idx="1584" formatCode="0.0%">
                  <c:v>0.49635231191742318</c:v>
                </c:pt>
                <c:pt idx="1585" formatCode="0.0%">
                  <c:v>0.49635231191742318</c:v>
                </c:pt>
                <c:pt idx="1586" formatCode="0.0%">
                  <c:v>0.50652117633128713</c:v>
                </c:pt>
                <c:pt idx="1587" formatCode="0.0%">
                  <c:v>0.49775056042143034</c:v>
                </c:pt>
                <c:pt idx="1588" formatCode="0.0%">
                  <c:v>0.49584384133017523</c:v>
                </c:pt>
                <c:pt idx="1589" formatCode="0.0%">
                  <c:v>0.50702964691853514</c:v>
                </c:pt>
                <c:pt idx="1590" formatCode="0.0%">
                  <c:v>0.51923230245954155</c:v>
                </c:pt>
                <c:pt idx="1591" formatCode="0.0%">
                  <c:v>0.51923230245954155</c:v>
                </c:pt>
                <c:pt idx="1592" formatCode="0.0%">
                  <c:v>0.51923230245954155</c:v>
                </c:pt>
                <c:pt idx="1593" formatCode="0.0%">
                  <c:v>0.56130609984085422</c:v>
                </c:pt>
                <c:pt idx="1594" formatCode="0.0%">
                  <c:v>0.56359412626162109</c:v>
                </c:pt>
                <c:pt idx="1595" formatCode="0.0%">
                  <c:v>0.57096658488931984</c:v>
                </c:pt>
                <c:pt idx="1596" formatCode="0.0%">
                  <c:v>0.57516123917949213</c:v>
                </c:pt>
                <c:pt idx="1597" formatCode="0.0%">
                  <c:v>0.58952475788352932</c:v>
                </c:pt>
                <c:pt idx="1598" formatCode="0.0%">
                  <c:v>0.58952475788352932</c:v>
                </c:pt>
                <c:pt idx="1599" formatCode="0.0%">
                  <c:v>0.58952475788352932</c:v>
                </c:pt>
                <c:pt idx="1600" formatCode="0.0%">
                  <c:v>0.58215239047767964</c:v>
                </c:pt>
                <c:pt idx="1601" formatCode="0.0%">
                  <c:v>0.58977899317715299</c:v>
                </c:pt>
                <c:pt idx="1602" formatCode="0.0%">
                  <c:v>0.57783057292977025</c:v>
                </c:pt>
                <c:pt idx="1603" formatCode="0.0%">
                  <c:v>0.57007680697256002</c:v>
                </c:pt>
                <c:pt idx="1604" formatCode="0.0%">
                  <c:v>0.55215408537963695</c:v>
                </c:pt>
                <c:pt idx="1605" formatCode="0.0%">
                  <c:v>0.55215408537963695</c:v>
                </c:pt>
                <c:pt idx="1606" formatCode="0.0%">
                  <c:v>0.55215408537963695</c:v>
                </c:pt>
                <c:pt idx="1607" formatCode="0.0%">
                  <c:v>0.56206880572172624</c:v>
                </c:pt>
                <c:pt idx="1608" formatCode="0.0%">
                  <c:v>0.57363591863959751</c:v>
                </c:pt>
                <c:pt idx="1609" formatCode="0.0%">
                  <c:v>0.57795764496565794</c:v>
                </c:pt>
                <c:pt idx="1610" formatCode="0.0%">
                  <c:v>0.57795764496565794</c:v>
                </c:pt>
                <c:pt idx="1611" formatCode="0.0%">
                  <c:v>0.57795764496565794</c:v>
                </c:pt>
                <c:pt idx="1612" formatCode="0.0%">
                  <c:v>0.57375031083845096</c:v>
                </c:pt>
                <c:pt idx="1613" formatCode="0.0%">
                  <c:v>0.57375031083845096</c:v>
                </c:pt>
                <c:pt idx="1614" formatCode="0.0%">
                  <c:v>0.56410259684886876</c:v>
                </c:pt>
                <c:pt idx="1615" formatCode="0.0%">
                  <c:v>0.57973720079917623</c:v>
                </c:pt>
                <c:pt idx="1616" formatCode="0.0%">
                  <c:v>0.58456748893433375</c:v>
                </c:pt>
                <c:pt idx="1617" formatCode="0.0%">
                  <c:v>0.58456748893433375</c:v>
                </c:pt>
                <c:pt idx="1618" formatCode="0.0%">
                  <c:v>0.59588036655858101</c:v>
                </c:pt>
                <c:pt idx="1619" formatCode="0.0%">
                  <c:v>0.59588036655858101</c:v>
                </c:pt>
                <c:pt idx="1620" formatCode="0.0%">
                  <c:v>0.59588036655858101</c:v>
                </c:pt>
                <c:pt idx="1621" formatCode="0.0%">
                  <c:v>0.59588036655858101</c:v>
                </c:pt>
                <c:pt idx="1622" formatCode="0.0%">
                  <c:v>0.59016039172851353</c:v>
                </c:pt>
                <c:pt idx="1623" formatCode="0.0%">
                  <c:v>0.590287463764401</c:v>
                </c:pt>
                <c:pt idx="1624" formatCode="0.0%">
                  <c:v>0.57350875538186097</c:v>
                </c:pt>
                <c:pt idx="1625" formatCode="0.0%">
                  <c:v>0.56511944680151549</c:v>
                </c:pt>
                <c:pt idx="1626" formatCode="0.0%">
                  <c:v>0.56511944680151549</c:v>
                </c:pt>
                <c:pt idx="1627" formatCode="0.0%">
                  <c:v>0.56511944680151549</c:v>
                </c:pt>
                <c:pt idx="1628" formatCode="0.0%">
                  <c:v>0.57261897746510182</c:v>
                </c:pt>
                <c:pt idx="1629" formatCode="0.0%">
                  <c:v>0.57376299067548475</c:v>
                </c:pt>
                <c:pt idx="1630" formatCode="0.0%">
                  <c:v>0.57732210234252224</c:v>
                </c:pt>
                <c:pt idx="1631" formatCode="0.0%">
                  <c:v>0.56283142038074885</c:v>
                </c:pt>
                <c:pt idx="1632" formatCode="0.0%">
                  <c:v>0.56817008788130496</c:v>
                </c:pt>
                <c:pt idx="1633" formatCode="0.0%">
                  <c:v>0.56817008788130496</c:v>
                </c:pt>
                <c:pt idx="1634" formatCode="0.0%">
                  <c:v>0.56817008788130496</c:v>
                </c:pt>
                <c:pt idx="1635" formatCode="0.0%">
                  <c:v>0.56168749839221477</c:v>
                </c:pt>
                <c:pt idx="1636" formatCode="0.0%">
                  <c:v>0.57236483339332689</c:v>
                </c:pt>
                <c:pt idx="1637" formatCode="0.0%">
                  <c:v>0.57579678180262761</c:v>
                </c:pt>
                <c:pt idx="1638" formatCode="0.0%">
                  <c:v>0.57134789221883098</c:v>
                </c:pt>
                <c:pt idx="1639" formatCode="0.0%">
                  <c:v>0.58177099192631887</c:v>
                </c:pt>
                <c:pt idx="1640" formatCode="0.0%">
                  <c:v>0.58177099192631887</c:v>
                </c:pt>
                <c:pt idx="1641" formatCode="0.0%">
                  <c:v>0.58177099192631887</c:v>
                </c:pt>
                <c:pt idx="1642" formatCode="0.0%">
                  <c:v>0.58605467874127692</c:v>
                </c:pt>
                <c:pt idx="1643" formatCode="0.0%">
                  <c:v>0.57757633763614646</c:v>
                </c:pt>
                <c:pt idx="1644" formatCode="0.0%">
                  <c:v>0.58215239047767964</c:v>
                </c:pt>
                <c:pt idx="1645" formatCode="0.0%">
                  <c:v>0.59791415768572365</c:v>
                </c:pt>
                <c:pt idx="1646" formatCode="0.0%">
                  <c:v>0.58723682268461175</c:v>
                </c:pt>
                <c:pt idx="1647" formatCode="0.0%">
                  <c:v>0.58723682268461175</c:v>
                </c:pt>
                <c:pt idx="1648" formatCode="0.0%">
                  <c:v>0.58723682268461175</c:v>
                </c:pt>
                <c:pt idx="1649" formatCode="0.0%">
                  <c:v>0.592956797514679</c:v>
                </c:pt>
                <c:pt idx="1650" formatCode="0.0%">
                  <c:v>0.59333810484419047</c:v>
                </c:pt>
                <c:pt idx="1651" formatCode="0.0%">
                  <c:v>0.59600743859446825</c:v>
                </c:pt>
                <c:pt idx="1652" formatCode="0.0%">
                  <c:v>0.60287142663491922</c:v>
                </c:pt>
                <c:pt idx="1653" formatCode="0.0%">
                  <c:v>0.59524482393544564</c:v>
                </c:pt>
                <c:pt idx="1654" formatCode="0.0%">
                  <c:v>0.59524482393544564</c:v>
                </c:pt>
                <c:pt idx="1655" formatCode="0.0%">
                  <c:v>0.59524482393544564</c:v>
                </c:pt>
                <c:pt idx="1656" formatCode="0.0%">
                  <c:v>0.59715145180485141</c:v>
                </c:pt>
                <c:pt idx="1657" formatCode="0.0%">
                  <c:v>0.60693900888920438</c:v>
                </c:pt>
                <c:pt idx="1658" formatCode="0.0%">
                  <c:v>0.60528661631342229</c:v>
                </c:pt>
                <c:pt idx="1659" formatCode="0.0%">
                  <c:v>0.61151506173073755</c:v>
                </c:pt>
                <c:pt idx="1660" formatCode="0.0%">
                  <c:v>0.60998964996899363</c:v>
                </c:pt>
                <c:pt idx="1661" formatCode="0.0%">
                  <c:v>0.60998964996899363</c:v>
                </c:pt>
                <c:pt idx="1662" formatCode="0.0%">
                  <c:v>0.60998964996899363</c:v>
                </c:pt>
                <c:pt idx="1663" formatCode="0.0%">
                  <c:v>0.61126082643711355</c:v>
                </c:pt>
                <c:pt idx="1664" formatCode="0.0%">
                  <c:v>0.6017275046463848</c:v>
                </c:pt>
                <c:pt idx="1665" formatCode="0.0%">
                  <c:v>0.61443853955279026</c:v>
                </c:pt>
                <c:pt idx="1666" formatCode="0.0%">
                  <c:v>0.61621809538630912</c:v>
                </c:pt>
                <c:pt idx="1667" formatCode="0.0%">
                  <c:v>0.62003144234697005</c:v>
                </c:pt>
                <c:pt idx="1668" formatCode="0.0%">
                  <c:v>0.62003144234697005</c:v>
                </c:pt>
                <c:pt idx="1669" formatCode="0.0%">
                  <c:v>0.62003144234697005</c:v>
                </c:pt>
                <c:pt idx="1670" formatCode="0.0%">
                  <c:v>0.63210702585208967</c:v>
                </c:pt>
                <c:pt idx="1671" formatCode="0.0%">
                  <c:v>0.64481815198034409</c:v>
                </c:pt>
                <c:pt idx="1672" formatCode="0.0%">
                  <c:v>0.65549548698145632</c:v>
                </c:pt>
                <c:pt idx="1673" formatCode="0.0%">
                  <c:v>0.65316932982773868</c:v>
                </c:pt>
                <c:pt idx="1674" formatCode="0.0%">
                  <c:v>0.64303859614682546</c:v>
                </c:pt>
                <c:pt idx="1675" formatCode="0.0%">
                  <c:v>0.64303859614682546</c:v>
                </c:pt>
                <c:pt idx="1676" formatCode="0.0%">
                  <c:v>0.64303859614682546</c:v>
                </c:pt>
                <c:pt idx="1677" formatCode="0.0%">
                  <c:v>0.63719145805902178</c:v>
                </c:pt>
                <c:pt idx="1678" formatCode="0.0%">
                  <c:v>0.63795416393989368</c:v>
                </c:pt>
                <c:pt idx="1679" formatCode="0.0%">
                  <c:v>0.63477635960236745</c:v>
                </c:pt>
                <c:pt idx="1680" formatCode="0.0%">
                  <c:v>0.64812302835375757</c:v>
                </c:pt>
                <c:pt idx="1681" formatCode="0.0%">
                  <c:v>0.65066529006814822</c:v>
                </c:pt>
                <c:pt idx="1682" formatCode="0.0%">
                  <c:v>0.65066529006814822</c:v>
                </c:pt>
                <c:pt idx="1683" formatCode="0.0%">
                  <c:v>0.65066529006814822</c:v>
                </c:pt>
                <c:pt idx="1684" formatCode="0.0%">
                  <c:v>0.658419056025358</c:v>
                </c:pt>
                <c:pt idx="1685" formatCode="0.0%">
                  <c:v>0.65829189276762146</c:v>
                </c:pt>
                <c:pt idx="1686" formatCode="0.0%">
                  <c:v>0.6632492529386661</c:v>
                </c:pt>
                <c:pt idx="1687" formatCode="0.0%">
                  <c:v>0.67227410414214683</c:v>
                </c:pt>
                <c:pt idx="1688" formatCode="0.0%">
                  <c:v>0.65969014127162862</c:v>
                </c:pt>
                <c:pt idx="1689" formatCode="0.0%">
                  <c:v>0.65969014127162862</c:v>
                </c:pt>
                <c:pt idx="1690" formatCode="0.0%">
                  <c:v>0.65969014127162862</c:v>
                </c:pt>
                <c:pt idx="1691" formatCode="0.0%">
                  <c:v>0.66363056026817757</c:v>
                </c:pt>
                <c:pt idx="1692" formatCode="0.0%">
                  <c:v>0.66159676914103505</c:v>
                </c:pt>
                <c:pt idx="1693" formatCode="0.0%">
                  <c:v>0.64837726364738157</c:v>
                </c:pt>
                <c:pt idx="1694" formatCode="0.0%">
                  <c:v>0.66248654705779442</c:v>
                </c:pt>
                <c:pt idx="1695" formatCode="0.0%">
                  <c:v>0.6678252145583502</c:v>
                </c:pt>
                <c:pt idx="1696" formatCode="0.0%">
                  <c:v>0.6678252145583502</c:v>
                </c:pt>
                <c:pt idx="1697" formatCode="0.0%">
                  <c:v>0.6678252145583502</c:v>
                </c:pt>
                <c:pt idx="1698" formatCode="0.0%">
                  <c:v>0.66795237781608674</c:v>
                </c:pt>
                <c:pt idx="1699" formatCode="0.0%">
                  <c:v>0.66655412931207958</c:v>
                </c:pt>
                <c:pt idx="1700" formatCode="0.0%">
                  <c:v>0.67697722901956747</c:v>
                </c:pt>
                <c:pt idx="1701" formatCode="0.0%">
                  <c:v>0.67024040423685338</c:v>
                </c:pt>
                <c:pt idx="1702" formatCode="0.0%">
                  <c:v>0.65880036335486947</c:v>
                </c:pt>
                <c:pt idx="1703" formatCode="0.0%">
                  <c:v>0.65880036335486947</c:v>
                </c:pt>
                <c:pt idx="1704" formatCode="0.0%">
                  <c:v>0.66022397153294488</c:v>
                </c:pt>
                <c:pt idx="1705" formatCode="0.0%">
                  <c:v>0.66032568389476409</c:v>
                </c:pt>
                <c:pt idx="1706" formatCode="0.0%">
                  <c:v>0.64786879306013356</c:v>
                </c:pt>
                <c:pt idx="1707" formatCode="0.0%">
                  <c:v>0.66108838977563611</c:v>
                </c:pt>
                <c:pt idx="1708" formatCode="0.0%">
                  <c:v>0.6712572541895</c:v>
                </c:pt>
                <c:pt idx="1709" formatCode="0.0%">
                  <c:v>0.66388479556180158</c:v>
                </c:pt>
                <c:pt idx="1710" formatCode="0.0%">
                  <c:v>0.66388479556180158</c:v>
                </c:pt>
                <c:pt idx="1711" formatCode="0.0%">
                  <c:v>0.66388479556180158</c:v>
                </c:pt>
                <c:pt idx="1712" formatCode="0.0%">
                  <c:v>0.6720199600703719</c:v>
                </c:pt>
                <c:pt idx="1713" formatCode="0.0%">
                  <c:v>0.66973193364960537</c:v>
                </c:pt>
                <c:pt idx="1714" formatCode="0.0%">
                  <c:v>0.67812124222995096</c:v>
                </c:pt>
                <c:pt idx="1715" formatCode="0.0%">
                  <c:v>0.68968835514782201</c:v>
                </c:pt>
                <c:pt idx="1716" formatCode="0.0%">
                  <c:v>0.69362877414437096</c:v>
                </c:pt>
                <c:pt idx="1717" formatCode="0.0%">
                  <c:v>0.69362877414437096</c:v>
                </c:pt>
                <c:pt idx="1718" formatCode="0.0%">
                  <c:v>0.69362877414437096</c:v>
                </c:pt>
                <c:pt idx="1719" formatCode="0.0%">
                  <c:v>0.69401017269573118</c:v>
                </c:pt>
                <c:pt idx="1720" formatCode="0.0%">
                  <c:v>0.67862971281719864</c:v>
                </c:pt>
                <c:pt idx="1721" formatCode="0.0%">
                  <c:v>0.67850254955946243</c:v>
                </c:pt>
                <c:pt idx="1722" formatCode="0.0%">
                  <c:v>0.69667950644600951</c:v>
                </c:pt>
                <c:pt idx="1723" formatCode="0.0%">
                  <c:v>0.69744212110503245</c:v>
                </c:pt>
                <c:pt idx="1724" formatCode="0.0%">
                  <c:v>0.69744212110503245</c:v>
                </c:pt>
                <c:pt idx="1725" formatCode="0.0%">
                  <c:v>0.69744212110503245</c:v>
                </c:pt>
                <c:pt idx="1726" formatCode="0.0%">
                  <c:v>0.6980776637281676</c:v>
                </c:pt>
                <c:pt idx="1727" formatCode="0.0%">
                  <c:v>0.703162187156949</c:v>
                </c:pt>
                <c:pt idx="1728" formatCode="0.0%">
                  <c:v>0.70341633122872371</c:v>
                </c:pt>
                <c:pt idx="1729" formatCode="0.0%">
                  <c:v>0.70011145485531012</c:v>
                </c:pt>
                <c:pt idx="1730" formatCode="0.0%">
                  <c:v>0.70049285340667067</c:v>
                </c:pt>
                <c:pt idx="1731" formatCode="0.0%">
                  <c:v>0.70049285340667067</c:v>
                </c:pt>
                <c:pt idx="1732" formatCode="0.0%">
                  <c:v>0.70049285340667067</c:v>
                </c:pt>
                <c:pt idx="1733" formatCode="0.0%">
                  <c:v>0.7077381487766331</c:v>
                </c:pt>
                <c:pt idx="1734" formatCode="0.0%">
                  <c:v>0.71209809705749338</c:v>
                </c:pt>
                <c:pt idx="1735" formatCode="0.0%">
                  <c:v>0.71269550894767775</c:v>
                </c:pt>
                <c:pt idx="1736" formatCode="0.0%">
                  <c:v>0.72006796757537617</c:v>
                </c:pt>
                <c:pt idx="1737" formatCode="0.0%">
                  <c:v>0.72807596882621028</c:v>
                </c:pt>
                <c:pt idx="1738" formatCode="0.0%">
                  <c:v>0.72807596882621028</c:v>
                </c:pt>
                <c:pt idx="1739" formatCode="0.0%">
                  <c:v>0.72807596882621028</c:v>
                </c:pt>
                <c:pt idx="1740" formatCode="0.0%">
                  <c:v>0.72705902765171426</c:v>
                </c:pt>
                <c:pt idx="1741" formatCode="0.0%">
                  <c:v>0.731253681941887</c:v>
                </c:pt>
                <c:pt idx="1742" formatCode="0.0%">
                  <c:v>0.7397701537799688</c:v>
                </c:pt>
                <c:pt idx="1743" formatCode="0.0%">
                  <c:v>0.74332926544700628</c:v>
                </c:pt>
                <c:pt idx="1744" formatCode="0.0%">
                  <c:v>0.74167687287122419</c:v>
                </c:pt>
                <c:pt idx="1745" formatCode="0.0%">
                  <c:v>0.74167687287122419</c:v>
                </c:pt>
                <c:pt idx="1746" formatCode="0.0%">
                  <c:v>0.74167687287122419</c:v>
                </c:pt>
                <c:pt idx="1747" formatCode="0.0%">
                  <c:v>0.71777994115460952</c:v>
                </c:pt>
                <c:pt idx="1748" formatCode="0.0%">
                  <c:v>0.71282258098356488</c:v>
                </c:pt>
                <c:pt idx="1749" formatCode="0.0%">
                  <c:v>0.73023683198924005</c:v>
                </c:pt>
                <c:pt idx="1750" formatCode="0.0%">
                  <c:v>0.72515239978230828</c:v>
                </c:pt>
                <c:pt idx="1751" formatCode="0.0%">
                  <c:v>0.71066171782053489</c:v>
                </c:pt>
                <c:pt idx="1752" formatCode="0.0%">
                  <c:v>0.71066171782053489</c:v>
                </c:pt>
                <c:pt idx="1753" formatCode="0.0%">
                  <c:v>0.71066171782053489</c:v>
                </c:pt>
                <c:pt idx="1754" formatCode="0.0%">
                  <c:v>0.73799059794645017</c:v>
                </c:pt>
                <c:pt idx="1755" formatCode="0.0%">
                  <c:v>0.74498174924463767</c:v>
                </c:pt>
                <c:pt idx="1756" formatCode="0.0%">
                  <c:v>0.73837190527596164</c:v>
                </c:pt>
                <c:pt idx="1757" formatCode="0.0%">
                  <c:v>0.74282079485975827</c:v>
                </c:pt>
                <c:pt idx="1758" formatCode="0.0%">
                  <c:v>0.75515061365850156</c:v>
                </c:pt>
                <c:pt idx="1759" formatCode="0.0%">
                  <c:v>0.75515061365850156</c:v>
                </c:pt>
                <c:pt idx="1760" formatCode="0.0%">
                  <c:v>0.75515061365850156</c:v>
                </c:pt>
                <c:pt idx="1761" formatCode="0.0%">
                  <c:v>0.77065814557292156</c:v>
                </c:pt>
                <c:pt idx="1762" formatCode="0.0%">
                  <c:v>0.76887858973940271</c:v>
                </c:pt>
                <c:pt idx="1763" formatCode="0.0%">
                  <c:v>0.78108124528040945</c:v>
                </c:pt>
                <c:pt idx="1764" formatCode="0.0%">
                  <c:v>0.78438621287567201</c:v>
                </c:pt>
                <c:pt idx="1765" formatCode="0.0%">
                  <c:v>0.77880598991852623</c:v>
                </c:pt>
                <c:pt idx="1766" formatCode="0.0%">
                  <c:v>0.77880598991852623</c:v>
                </c:pt>
                <c:pt idx="1767" formatCode="0.0%">
                  <c:v>0.77880598991852623</c:v>
                </c:pt>
                <c:pt idx="1768" formatCode="0.0%">
                  <c:v>0.78641991278096557</c:v>
                </c:pt>
                <c:pt idx="1769" formatCode="0.0%">
                  <c:v>0.78044570265727431</c:v>
                </c:pt>
                <c:pt idx="1770" formatCode="0.0%">
                  <c:v>0.78108124528040945</c:v>
                </c:pt>
                <c:pt idx="1771" formatCode="0.0%">
                  <c:v>0.76671772657637294</c:v>
                </c:pt>
                <c:pt idx="1772" formatCode="0.0%">
                  <c:v>0.74485458598690091</c:v>
                </c:pt>
                <c:pt idx="1773" formatCode="0.0%">
                  <c:v>0.74485458598690091</c:v>
                </c:pt>
                <c:pt idx="1774" formatCode="0.0%">
                  <c:v>0.74485458598690091</c:v>
                </c:pt>
                <c:pt idx="1775" formatCode="0.0%">
                  <c:v>0.77396302194633504</c:v>
                </c:pt>
                <c:pt idx="1776" formatCode="0.0%">
                  <c:v>0.77434442049769558</c:v>
                </c:pt>
                <c:pt idx="1777" formatCode="0.0%">
                  <c:v>0.78743685395546148</c:v>
                </c:pt>
                <c:pt idx="1778" formatCode="0.0%">
                  <c:v>0.77027683824341009</c:v>
                </c:pt>
                <c:pt idx="1779" formatCode="0.0%">
                  <c:v>0.76303154287344821</c:v>
                </c:pt>
                <c:pt idx="1780" formatCode="0.0%">
                  <c:v>0.76303154287344821</c:v>
                </c:pt>
                <c:pt idx="1781" formatCode="0.0%">
                  <c:v>0.76303154287344821</c:v>
                </c:pt>
                <c:pt idx="1782" formatCode="0.0%">
                  <c:v>0.75883679736142595</c:v>
                </c:pt>
                <c:pt idx="1783" formatCode="0.0%">
                  <c:v>0.7218475234088948</c:v>
                </c:pt>
                <c:pt idx="1784" formatCode="0.0%">
                  <c:v>0.74294795811749481</c:v>
                </c:pt>
                <c:pt idx="1785" formatCode="0.0%">
                  <c:v>0.76582794865961346</c:v>
                </c:pt>
                <c:pt idx="1786" formatCode="0.0%">
                  <c:v>0.7245168571591728</c:v>
                </c:pt>
                <c:pt idx="1787" formatCode="0.0%">
                  <c:v>0.7245168571591728</c:v>
                </c:pt>
                <c:pt idx="1788" formatCode="0.0%">
                  <c:v>0.7245168571591728</c:v>
                </c:pt>
                <c:pt idx="1789" formatCode="0.0%">
                  <c:v>0.75222704461459922</c:v>
                </c:pt>
                <c:pt idx="1790" formatCode="0.0%">
                  <c:v>0.75693016949202019</c:v>
                </c:pt>
                <c:pt idx="1791" formatCode="0.0%">
                  <c:v>0.77790353216473274</c:v>
                </c:pt>
                <c:pt idx="1792" formatCode="0.0%">
                  <c:v>0.7775221336133723</c:v>
                </c:pt>
                <c:pt idx="1793" formatCode="0.0%">
                  <c:v>0.78146264383177</c:v>
                </c:pt>
                <c:pt idx="1794" formatCode="0.0%">
                  <c:v>0.78146264383177</c:v>
                </c:pt>
                <c:pt idx="1795" formatCode="0.0%">
                  <c:v>0.7816532974965259</c:v>
                </c:pt>
                <c:pt idx="1796" formatCode="0.0%">
                  <c:v>0.77447149253358272</c:v>
                </c:pt>
                <c:pt idx="1797" formatCode="0.0%">
                  <c:v>0.78171687912539423</c:v>
                </c:pt>
                <c:pt idx="1798" formatCode="0.0%">
                  <c:v>0.77154792348968071</c:v>
                </c:pt>
                <c:pt idx="1799" formatCode="0.0%">
                  <c:v>0.77281909995780074</c:v>
                </c:pt>
                <c:pt idx="1800" formatCode="0.0%">
                  <c:v>0.78133548057403346</c:v>
                </c:pt>
                <c:pt idx="1801" formatCode="0.0%">
                  <c:v>0.78133548057403346</c:v>
                </c:pt>
                <c:pt idx="1802" formatCode="0.0%">
                  <c:v>0.78133548057403346</c:v>
                </c:pt>
                <c:pt idx="1803" formatCode="0.0%">
                  <c:v>0.77892038211737968</c:v>
                </c:pt>
                <c:pt idx="1804" formatCode="0.0%">
                  <c:v>0.77637821162483822</c:v>
                </c:pt>
                <c:pt idx="1805" formatCode="0.0%">
                  <c:v>0.77205639407692872</c:v>
                </c:pt>
                <c:pt idx="1806" formatCode="0.0%">
                  <c:v>0.76748043245724462</c:v>
                </c:pt>
                <c:pt idx="1807" formatCode="0.0%">
                  <c:v>0.76722619716362062</c:v>
                </c:pt>
                <c:pt idx="1808" formatCode="0.0%">
                  <c:v>0.76722619716362062</c:v>
                </c:pt>
                <c:pt idx="1809" formatCode="0.0%">
                  <c:v>0.76722619716362062</c:v>
                </c:pt>
                <c:pt idx="1810" formatCode="0.0%">
                  <c:v>0.76150613111170429</c:v>
                </c:pt>
                <c:pt idx="1811" formatCode="0.0%">
                  <c:v>0.75222704461459922</c:v>
                </c:pt>
                <c:pt idx="1812" formatCode="0.0%">
                  <c:v>0.74726968444355468</c:v>
                </c:pt>
                <c:pt idx="1813" formatCode="0.0%">
                  <c:v>0.76150613111170429</c:v>
                </c:pt>
                <c:pt idx="1814" formatCode="0.0%">
                  <c:v>0.77154792348968071</c:v>
                </c:pt>
                <c:pt idx="1815" formatCode="0.0%">
                  <c:v>0.77154792348968071</c:v>
                </c:pt>
                <c:pt idx="1816" formatCode="0.0%">
                  <c:v>0.77154792348968071</c:v>
                </c:pt>
                <c:pt idx="1817" formatCode="0.0%">
                  <c:v>0.77510703515671819</c:v>
                </c:pt>
                <c:pt idx="1818" formatCode="0.0%">
                  <c:v>0.78222525849079261</c:v>
                </c:pt>
                <c:pt idx="1819" formatCode="0.0%">
                  <c:v>0.78222525849079261</c:v>
                </c:pt>
                <c:pt idx="1820" formatCode="0.0%">
                  <c:v>0.78222525849079261</c:v>
                </c:pt>
                <c:pt idx="1821" formatCode="0.0%">
                  <c:v>0.78222525849079261</c:v>
                </c:pt>
                <c:pt idx="1822" formatCode="0.0%">
                  <c:v>0.78222525849079261</c:v>
                </c:pt>
                <c:pt idx="1823" formatCode="0.0%">
                  <c:v>0.78222525849079261</c:v>
                </c:pt>
                <c:pt idx="1824" formatCode="0.0%">
                  <c:v>0.82073994420506802</c:v>
                </c:pt>
                <c:pt idx="1825" formatCode="0.0%">
                  <c:v>0.79061465829298727</c:v>
                </c:pt>
                <c:pt idx="1826" formatCode="0.0%">
                  <c:v>0.78097962414043931</c:v>
                </c:pt>
              </c:numCache>
            </c:numRef>
          </c:val>
          <c:smooth val="0"/>
          <c:extLst>
            <c:ext xmlns:c16="http://schemas.microsoft.com/office/drawing/2014/chart" uri="{C3380CC4-5D6E-409C-BE32-E72D297353CC}">
              <c16:uniqueId val="{00000000-C592-43EE-8D08-8400729D0F8F}"/>
            </c:ext>
          </c:extLst>
        </c:ser>
        <c:dLbls>
          <c:showLegendKey val="0"/>
          <c:showVal val="0"/>
          <c:showCatName val="0"/>
          <c:showSerName val="0"/>
          <c:showPercent val="0"/>
          <c:showBubbleSize val="0"/>
        </c:dLbls>
        <c:smooth val="0"/>
        <c:axId val="1166933024"/>
        <c:axId val="1166951744"/>
      </c:lineChart>
      <c:dateAx>
        <c:axId val="1166933024"/>
        <c:scaling>
          <c:orientation val="minMax"/>
        </c:scaling>
        <c:delete val="0"/>
        <c:axPos val="b"/>
        <c:numFmt formatCode="mmm\.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51744"/>
        <c:crosses val="autoZero"/>
        <c:auto val="1"/>
        <c:lblOffset val="100"/>
        <c:baseTimeUnit val="days"/>
        <c:majorUnit val="1"/>
        <c:majorTimeUnit val="years"/>
      </c:dateAx>
      <c:valAx>
        <c:axId val="11669517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33024"/>
        <c:crosses val="autoZero"/>
        <c:crossBetween val="between"/>
      </c:valAx>
      <c:spPr>
        <a:noFill/>
        <a:ln w="25400">
          <a:noFill/>
        </a:ln>
        <a:effectLst/>
      </c:spPr>
    </c:plotArea>
    <c:legend>
      <c:legendPos val="b"/>
      <c:layout>
        <c:manualLayout>
          <c:xMode val="edge"/>
          <c:yMode val="edge"/>
          <c:x val="5.4647246801942167E-3"/>
          <c:y val="0.78348990289780851"/>
          <c:w val="0.98109742774555775"/>
          <c:h val="0.2134338949773948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73855378-74F7-3AB3-28DD-6FC3CA2EBB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2FDF47E9-17AE-015F-4A36-16273EAA4FA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B84BCD-E444-434A-BF73-9E9D793ED477}" type="datetimeFigureOut">
              <a:rPr lang="da-DK" smtClean="0"/>
              <a:t>19-03-2026</a:t>
            </a:fld>
            <a:endParaRPr lang="da-DK"/>
          </a:p>
        </p:txBody>
      </p:sp>
      <p:sp>
        <p:nvSpPr>
          <p:cNvPr id="4" name="Pladsholder til sidefod 3">
            <a:extLst>
              <a:ext uri="{FF2B5EF4-FFF2-40B4-BE49-F238E27FC236}">
                <a16:creationId xmlns:a16="http://schemas.microsoft.com/office/drawing/2014/main" id="{2FD568A9-0CE7-2054-34CF-2A00A9E379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8B95DEE7-D6EF-8505-D14B-30D4053118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896FF8C-BF2D-4F0C-A2EF-AA66F8D02933}" type="slidenum">
              <a:rPr lang="da-DK" smtClean="0"/>
              <a:t>‹#›</a:t>
            </a:fld>
            <a:endParaRPr lang="da-DK"/>
          </a:p>
        </p:txBody>
      </p:sp>
    </p:spTree>
    <p:extLst>
      <p:ext uri="{BB962C8B-B14F-4D97-AF65-F5344CB8AC3E}">
        <p14:creationId xmlns:p14="http://schemas.microsoft.com/office/powerpoint/2010/main" val="2596488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745DD3-7531-48E3-84AA-DB745955F088}" type="datetimeFigureOut">
              <a:rPr lang="da-DK" smtClean="0"/>
              <a:t>19-03-2026</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1D8FB-513D-42AF-A981-D594E44D452D}" type="slidenum">
              <a:rPr lang="da-DK" smtClean="0"/>
              <a:t>‹#›</a:t>
            </a:fld>
            <a:endParaRPr lang="da-DK"/>
          </a:p>
        </p:txBody>
      </p:sp>
    </p:spTree>
    <p:extLst>
      <p:ext uri="{BB962C8B-B14F-4D97-AF65-F5344CB8AC3E}">
        <p14:creationId xmlns:p14="http://schemas.microsoft.com/office/powerpoint/2010/main" val="23618714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2198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EA745-1143-092B-60E1-2D9226CAB4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D4EA5F-B9F7-A79A-E371-754CB6D575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581A0-668A-9A23-D0E2-E2990F992880}"/>
              </a:ext>
            </a:extLst>
          </p:cNvPr>
          <p:cNvSpPr>
            <a:spLocks noGrp="1"/>
          </p:cNvSpPr>
          <p:nvPr>
            <p:ph type="body" idx="1"/>
          </p:nvPr>
        </p:nvSpPr>
        <p:spPr/>
        <p:txBody>
          <a:bodyPr/>
          <a:lstStyle/>
          <a:p>
            <a:endParaRPr lang="en-DK"/>
          </a:p>
        </p:txBody>
      </p:sp>
      <p:sp>
        <p:nvSpPr>
          <p:cNvPr id="4" name="Slide Number Placeholder 3">
            <a:extLst>
              <a:ext uri="{FF2B5EF4-FFF2-40B4-BE49-F238E27FC236}">
                <a16:creationId xmlns:a16="http://schemas.microsoft.com/office/drawing/2014/main" id="{7932C45B-107B-2771-D844-BD294320A77C}"/>
              </a:ext>
            </a:extLst>
          </p:cNvPr>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3517713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C445D-5701-9371-AA79-394D2B58A6EC}"/>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B2AABFDB-B46D-BFBB-758F-91967D0A94F4}"/>
              </a:ext>
            </a:extLst>
          </p:cNvPr>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2495840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F9582DD-E121-43B0-81D7-8C5D836C5F2E}" type="datetime1">
              <a:rPr lang="da-DK" noProof="0" smtClean="0"/>
              <a:t>19-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361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6FE8BC2E-200E-4BA1-8A4C-03C6829F028C}" type="datetime1">
              <a:rPr lang="da-DK" noProof="0" smtClean="0"/>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97317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678926A0-C875-4523-9F87-FF58D27B89BF}"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23055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DC914322-6570-4C48-8B29-7CF75C3D5673}" type="datetime1">
              <a:rPr lang="da-DK" noProof="0" smtClean="0"/>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535991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E0E3F621-D296-4C38-8595-5851425F7944}"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6224294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94941ECD-003F-405A-8A51-5DF016D39791}"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51740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4773FBD4-BB06-4D59-935D-36388EEC380F}"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9319268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AEB86F2A-BF68-4935-884F-8F1B7F437D5C}" type="datetime1">
              <a:rPr lang="da-DK" noProof="0" smtClean="0"/>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361912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068051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B3A39859-7ABB-433C-B1D4-D62313A8C4DE}" type="datetime1">
              <a:rPr lang="da-DK" noProof="0" smtClean="0"/>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62464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B134EF5-8588-4E33-BF0C-252BD5E92640}"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266390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BE347E83-6873-4D66-89A5-CE888962575A}"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20145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11F67FE-D1FB-4510-ABE1-6575B85839D5}" type="datetime1">
              <a:rPr lang="da-DK" noProof="0" smtClean="0"/>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2998438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B0C8DC8-BF57-4320-9959-91DF99E745D4}"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379730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2EA7A3B-215B-4532-A986-91737798BE74}" type="datetime1">
              <a:rPr lang="da-DK" noProof="0" smtClean="0"/>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024276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7AED4884-017D-4DAA-B5D0-15AAF27C520B}"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7194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82C0AAFA-96FA-4890-AA56-F874AA14C84B}" type="datetime1">
              <a:rPr lang="da-DK" noProof="0" smtClean="0"/>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548030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2FF443B1-60D5-4BC0-A4C4-BE84C1ADD243}"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2204086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A39D739-B318-4A5C-8908-6025AE83401A}" type="datetime1">
              <a:rPr lang="da-DK" noProof="0" smtClean="0"/>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843929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ADC98290-A44B-4539-A694-F7FEAC9C739E}" type="datetime1">
              <a:rPr lang="da-DK" smtClean="0"/>
              <a:t>19-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328880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E180755-552F-4A09-AC42-523D713EC2EC}" type="datetime1">
              <a:rPr lang="da-DK" smtClean="0"/>
              <a:t>19-03-2026</a:t>
            </a:fld>
            <a:endParaRPr lang="da-DK"/>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3373668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6635535-7FB2-4EF6-AA59-EA1FACEFA7E8}" type="datetime1">
              <a:rPr lang="da-DK" smtClean="0"/>
              <a:t>19-03-2026</a:t>
            </a:fld>
            <a:endParaRPr lang="da-DK"/>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46450213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21469B70-BCE5-4F8B-9E98-AC54A21E0D6A}" type="datetime1">
              <a:rPr lang="da-DK" noProof="0" smtClean="0"/>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11217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83343-4248-4D66-A897-675B7E9C9B7B}" type="datetime1">
              <a:rPr lang="da-DK" smtClean="0"/>
              <a:t>19-03-2026</a:t>
            </a:fld>
            <a:endParaRPr lang="da-DK"/>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0274832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CB332F9-646C-4384-903F-EC3562B4F94E}" type="datetime1">
              <a:rPr lang="da-DK" smtClean="0"/>
              <a:t>19-03-2026</a:t>
            </a:fld>
            <a:endParaRPr lang="da-DK"/>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91351190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B33AED4-FEAC-4ACE-BC77-C89E5FFCA83C}" type="datetime1">
              <a:rPr lang="da-DK" smtClean="0"/>
              <a:t>19-03-2026</a:t>
            </a:fld>
            <a:endParaRPr lang="da-DK"/>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90702111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53DCA7D-BC72-4F0B-97D0-70DDA2EE0252}" type="datetime1">
              <a:rPr lang="da-DK" smtClean="0"/>
              <a:t>19-03-2026</a:t>
            </a:fld>
            <a:endParaRPr lang="da-DK"/>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403159902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EFBB1-5AC5-4BC1-A03F-7B5389C7E9FA}" type="datetime1">
              <a:rPr lang="da-DK" smtClean="0"/>
              <a:t>19-03-2026</a:t>
            </a:fld>
            <a:endParaRPr lang="da-DK"/>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27926335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BD44ABF-A974-40B1-BA72-E4FDFD39B8EE}" type="datetime1">
              <a:rPr lang="da-DK" smtClean="0"/>
              <a:t>19-03-2026</a:t>
            </a:fld>
            <a:endParaRPr lang="da-DK"/>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41302633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A4E713C-476E-4416-98D1-444EFEFD7C7C}" type="datetime1">
              <a:rPr lang="da-DK" smtClean="0"/>
              <a:t>19-03-2026</a:t>
            </a:fld>
            <a:endParaRPr lang="da-DK"/>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9839072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259A1406-847F-4534-A5CF-74986E276136}" type="datetime1">
              <a:rPr lang="da-DK" smtClean="0"/>
              <a:t>19-03-2026</a:t>
            </a:fld>
            <a:endParaRPr lang="da-DK"/>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83675914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77B1292-0FE6-4E1F-A04D-EA562481BF6C}" type="datetime1">
              <a:rPr lang="da-DK" smtClean="0"/>
              <a:t>19-03-2026</a:t>
            </a:fld>
            <a:endParaRPr lang="da-DK"/>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7071628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321C134-6980-4A94-8754-6F35EDDCE48B}" type="datetime1">
              <a:rPr lang="da-DK" smtClean="0"/>
              <a:t>19-03-2026</a:t>
            </a:fld>
            <a:endParaRPr lang="da-DK"/>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5040296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6A588B36-C6ED-42F1-BE88-0533F5CE3DE9}" type="datetime1">
              <a:rPr lang="da-DK" noProof="0" smtClean="0"/>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23756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9F12D3EC-E26F-4447-BB35-66363933F5E8}" type="datetime1">
              <a:rPr lang="da-DK" smtClean="0"/>
              <a:t>19-03-2026</a:t>
            </a:fld>
            <a:endParaRPr lang="da-DK"/>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09711994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15C19ADD-F9D3-4C2E-8295-D8C058F3819E}" type="datetime1">
              <a:rPr lang="da-DK" smtClean="0"/>
              <a:t>19-03-2026</a:t>
            </a:fld>
            <a:endParaRPr lang="da-DK"/>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6664190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57F2FD-8BF2-4A14-AF1E-E7B7CF077B8D}" type="datetime1">
              <a:rPr lang="da-DK" smtClean="0"/>
              <a:t>19-03-2026</a:t>
            </a:fld>
            <a:endParaRPr lang="da-DK"/>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42851937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13C22B8-EEA6-4BDA-91B7-31F2E95C72E6}" type="datetime1">
              <a:rPr lang="da-DK" smtClean="0"/>
              <a:t>19-03-2026</a:t>
            </a:fld>
            <a:endParaRPr lang="da-DK"/>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49023645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extLst>
              <p:ext uri="{D42A27DB-BD31-4B8C-83A1-F6EECF244321}">
                <p14:modId xmlns:p14="http://schemas.microsoft.com/office/powerpoint/2010/main" val="3038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A6D23-4265-4B9C-B405-35788CC7CF77}" type="datetime1">
              <a:rPr lang="da-DK" smtClean="0"/>
              <a:t>19-03-2026</a:t>
            </a:fld>
            <a:endParaRPr lang="da-DK"/>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8873459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extLst>
              <p:ext uri="{D42A27DB-BD31-4B8C-83A1-F6EECF244321}">
                <p14:modId xmlns:p14="http://schemas.microsoft.com/office/powerpoint/2010/main" val="317690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553B47C-DC47-4C34-B717-C89CD5271946}" type="datetime1">
              <a:rPr lang="da-DK" smtClean="0"/>
              <a:t>19-03-2026</a:t>
            </a:fld>
            <a:endParaRPr lang="da-DK"/>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545463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E5E9D09-E96D-4049-9A72-8963FD630E7F}" type="datetime1">
              <a:rPr lang="da-DK" smtClean="0"/>
              <a:t>19-03-2026</a:t>
            </a:fld>
            <a:endParaRPr lang="da-DK"/>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5288111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D1F06D2-E3AB-4E5D-9FEB-F84C19F98D48}" type="datetime1">
              <a:rPr lang="da-DK" smtClean="0"/>
              <a:t>19-03-2026</a:t>
            </a:fld>
            <a:endParaRPr lang="da-DK"/>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22082318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DE2448-1808-45AD-9106-1D2DF29B34E1}" type="datetime1">
              <a:rPr lang="da-DK" smtClean="0"/>
              <a:t>19-03-2026</a:t>
            </a:fld>
            <a:endParaRPr lang="da-DK"/>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7437749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3187F7-EE9E-4C07-A319-BEDF074FA53F}" type="datetime1">
              <a:rPr lang="da-DK" smtClean="0"/>
              <a:t>19-03-2026</a:t>
            </a:fld>
            <a:endParaRPr lang="da-DK"/>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5825477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60C3C972-31CA-44BA-AEC5-94F10F4EBC15}" type="datetime1">
              <a:rPr lang="da-DK" noProof="0" smtClean="0"/>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91218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C53C5C5C-F267-47F9-B428-7B2032BDE43B}" type="datetime1">
              <a:rPr lang="da-DK" smtClean="0"/>
              <a:t>19-03-2026</a:t>
            </a:fld>
            <a:endParaRPr lang="da-DK"/>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37673358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1429F49-EF02-4B4C-A072-DC71A81383C0}" type="datetime1">
              <a:rPr lang="da-DK" smtClean="0"/>
              <a:t>19-03-2026</a:t>
            </a:fld>
            <a:endParaRPr lang="da-DK"/>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1231825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3FF7181A-0FFA-47EC-B27E-43306E7DCE3A}" type="datetime1">
              <a:rPr lang="da-DK" smtClean="0"/>
              <a:t>19-03-2026</a:t>
            </a:fld>
            <a:endParaRPr lang="da-DK"/>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Tree>
    <p:extLst>
      <p:ext uri="{BB962C8B-B14F-4D97-AF65-F5344CB8AC3E}">
        <p14:creationId xmlns:p14="http://schemas.microsoft.com/office/powerpoint/2010/main" val="304921956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D7E0D71-057C-40D0-896F-87B96439CFBD}" type="datetime1">
              <a:rPr lang="da-DK" smtClean="0"/>
              <a:t>19-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471569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0864777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19-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7058008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7790943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8486797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19-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977198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0107579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1DCD3698-9C2B-4995-A2F1-86CC7BED4689}" type="datetime1">
              <a:rPr lang="da-DK" noProof="0" smtClean="0"/>
              <a:t>19-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313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9880517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7821023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23944698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19-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19633944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4288567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41712465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5632362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38108666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4446783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4672400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7DAEC753-2211-4705-8DF2-70D34647713A}" type="datetime1">
              <a:rPr lang="da-DK" noProof="0" smtClean="0"/>
              <a:t>19-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5063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Tree>
    <p:extLst>
      <p:ext uri="{BB962C8B-B14F-4D97-AF65-F5344CB8AC3E}">
        <p14:creationId xmlns:p14="http://schemas.microsoft.com/office/powerpoint/2010/main" val="11825479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Tree>
    <p:extLst>
      <p:ext uri="{BB962C8B-B14F-4D97-AF65-F5344CB8AC3E}">
        <p14:creationId xmlns:p14="http://schemas.microsoft.com/office/powerpoint/2010/main" val="36845550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Tree>
    <p:extLst>
      <p:ext uri="{BB962C8B-B14F-4D97-AF65-F5344CB8AC3E}">
        <p14:creationId xmlns:p14="http://schemas.microsoft.com/office/powerpoint/2010/main" val="29178010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5872375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35321782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23508557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028945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685756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5359459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9-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a:t>
            </a:fld>
            <a:endParaRPr lang="da-DK" noProof="0"/>
          </a:p>
        </p:txBody>
      </p:sp>
    </p:spTree>
    <p:extLst>
      <p:ext uri="{BB962C8B-B14F-4D97-AF65-F5344CB8AC3E}">
        <p14:creationId xmlns:p14="http://schemas.microsoft.com/office/powerpoint/2010/main" val="8359212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77407A-A1DE-4147-83CD-C8DBFD084C32}"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065761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0798807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3F0059CA-C4BC-4FFE-8389-D3FCAAE528E1}"/>
              </a:ext>
            </a:extLst>
          </p:cNvPr>
          <p:cNvSpPr>
            <a:spLocks noGrp="1"/>
          </p:cNvSpPr>
          <p:nvPr>
            <p:ph type="body" sz="quarter" idx="20" hasCustomPrompt="1"/>
          </p:nvPr>
        </p:nvSpPr>
        <p:spPr>
          <a:xfrm>
            <a:off x="304800" y="5416551"/>
            <a:ext cx="11582400" cy="1146241"/>
          </a:xfrm>
        </p:spPr>
        <p:txBody>
          <a:bodyPr anchor="b"/>
          <a:lstStyle>
            <a:lvl1pPr>
              <a:lnSpc>
                <a:spcPts val="800"/>
              </a:lnSpc>
              <a:spcBef>
                <a:spcPts val="0"/>
              </a:spcBef>
              <a:spcAft>
                <a:spcPts val="0"/>
              </a:spcAft>
              <a:defRPr sz="800" b="0" i="0" spc="-20" baseline="0">
                <a:solidFill>
                  <a:schemeClr val="tx1"/>
                </a:solidFill>
                <a:latin typeface="Roboto Condensed" panose="02000000000000000000" pitchFamily="2" charset="0"/>
                <a:ea typeface="Roboto Condensed" panose="02000000000000000000" pitchFamily="2" charset="0"/>
              </a:defRPr>
            </a:lvl1pPr>
            <a:lvl2pPr>
              <a:defRPr sz="800" b="0" i="0">
                <a:latin typeface="Roboto Condensed" panose="02000000000000000000" pitchFamily="2" charset="0"/>
                <a:ea typeface="Roboto Condensed" panose="02000000000000000000" pitchFamily="2" charset="0"/>
              </a:defRPr>
            </a:lvl2pPr>
            <a:lvl3pPr>
              <a:defRPr sz="800" b="0" i="0">
                <a:latin typeface="Roboto Condensed" panose="02000000000000000000" pitchFamily="2" charset="0"/>
                <a:ea typeface="Roboto Condensed" panose="02000000000000000000" pitchFamily="2" charset="0"/>
              </a:defRPr>
            </a:lvl3pPr>
            <a:lvl4pPr>
              <a:defRPr sz="800" b="0" i="0">
                <a:latin typeface="Roboto Condensed" panose="02000000000000000000" pitchFamily="2" charset="0"/>
                <a:ea typeface="Roboto Condensed" panose="02000000000000000000" pitchFamily="2" charset="0"/>
              </a:defRPr>
            </a:lvl4pPr>
            <a:lvl5pPr>
              <a:defRPr sz="800" b="0" i="0">
                <a:latin typeface="Roboto Condensed" panose="02000000000000000000" pitchFamily="2" charset="0"/>
                <a:ea typeface="Roboto Condensed" panose="02000000000000000000" pitchFamily="2" charset="0"/>
              </a:defRPr>
            </a:lvl5pPr>
          </a:lstStyle>
          <a:p>
            <a:pPr lvl="0"/>
            <a:r>
              <a:rPr lang="en-US"/>
              <a:t>AS OF MONTH DAY, YEAR | Source and disclaimer text</a:t>
            </a:r>
          </a:p>
        </p:txBody>
      </p:sp>
      <p:sp>
        <p:nvSpPr>
          <p:cNvPr id="5" name="Chart Placeholder 4">
            <a:extLst>
              <a:ext uri="{FF2B5EF4-FFF2-40B4-BE49-F238E27FC236}">
                <a16:creationId xmlns:a16="http://schemas.microsoft.com/office/drawing/2014/main" id="{4059AB90-90CF-E84B-9A75-8E216469031E}"/>
              </a:ext>
            </a:extLst>
          </p:cNvPr>
          <p:cNvSpPr>
            <a:spLocks noGrp="1"/>
          </p:cNvSpPr>
          <p:nvPr>
            <p:ph type="chart" sz="quarter" idx="22"/>
          </p:nvPr>
        </p:nvSpPr>
        <p:spPr>
          <a:xfrm>
            <a:off x="304800" y="1235206"/>
            <a:ext cx="11582400" cy="4143244"/>
          </a:xfrm>
        </p:spPr>
        <p:txBody>
          <a:bodyPr/>
          <a:lstStyle/>
          <a:p>
            <a:r>
              <a:rPr lang="en-US"/>
              <a:t>Click icon to add chart</a:t>
            </a:r>
          </a:p>
        </p:txBody>
      </p:sp>
      <p:sp>
        <p:nvSpPr>
          <p:cNvPr id="8" name="Text Placeholder 9">
            <a:extLst>
              <a:ext uri="{FF2B5EF4-FFF2-40B4-BE49-F238E27FC236}">
                <a16:creationId xmlns:a16="http://schemas.microsoft.com/office/drawing/2014/main" id="{638E9A1B-85F2-4786-A009-06AD09169B71}"/>
              </a:ext>
            </a:extLst>
          </p:cNvPr>
          <p:cNvSpPr>
            <a:spLocks noGrp="1"/>
          </p:cNvSpPr>
          <p:nvPr>
            <p:ph type="body" sz="quarter" idx="13" hasCustomPrompt="1"/>
          </p:nvPr>
        </p:nvSpPr>
        <p:spPr>
          <a:xfrm>
            <a:off x="304800" y="771470"/>
            <a:ext cx="11582400" cy="452399"/>
          </a:xfrm>
          <a:prstGeom prst="rect">
            <a:avLst/>
          </a:prstGeom>
        </p:spPr>
        <p:txBody>
          <a:bodyPr lIns="0" tIns="0" rIns="0" bIns="0" anchor="t" anchorCtr="0">
            <a:noAutofit/>
          </a:bodyPr>
          <a:lstStyle>
            <a:lvl1pPr marL="0" marR="0" indent="0" algn="l" defTabSz="914354" rtl="0" eaLnBrk="1" fontAlgn="auto" latinLnBrk="0" hangingPunct="1">
              <a:lnSpc>
                <a:spcPts val="1700"/>
              </a:lnSpc>
              <a:spcBef>
                <a:spcPts val="0"/>
              </a:spcBef>
              <a:spcAft>
                <a:spcPts val="0"/>
              </a:spcAft>
              <a:buClrTx/>
              <a:buSzTx/>
              <a:buFontTx/>
              <a:buNone/>
              <a:tabLst/>
              <a:defRPr sz="1600" b="1" i="0" baseline="0">
                <a:solidFill>
                  <a:schemeClr val="accent3"/>
                </a:solidFill>
                <a:latin typeface="Montserrat SemiBold" pitchFamily="2" charset="77"/>
                <a:cs typeface="Arial" panose="020B0604020202020204" pitchFamily="34" charset="0"/>
              </a:defRPr>
            </a:lvl1pPr>
            <a:lvl2pPr>
              <a:buFontTx/>
              <a:buNone/>
              <a:defRPr sz="1600">
                <a:solidFill>
                  <a:schemeClr val="bg1"/>
                </a:solidFill>
              </a:defRPr>
            </a:lvl2pPr>
            <a:lvl3pPr>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marL="0" marR="0" lvl="0" indent="0" algn="l" defTabSz="914354" rtl="0" eaLnBrk="1" fontAlgn="auto" latinLnBrk="0" hangingPunct="1">
              <a:lnSpc>
                <a:spcPct val="100000"/>
              </a:lnSpc>
              <a:spcBef>
                <a:spcPts val="201"/>
              </a:spcBef>
              <a:spcAft>
                <a:spcPts val="0"/>
              </a:spcAft>
              <a:buClrTx/>
              <a:buSzTx/>
              <a:buFontTx/>
              <a:buNone/>
              <a:tabLst/>
              <a:defRPr/>
            </a:pPr>
            <a:r>
              <a:rPr lang="en-US"/>
              <a:t>Subhead</a:t>
            </a:r>
          </a:p>
        </p:txBody>
      </p:sp>
      <p:sp>
        <p:nvSpPr>
          <p:cNvPr id="2" name="Title 1"/>
          <p:cNvSpPr>
            <a:spLocks noGrp="1"/>
          </p:cNvSpPr>
          <p:nvPr>
            <p:ph type="title" hasCustomPrompt="1"/>
          </p:nvPr>
        </p:nvSpPr>
        <p:spPr>
          <a:xfrm>
            <a:off x="304800" y="397173"/>
            <a:ext cx="11582400" cy="365760"/>
          </a:xfrm>
          <a:prstGeom prst="rect">
            <a:avLst/>
          </a:prstGeom>
        </p:spPr>
        <p:txBody>
          <a:bodyPr lIns="0" tIns="0" rIns="0" bIns="0"/>
          <a:lstStyle>
            <a:lvl1pPr>
              <a:lnSpc>
                <a:spcPts val="2500"/>
              </a:lnSpc>
              <a:defRPr sz="2400" b="1" i="0" spc="-30" baseline="0">
                <a:latin typeface="Montserrat SemiBold" pitchFamily="2" charset="77"/>
              </a:defRPr>
            </a:lvl1pPr>
          </a:lstStyle>
          <a:p>
            <a:r>
              <a:rPr lang="en-US"/>
              <a:t>Slide Header</a:t>
            </a:r>
          </a:p>
        </p:txBody>
      </p:sp>
      <p:sp>
        <p:nvSpPr>
          <p:cNvPr id="32" name="Text Placeholder 31">
            <a:extLst>
              <a:ext uri="{FF2B5EF4-FFF2-40B4-BE49-F238E27FC236}">
                <a16:creationId xmlns:a16="http://schemas.microsoft.com/office/drawing/2014/main" id="{C1C24F9A-B008-F84D-8B40-EDEC06D6F149}"/>
              </a:ext>
            </a:extLst>
          </p:cNvPr>
          <p:cNvSpPr>
            <a:spLocks noGrp="1"/>
          </p:cNvSpPr>
          <p:nvPr>
            <p:ph type="body" sz="quarter" idx="21" hasCustomPrompt="1"/>
          </p:nvPr>
        </p:nvSpPr>
        <p:spPr>
          <a:xfrm>
            <a:off x="304800" y="201599"/>
            <a:ext cx="4876800" cy="118872"/>
          </a:xfrm>
        </p:spPr>
        <p:txBody>
          <a:bodyPr lIns="18288" anchor="t" anchorCtr="0"/>
          <a:lstStyle>
            <a:lvl1pPr algn="l">
              <a:spcBef>
                <a:spcPts val="0"/>
              </a:spcBef>
              <a:spcAft>
                <a:spcPts val="0"/>
              </a:spcAft>
              <a:defRPr sz="800" b="1" i="0" cap="all" baseline="0">
                <a:solidFill>
                  <a:schemeClr val="accent2"/>
                </a:solidFill>
                <a:latin typeface="Montserrat SemiBold" pitchFamily="2" charset="77"/>
              </a:defRPr>
            </a:lvl1pPr>
          </a:lstStyle>
          <a:p>
            <a:pPr lvl="0"/>
            <a:r>
              <a:rPr lang="en-US"/>
              <a:t>enter CATEGORY HEADER</a:t>
            </a:r>
          </a:p>
        </p:txBody>
      </p:sp>
      <p:sp>
        <p:nvSpPr>
          <p:cNvPr id="3" name="Slide Number Placeholder 5">
            <a:extLst>
              <a:ext uri="{FF2B5EF4-FFF2-40B4-BE49-F238E27FC236}">
                <a16:creationId xmlns:a16="http://schemas.microsoft.com/office/drawing/2014/main" id="{97489CC3-32FD-415F-803A-B46C1310C7F2}"/>
              </a:ext>
            </a:extLst>
          </p:cNvPr>
          <p:cNvSpPr txBox="1">
            <a:spLocks/>
          </p:cNvSpPr>
          <p:nvPr userDrawn="1"/>
        </p:nvSpPr>
        <p:spPr>
          <a:xfrm>
            <a:off x="8016875" y="6583680"/>
            <a:ext cx="3657600" cy="128016"/>
          </a:xfrm>
          <a:prstGeom prst="rect">
            <a:avLst/>
          </a:prstGeom>
        </p:spPr>
        <p:txBody>
          <a:bodyPr vert="horz" lIns="0" tIns="0" rIns="0" bIns="0" anchor="b" anchorCtr="0"/>
          <a:lstStyle>
            <a:defPPr>
              <a:defRPr lang="en-US"/>
            </a:defPPr>
            <a:lvl1pPr marL="0" algn="ctr" defTabSz="914400" rtl="0" eaLnBrk="1" latinLnBrk="0" hangingPunct="1">
              <a:defRPr sz="1050" b="1" kern="1200">
                <a:solidFill>
                  <a:srgbClr val="003A32"/>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800" b="0" i="0" u="none" strike="noStrike" kern="1200" cap="all" spc="0" normalizeH="0" baseline="0" noProof="0">
              <a:ln>
                <a:noFill/>
              </a:ln>
              <a:solidFill>
                <a:schemeClr val="tx1"/>
              </a:solidFill>
              <a:effectLst/>
              <a:uLnTx/>
              <a:uFillTx/>
              <a:latin typeface="Roboto Condensed" panose="02000000000000000000" pitchFamily="2" charset="0"/>
              <a:ea typeface="Roboto Condensed" panose="02000000000000000000" pitchFamily="2" charset="0"/>
              <a:cs typeface="Arial" pitchFamily="34" charset="0"/>
            </a:endParaRPr>
          </a:p>
        </p:txBody>
      </p:sp>
    </p:spTree>
    <p:extLst>
      <p:ext uri="{BB962C8B-B14F-4D97-AF65-F5344CB8AC3E}">
        <p14:creationId xmlns:p14="http://schemas.microsoft.com/office/powerpoint/2010/main" val="20102065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19.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13487861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9-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a:t>Klik på ikonet for at tilføje et diagram</a:t>
            </a:r>
          </a:p>
        </p:txBody>
      </p:sp>
    </p:spTree>
    <p:extLst>
      <p:ext uri="{BB962C8B-B14F-4D97-AF65-F5344CB8AC3E}">
        <p14:creationId xmlns:p14="http://schemas.microsoft.com/office/powerpoint/2010/main" val="23905165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6E99AFA0-ED0A-4B8F-97E2-C214875512D2}" type="datetime1">
              <a:rPr lang="da-DK" noProof="0" smtClean="0"/>
              <a:t>19-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842807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oleObject" Target="../embeddings/oleObject4.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ags" Target="../tags/tag4.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heme" Target="../theme/theme2.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image" Target="../media/image1.emf"/><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oleObject" Target="../embeddings/oleObject1.bin"/><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tags" Target="../tags/tag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heme" Target="../theme/theme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8"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9"/>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E494B4-2572-4B14-8FDD-4F1D1CAD4BEE}" type="datetime1">
              <a:rPr lang="da-DK" smtClean="0"/>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411973481"/>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4" r:id="rId3"/>
    <p:sldLayoutId id="2147483678" r:id="rId4"/>
    <p:sldLayoutId id="2147483661" r:id="rId5"/>
    <p:sldLayoutId id="2147483690" r:id="rId6"/>
    <p:sldLayoutId id="2147483676" r:id="rId7"/>
    <p:sldLayoutId id="2147483687" r:id="rId8"/>
    <p:sldLayoutId id="2147483698" r:id="rId9"/>
    <p:sldLayoutId id="2147483689" r:id="rId10"/>
    <p:sldLayoutId id="2147483680" r:id="rId11"/>
    <p:sldLayoutId id="2147483694" r:id="rId12"/>
    <p:sldLayoutId id="2147483683" r:id="rId13"/>
    <p:sldLayoutId id="2147483681" r:id="rId14"/>
    <p:sldLayoutId id="2147483699" r:id="rId15"/>
    <p:sldLayoutId id="2147483765" r:id="rId16"/>
    <p:sldLayoutId id="2147483790" r:id="rId17"/>
    <p:sldLayoutId id="2147483791" r:id="rId18"/>
    <p:sldLayoutId id="2147483679" r:id="rId19"/>
    <p:sldLayoutId id="2147483703" r:id="rId20"/>
    <p:sldLayoutId id="2147483691" r:id="rId21"/>
    <p:sldLayoutId id="2147483697" r:id="rId22"/>
    <p:sldLayoutId id="2147483700" r:id="rId23"/>
    <p:sldLayoutId id="2147483682" r:id="rId24"/>
    <p:sldLayoutId id="2147483796" r:id="rId25"/>
    <p:sldLayoutId id="2147483794" r:id="rId26"/>
    <p:sldLayoutId id="2147483797" r:id="rId27"/>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noChangeAspect="1"/>
          </p:cNvGraphicFramePr>
          <p:nvPr userDrawn="1">
            <p:custDataLst>
              <p:tags r:id="rId28"/>
            </p:custDataLst>
            <p:extLst>
              <p:ext uri="{D42A27DB-BD31-4B8C-83A1-F6EECF244321}">
                <p14:modId xmlns:p14="http://schemas.microsoft.com/office/powerpoint/2010/main" val="10933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19EDCF-8AA9-4335-AE48-9235FCDD9E89}" type="datetime1">
              <a:rPr lang="da-DK" smtClean="0"/>
              <a:t>19-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141737224"/>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67" r:id="rId3"/>
    <p:sldLayoutId id="2147483768" r:id="rId4"/>
    <p:sldLayoutId id="2147483773" r:id="rId5"/>
    <p:sldLayoutId id="2147483774" r:id="rId6"/>
    <p:sldLayoutId id="2147483772" r:id="rId7"/>
    <p:sldLayoutId id="2147483775" r:id="rId8"/>
    <p:sldLayoutId id="2147483776" r:id="rId9"/>
    <p:sldLayoutId id="2147483777" r:id="rId10"/>
    <p:sldLayoutId id="2147483778" r:id="rId11"/>
    <p:sldLayoutId id="2147483779" r:id="rId12"/>
    <p:sldLayoutId id="2147483780" r:id="rId13"/>
    <p:sldLayoutId id="2147483795" r:id="rId14"/>
    <p:sldLayoutId id="2147483781" r:id="rId15"/>
    <p:sldLayoutId id="2147483782" r:id="rId16"/>
    <p:sldLayoutId id="2147483792" r:id="rId17"/>
    <p:sldLayoutId id="2147483793" r:id="rId18"/>
    <p:sldLayoutId id="2147483783" r:id="rId19"/>
    <p:sldLayoutId id="2147483784" r:id="rId20"/>
    <p:sldLayoutId id="2147483785" r:id="rId21"/>
    <p:sldLayoutId id="2147483786" r:id="rId22"/>
    <p:sldLayoutId id="2147483787" r:id="rId23"/>
    <p:sldLayoutId id="2147483788" r:id="rId24"/>
    <p:sldLayoutId id="2147483789" r:id="rId25"/>
    <p:sldLayoutId id="2147483798" r:id="rId26"/>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32"/>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5" progId="TCLayout.ActiveDocument.1">
                  <p:embed/>
                </p:oleObj>
              </mc:Choice>
              <mc:Fallback>
                <p:oleObj name="think-cell Slide" r:id="rId33"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19-03-2026</a:t>
            </a:fld>
            <a:endParaRPr lang="da-DK" noProof="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a:t>
            </a:fld>
            <a:endParaRPr lang="da-DK" noProof="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a:p>
        </p:txBody>
      </p:sp>
    </p:spTree>
    <p:extLst>
      <p:ext uri="{BB962C8B-B14F-4D97-AF65-F5344CB8AC3E}">
        <p14:creationId xmlns:p14="http://schemas.microsoft.com/office/powerpoint/2010/main" val="1897895891"/>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 id="2147483829" r:id="rId30"/>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0.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Layout" Target="../slideLayouts/slideLayout37.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hyperlink" Target="https://bankinvest.dk/permlink/ba/gabu" TargetMode="External"/><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1.xml"/><Relationship Id="rId1" Type="http://schemas.openxmlformats.org/officeDocument/2006/relationships/tags" Target="../tags/tag11.x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3.xml"/><Relationship Id="rId1" Type="http://schemas.openxmlformats.org/officeDocument/2006/relationships/tags" Target="../tags/tag1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https://bankinvest.dk/alle-produkter/aktier/globale-aktier-akk-a/" TargetMode="External"/><Relationship Id="rId1" Type="http://schemas.openxmlformats.org/officeDocument/2006/relationships/slideLayout" Target="../slideLayouts/slideLayout5.xml"/><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dsholder til billede 7">
            <a:extLst>
              <a:ext uri="{FF2B5EF4-FFF2-40B4-BE49-F238E27FC236}">
                <a16:creationId xmlns:a16="http://schemas.microsoft.com/office/drawing/2014/main" id="{8B2F1BFA-1C9E-63CA-5534-37FC2C61223D}"/>
              </a:ext>
            </a:extLst>
          </p:cNvPr>
          <p:cNvPicPr>
            <a:picLocks noGrp="1" noChangeAspect="1"/>
          </p:cNvPicPr>
          <p:nvPr>
            <p:ph type="pic" sz="quarter" idx="14"/>
          </p:nvPr>
        </p:nvPicPr>
        <p:blipFill>
          <a:blip r:embed="rId2" cstate="screen">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l="25356" t="8073" r="14120" b="1288"/>
          <a:stretch>
            <a:fillRect/>
          </a:stretch>
        </p:blipFill>
        <p:spPr>
          <a:xfrm>
            <a:off x="6431999" y="766"/>
            <a:ext cx="5760000" cy="5759234"/>
          </a:xfrm>
        </p:spPr>
      </p:pic>
      <p:sp>
        <p:nvSpPr>
          <p:cNvPr id="3" name="Titel 2">
            <a:extLst>
              <a:ext uri="{FF2B5EF4-FFF2-40B4-BE49-F238E27FC236}">
                <a16:creationId xmlns:a16="http://schemas.microsoft.com/office/drawing/2014/main" id="{F0DFF2F5-3840-F58E-3D2C-19FE65E915CC}"/>
              </a:ext>
            </a:extLst>
          </p:cNvPr>
          <p:cNvSpPr>
            <a:spLocks noGrp="1"/>
          </p:cNvSpPr>
          <p:nvPr>
            <p:ph type="ctrTitle"/>
          </p:nvPr>
        </p:nvSpPr>
        <p:spPr/>
        <p:txBody>
          <a:bodyPr/>
          <a:lstStyle/>
          <a:p>
            <a:r>
              <a:rPr lang="en-US" err="1"/>
              <a:t>Globale</a:t>
            </a:r>
            <a:r>
              <a:rPr lang="en-US"/>
              <a:t> </a:t>
            </a:r>
            <a:r>
              <a:rPr lang="en-US" err="1"/>
              <a:t>Aktier</a:t>
            </a:r>
            <a:r>
              <a:rPr lang="en-US"/>
              <a:t> </a:t>
            </a:r>
            <a:endParaRPr lang="da-DK"/>
          </a:p>
        </p:txBody>
      </p:sp>
      <p:sp>
        <p:nvSpPr>
          <p:cNvPr id="4" name="Undertitel 3">
            <a:extLst>
              <a:ext uri="{FF2B5EF4-FFF2-40B4-BE49-F238E27FC236}">
                <a16:creationId xmlns:a16="http://schemas.microsoft.com/office/drawing/2014/main" id="{6E4CC5BB-06ED-C692-BA57-49A42D881903}"/>
              </a:ext>
            </a:extLst>
          </p:cNvPr>
          <p:cNvSpPr>
            <a:spLocks noGrp="1"/>
          </p:cNvSpPr>
          <p:nvPr>
            <p:ph type="subTitle" idx="1"/>
          </p:nvPr>
        </p:nvSpPr>
        <p:spPr>
          <a:xfrm>
            <a:off x="441541" y="4577514"/>
            <a:ext cx="7535863" cy="576000"/>
          </a:xfrm>
        </p:spPr>
        <p:txBody>
          <a:bodyPr/>
          <a:lstStyle/>
          <a:p>
            <a:r>
              <a:rPr lang="en-US" err="1"/>
              <a:t>Produktpræsentation</a:t>
            </a:r>
            <a:endParaRPr lang="da-DK"/>
          </a:p>
        </p:txBody>
      </p:sp>
      <p:sp>
        <p:nvSpPr>
          <p:cNvPr id="6" name="Pladsholder til slidenummer 5">
            <a:extLst>
              <a:ext uri="{FF2B5EF4-FFF2-40B4-BE49-F238E27FC236}">
                <a16:creationId xmlns:a16="http://schemas.microsoft.com/office/drawing/2014/main" id="{1AD4D0C5-448F-4ACE-5F76-B5654481BE90}"/>
              </a:ext>
            </a:extLst>
          </p:cNvPr>
          <p:cNvSpPr>
            <a:spLocks noGrp="1"/>
          </p:cNvSpPr>
          <p:nvPr>
            <p:ph type="sldNum" sz="quarter" idx="17"/>
          </p:nvPr>
        </p:nvSpPr>
        <p:spPr/>
        <p:txBody>
          <a:bodyPr/>
          <a:lstStyle/>
          <a:p>
            <a:fld id="{FA9C6259-F55B-47A6-AB0B-9E9F0835A2F0}" type="slidenum">
              <a:rPr lang="da-DK" noProof="0" smtClean="0"/>
              <a:pPr/>
              <a:t>1</a:t>
            </a:fld>
            <a:endParaRPr lang="da-DK" noProof="0"/>
          </a:p>
        </p:txBody>
      </p:sp>
      <p:sp>
        <p:nvSpPr>
          <p:cNvPr id="2" name="Pladsholder til sidefod 4">
            <a:extLst>
              <a:ext uri="{FF2B5EF4-FFF2-40B4-BE49-F238E27FC236}">
                <a16:creationId xmlns:a16="http://schemas.microsoft.com/office/drawing/2014/main" id="{BB2D2AC6-1811-E3B9-1EC1-FAA24137CF4F}"/>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solidFill>
                  <a:schemeClr val="tx2"/>
                </a:solidFill>
                <a:latin typeface="+mj-lt"/>
              </a:rPr>
              <a:t>Markedsføringsmateriale</a:t>
            </a:r>
            <a:endParaRPr lang="da-DK" sz="1200">
              <a:solidFill>
                <a:schemeClr val="tx2"/>
              </a:solidFill>
              <a:latin typeface="+mj-lt"/>
            </a:endParaRPr>
          </a:p>
        </p:txBody>
      </p:sp>
    </p:spTree>
    <p:extLst>
      <p:ext uri="{BB962C8B-B14F-4D97-AF65-F5344CB8AC3E}">
        <p14:creationId xmlns:p14="http://schemas.microsoft.com/office/powerpoint/2010/main" val="1804826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191BF9E7-FED5-DE6C-8AD2-7136A1E230FE}"/>
              </a:ext>
            </a:extLst>
          </p:cNvPr>
          <p:cNvSpPr>
            <a:spLocks noGrp="1"/>
          </p:cNvSpPr>
          <p:nvPr>
            <p:ph type="subTitle" idx="1"/>
          </p:nvPr>
        </p:nvSpPr>
        <p:spPr/>
        <p:txBody>
          <a:bodyPr/>
          <a:lstStyle/>
          <a:p>
            <a:pPr fontAlgn="base"/>
            <a:r>
              <a:rPr lang="da-DK"/>
              <a:t>Materialet er produceret af BankInvest-koncernen (BankInvest) og skal anses som markedsføringsmateriale.</a:t>
            </a:r>
          </a:p>
          <a:p>
            <a:pPr fontAlgn="base"/>
            <a:endParaRPr lang="da-DK"/>
          </a:p>
          <a:p>
            <a:pPr fontAlgn="base"/>
            <a:r>
              <a:rPr lang="da-DK"/>
              <a:t>Formålet med materialet er at give generel information om udviklingen i investeringsproduktet og skal ikke betragtes som en investeringsanbefaling. Eventuel omtale af selskaber og værdipapirer skal alene ses i forhold til investeringsproduktets portefølje- og risikoprofil. 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  </a:t>
            </a:r>
          </a:p>
          <a:p>
            <a:pPr fontAlgn="base"/>
            <a:endParaRPr lang="da-DK"/>
          </a:p>
          <a:p>
            <a:pPr fontAlgn="base"/>
            <a:r>
              <a:rPr lang="da-DK"/>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a:p>
            <a:endParaRPr lang="da-DK"/>
          </a:p>
        </p:txBody>
      </p:sp>
      <p:sp>
        <p:nvSpPr>
          <p:cNvPr id="4" name="Titel 3">
            <a:extLst>
              <a:ext uri="{FF2B5EF4-FFF2-40B4-BE49-F238E27FC236}">
                <a16:creationId xmlns:a16="http://schemas.microsoft.com/office/drawing/2014/main" id="{D274839B-3957-9267-6741-F3C0FFAAFE91}"/>
              </a:ext>
            </a:extLst>
          </p:cNvPr>
          <p:cNvSpPr>
            <a:spLocks noGrp="1"/>
          </p:cNvSpPr>
          <p:nvPr>
            <p:ph type="title"/>
          </p:nvPr>
        </p:nvSpPr>
        <p:spPr/>
        <p:txBody>
          <a:bodyPr/>
          <a:lstStyle/>
          <a:p>
            <a:r>
              <a:rPr lang="en-US"/>
              <a:t>Disclaimer</a:t>
            </a:r>
            <a:endParaRPr lang="da-DK"/>
          </a:p>
        </p:txBody>
      </p:sp>
      <p:sp>
        <p:nvSpPr>
          <p:cNvPr id="5" name="Pladsholder til slidenummer 4">
            <a:extLst>
              <a:ext uri="{FF2B5EF4-FFF2-40B4-BE49-F238E27FC236}">
                <a16:creationId xmlns:a16="http://schemas.microsoft.com/office/drawing/2014/main" id="{D15900F4-3A9E-A835-30F7-40D69103F5B4}"/>
              </a:ext>
            </a:extLst>
          </p:cNvPr>
          <p:cNvSpPr>
            <a:spLocks noGrp="1"/>
          </p:cNvSpPr>
          <p:nvPr>
            <p:ph type="sldNum" sz="quarter" idx="4"/>
          </p:nvPr>
        </p:nvSpPr>
        <p:spPr/>
        <p:txBody>
          <a:bodyPr/>
          <a:lstStyle/>
          <a:p>
            <a:fld id="{FA9C6259-F55B-47A6-AB0B-9E9F0835A2F0}" type="slidenum">
              <a:rPr lang="da-DK" noProof="0" smtClean="0"/>
              <a:pPr/>
              <a:t>10</a:t>
            </a:fld>
            <a:endParaRPr lang="da-DK" noProof="0"/>
          </a:p>
        </p:txBody>
      </p:sp>
      <p:pic>
        <p:nvPicPr>
          <p:cNvPr id="6" name="Grafik 10">
            <a:extLst>
              <a:ext uri="{FF2B5EF4-FFF2-40B4-BE49-F238E27FC236}">
                <a16:creationId xmlns:a16="http://schemas.microsoft.com/office/drawing/2014/main" id="{7E2DE9F0-5381-9F17-FFFD-9F7B2A1CF7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0310060" y="6430133"/>
            <a:ext cx="1436534" cy="143999"/>
          </a:xfrm>
          <a:prstGeom prst="rect">
            <a:avLst/>
          </a:prstGeom>
        </p:spPr>
      </p:pic>
    </p:spTree>
    <p:extLst>
      <p:ext uri="{BB962C8B-B14F-4D97-AF65-F5344CB8AC3E}">
        <p14:creationId xmlns:p14="http://schemas.microsoft.com/office/powerpoint/2010/main" val="469693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65EADD2-B3A2-B09B-7B24-F988CB484E66}"/>
              </a:ext>
            </a:extLst>
          </p:cNvPr>
          <p:cNvSpPr>
            <a:spLocks noGrp="1"/>
          </p:cNvSpPr>
          <p:nvPr>
            <p:ph type="title"/>
          </p:nvPr>
        </p:nvSpPr>
        <p:spPr/>
        <p:txBody>
          <a:bodyPr/>
          <a:lstStyle/>
          <a:p>
            <a:br>
              <a:rPr lang="da-DK">
                <a:solidFill>
                  <a:srgbClr val="193A5F"/>
                </a:solidFill>
                <a:latin typeface="Work Sans Light" pitchFamily="2" charset="0"/>
              </a:rPr>
            </a:br>
            <a:r>
              <a:rPr lang="da-DK">
                <a:solidFill>
                  <a:srgbClr val="193A5F"/>
                </a:solidFill>
                <a:latin typeface="Work Sans Light" pitchFamily="2" charset="0"/>
              </a:rPr>
              <a:t>Fakta om produktet</a:t>
            </a:r>
            <a:br>
              <a:rPr lang="da-DK">
                <a:solidFill>
                  <a:srgbClr val="193A5F"/>
                </a:solidFill>
                <a:latin typeface="Work Sans Light" pitchFamily="2" charset="0"/>
              </a:rPr>
            </a:br>
            <a:endParaRPr lang="da-DK"/>
          </a:p>
        </p:txBody>
      </p:sp>
      <p:graphicFrame>
        <p:nvGraphicFramePr>
          <p:cNvPr id="9" name="think-cell data - do not delete" hidden="1">
            <a:extLst>
              <a:ext uri="{FF2B5EF4-FFF2-40B4-BE49-F238E27FC236}">
                <a16:creationId xmlns:a16="http://schemas.microsoft.com/office/drawing/2014/main" id="{3A631345-02E4-5AAA-4313-3A6634D88F8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3A631345-02E4-5AAA-4313-3A6634D88F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ound Single Corner of Rectangle 4">
            <a:extLst>
              <a:ext uri="{FF2B5EF4-FFF2-40B4-BE49-F238E27FC236}">
                <a16:creationId xmlns:a16="http://schemas.microsoft.com/office/drawing/2014/main" id="{83137816-7B29-EE07-76A4-30F53ABA93F9}"/>
              </a:ext>
            </a:extLst>
          </p:cNvPr>
          <p:cNvSpPr/>
          <p:nvPr/>
        </p:nvSpPr>
        <p:spPr>
          <a:xfrm flipH="1">
            <a:off x="8434836"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Benchma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5304E"/>
                </a:solidFill>
                <a:effectLst/>
                <a:uLnTx/>
                <a:uFillTx/>
                <a:latin typeface="Work Sans Light" pitchFamily="2" charset="0"/>
                <a:ea typeface="+mn-ea"/>
                <a:cs typeface="+mn-cs"/>
              </a:rPr>
              <a:t>MSCI All Country Worl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15304E"/>
                </a:solidFill>
                <a:effectLst/>
                <a:uLnTx/>
                <a:uFillTx/>
                <a:latin typeface="Work Sans Light" pitchFamily="2" charset="0"/>
                <a:ea typeface="+mn-ea"/>
                <a:cs typeface="+mn-cs"/>
              </a:rPr>
              <a:t>inkl</a:t>
            </a:r>
            <a:r>
              <a:rPr kumimoji="0" lang="en-US" sz="1400" b="0" i="0" u="none" strike="noStrike" kern="1200" cap="none" spc="0" normalizeH="0" baseline="0" noProof="0">
                <a:ln>
                  <a:noFill/>
                </a:ln>
                <a:solidFill>
                  <a:srgbClr val="15304E"/>
                </a:solidFill>
                <a:effectLst/>
                <a:uLnTx/>
                <a:uFillTx/>
                <a:latin typeface="Work Sans Light" pitchFamily="2" charset="0"/>
                <a:ea typeface="+mn-ea"/>
                <a:cs typeface="+mn-cs"/>
              </a:rPr>
              <a:t>. </a:t>
            </a:r>
            <a:r>
              <a:rPr kumimoji="0" lang="en-US" sz="1400" b="0" i="0" u="none" strike="noStrike" kern="1200" cap="none" spc="0" normalizeH="0" baseline="0" noProof="0" err="1">
                <a:ln>
                  <a:noFill/>
                </a:ln>
                <a:solidFill>
                  <a:srgbClr val="15304E"/>
                </a:solidFill>
                <a:effectLst/>
                <a:uLnTx/>
                <a:uFillTx/>
                <a:latin typeface="Work Sans Light" pitchFamily="2" charset="0"/>
                <a:ea typeface="+mn-ea"/>
                <a:cs typeface="+mn-cs"/>
              </a:rPr>
              <a:t>nettoudbytte</a:t>
            </a:r>
            <a:endParaRPr kumimoji="0" lang="da-DK" sz="1400" b="0" i="0" u="none" strike="noStrike" kern="1200" cap="none" spc="0" normalizeH="0" baseline="0" noProof="0">
              <a:ln>
                <a:noFill/>
              </a:ln>
              <a:solidFill>
                <a:srgbClr val="15304E"/>
              </a:solidFill>
              <a:effectLst/>
              <a:uLnTx/>
              <a:uFillTx/>
              <a:latin typeface="Century Gothic" panose="020F0302020204030204"/>
              <a:ea typeface="+mn-ea"/>
              <a:cs typeface="+mn-cs"/>
            </a:endParaRPr>
          </a:p>
        </p:txBody>
      </p:sp>
      <p:sp>
        <p:nvSpPr>
          <p:cNvPr id="8" name="Round Single Corner of Rectangle 4">
            <a:extLst>
              <a:ext uri="{FF2B5EF4-FFF2-40B4-BE49-F238E27FC236}">
                <a16:creationId xmlns:a16="http://schemas.microsoft.com/office/drawing/2014/main" id="{75D4F3B8-2107-3D92-EF16-A797DFB32254}"/>
              </a:ext>
            </a:extLst>
          </p:cNvPr>
          <p:cNvSpPr/>
          <p:nvPr/>
        </p:nvSpPr>
        <p:spPr>
          <a:xfrm flipH="1">
            <a:off x="8434835"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Portefølj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15304E"/>
                </a:solidFill>
                <a:effectLst/>
                <a:uLnTx/>
                <a:uFillTx/>
                <a:latin typeface="Work Sans Light" pitchFamily="2" charset="0"/>
                <a:ea typeface="+mn-ea"/>
                <a:cs typeface="+mn-cs"/>
              </a:rPr>
              <a:t>Ca. 180 selskab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15304E"/>
              </a:solidFill>
              <a:effectLst/>
              <a:uLnTx/>
              <a:uFillTx/>
              <a:latin typeface="Century Gothic" panose="020F0302020204030204"/>
              <a:ea typeface="+mn-ea"/>
              <a:cs typeface="+mn-cs"/>
            </a:endParaRPr>
          </a:p>
        </p:txBody>
      </p:sp>
      <p:sp>
        <p:nvSpPr>
          <p:cNvPr id="10" name="Round Single Corner of Rectangle 4">
            <a:extLst>
              <a:ext uri="{FF2B5EF4-FFF2-40B4-BE49-F238E27FC236}">
                <a16:creationId xmlns:a16="http://schemas.microsoft.com/office/drawing/2014/main" id="{BBB30B59-2455-FE0C-FEE9-6B52D8258FA9}"/>
              </a:ext>
            </a:extLst>
          </p:cNvPr>
          <p:cNvSpPr/>
          <p:nvPr/>
        </p:nvSpPr>
        <p:spPr>
          <a:xfrm flipH="1">
            <a:off x="8434836" y="4792573"/>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ESG</a:t>
            </a:r>
          </a:p>
          <a:p>
            <a:pPr lvl="0">
              <a:defRPr/>
            </a:pPr>
            <a:r>
              <a:rPr lang="da-DK" sz="1400">
                <a:solidFill>
                  <a:srgbClr val="15304E"/>
                </a:solidFill>
                <a:latin typeface="Work Sans Light" pitchFamily="2" charset="0"/>
              </a:rPr>
              <a:t>Artikel 8-fond med minimum 40 % bæredygtige investeringer</a:t>
            </a:r>
          </a:p>
        </p:txBody>
      </p:sp>
      <p:sp>
        <p:nvSpPr>
          <p:cNvPr id="14" name="Round Single Corner of Rectangle 4">
            <a:extLst>
              <a:ext uri="{FF2B5EF4-FFF2-40B4-BE49-F238E27FC236}">
                <a16:creationId xmlns:a16="http://schemas.microsoft.com/office/drawing/2014/main" id="{0102D7AF-62CD-8175-8D9F-7F56E99FF020}"/>
              </a:ext>
            </a:extLst>
          </p:cNvPr>
          <p:cNvSpPr/>
          <p:nvPr/>
        </p:nvSpPr>
        <p:spPr>
          <a:xfrm flipH="1">
            <a:off x="4865975"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Tilgang</a:t>
            </a:r>
            <a:r>
              <a:rPr lang="da-DK" sz="1200" b="1">
                <a:solidFill>
                  <a:srgbClr val="4DBCC6"/>
                </a:solidFill>
                <a:latin typeface="Work Sans Light" pitchFamily="2" charset="0"/>
              </a:rPr>
              <a:t>/strategi</a:t>
            </a:r>
            <a:endPar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a:solidFill>
                  <a:srgbClr val="15304E"/>
                </a:solidFill>
                <a:latin typeface="Work Sans Light" pitchFamily="2" charset="0"/>
              </a:rPr>
              <a:t>Køber b</a:t>
            </a:r>
            <a:r>
              <a:rPr kumimoji="0" lang="da-DK" sz="1400" b="0" i="0" u="none" strike="noStrike" kern="1200" cap="none" spc="0" normalizeH="0" baseline="0" noProof="0">
                <a:ln>
                  <a:noFill/>
                </a:ln>
                <a:solidFill>
                  <a:srgbClr val="15304E"/>
                </a:solidFill>
                <a:effectLst/>
                <a:uLnTx/>
                <a:uFillTx/>
                <a:latin typeface="Work Sans Light" pitchFamily="2" charset="0"/>
                <a:ea typeface="+mn-ea"/>
                <a:cs typeface="+mn-cs"/>
              </a:rPr>
              <a:t>illige kvalitetsaktier med positiv momentum og vækst i indtjeningen</a:t>
            </a:r>
            <a:endParaRPr kumimoji="0" lang="da-DK" sz="1400" b="0" i="0" u="none" strike="noStrike" kern="1200" cap="none" spc="0" normalizeH="0" baseline="0" noProof="0">
              <a:ln>
                <a:noFill/>
              </a:ln>
              <a:solidFill>
                <a:srgbClr val="15304E"/>
              </a:solidFill>
              <a:effectLst/>
              <a:uLnTx/>
              <a:uFillTx/>
              <a:latin typeface="Century Gothic" panose="020F0302020204030204"/>
              <a:ea typeface="+mn-ea"/>
              <a:cs typeface="+mn-cs"/>
            </a:endParaRPr>
          </a:p>
        </p:txBody>
      </p:sp>
      <p:sp>
        <p:nvSpPr>
          <p:cNvPr id="15" name="Round Single Corner of Rectangle 4">
            <a:extLst>
              <a:ext uri="{FF2B5EF4-FFF2-40B4-BE49-F238E27FC236}">
                <a16:creationId xmlns:a16="http://schemas.microsoft.com/office/drawing/2014/main" id="{9BC791E5-FF0F-02DC-3C7F-87A25E9F9AE8}"/>
              </a:ext>
            </a:extLst>
          </p:cNvPr>
          <p:cNvSpPr/>
          <p:nvPr/>
        </p:nvSpPr>
        <p:spPr>
          <a:xfrm flipH="1">
            <a:off x="4865974"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b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Investeringsunivers</a:t>
            </a:r>
          </a:p>
          <a:p>
            <a:pPr lvl="0">
              <a:defRPr/>
            </a:pPr>
            <a:r>
              <a:rPr lang="da-DK" sz="1400">
                <a:solidFill>
                  <a:srgbClr val="15304E"/>
                </a:solidFill>
                <a:latin typeface="Work Sans Light" pitchFamily="2" charset="0"/>
              </a:rPr>
              <a:t>Investerer i virksomheder over hele verden, inkl. </a:t>
            </a:r>
            <a:r>
              <a:rPr lang="da-DK" sz="1400" err="1">
                <a:solidFill>
                  <a:srgbClr val="15304E"/>
                </a:solidFill>
                <a:latin typeface="Work Sans Light" pitchFamily="2" charset="0"/>
              </a:rPr>
              <a:t>emerging</a:t>
            </a:r>
            <a:r>
              <a:rPr lang="da-DK" sz="1400">
                <a:solidFill>
                  <a:srgbClr val="15304E"/>
                </a:solidFill>
                <a:latin typeface="Work Sans Light" pitchFamily="2" charset="0"/>
              </a:rPr>
              <a:t> </a:t>
            </a:r>
            <a:r>
              <a:rPr lang="da-DK" sz="1400" err="1">
                <a:solidFill>
                  <a:srgbClr val="15304E"/>
                </a:solidFill>
                <a:latin typeface="Work Sans Light" pitchFamily="2" charset="0"/>
              </a:rPr>
              <a:t>markets</a:t>
            </a:r>
            <a:r>
              <a:rPr lang="da-DK" sz="1400">
                <a:solidFill>
                  <a:srgbClr val="15304E"/>
                </a:solidFill>
                <a:latin typeface="Work Sans Light" pitchFamily="2" charset="0"/>
              </a:rPr>
              <a:t> </a:t>
            </a:r>
            <a:br>
              <a:rPr lang="da-DK" sz="1400">
                <a:solidFill>
                  <a:srgbClr val="15304E"/>
                </a:solidFill>
                <a:latin typeface="Work Sans Light" pitchFamily="2" charset="0"/>
              </a:rPr>
            </a:br>
            <a:r>
              <a:rPr lang="da-DK" sz="1400">
                <a:solidFill>
                  <a:srgbClr val="15304E"/>
                </a:solidFill>
                <a:latin typeface="Work Sans Light" pitchFamily="2" charset="0"/>
              </a:rPr>
              <a:t>(cirka 10 %)</a:t>
            </a:r>
          </a:p>
        </p:txBody>
      </p:sp>
      <p:sp>
        <p:nvSpPr>
          <p:cNvPr id="16" name="Round Single Corner of Rectangle 4">
            <a:extLst>
              <a:ext uri="{FF2B5EF4-FFF2-40B4-BE49-F238E27FC236}">
                <a16:creationId xmlns:a16="http://schemas.microsoft.com/office/drawing/2014/main" id="{AC3886A5-75C5-6158-31AC-620BD5188ED8}"/>
              </a:ext>
            </a:extLst>
          </p:cNvPr>
          <p:cNvSpPr/>
          <p:nvPr/>
        </p:nvSpPr>
        <p:spPr>
          <a:xfrm flipH="1">
            <a:off x="4865975" y="4792573"/>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Startda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15304E"/>
                </a:solidFill>
                <a:effectLst/>
                <a:uLnTx/>
                <a:uFillTx/>
                <a:latin typeface="Work Sans Light" pitchFamily="2" charset="0"/>
                <a:ea typeface="+mn-ea"/>
                <a:cs typeface="+mn-cs"/>
              </a:rPr>
              <a:t>22.06.2020 (Globale Aktier A.)</a:t>
            </a:r>
          </a:p>
        </p:txBody>
      </p:sp>
      <p:pic>
        <p:nvPicPr>
          <p:cNvPr id="5" name="Billede 4" descr="Fodgængere, der går på fodgængerovergang">
            <a:extLst>
              <a:ext uri="{FF2B5EF4-FFF2-40B4-BE49-F238E27FC236}">
                <a16:creationId xmlns:a16="http://schemas.microsoft.com/office/drawing/2014/main" id="{90807C49-410E-2A56-179B-23B0FD23D7D2}"/>
              </a:ext>
            </a:extLst>
          </p:cNvPr>
          <p:cNvPicPr>
            <a:picLocks noChangeAspect="1"/>
          </p:cNvPicPr>
          <p:nvPr/>
        </p:nvPicPr>
        <p:blipFill>
          <a:blip r:embed="rId6" cstate="screen">
            <a:extLst>
              <a:ext uri="{28A0092B-C50C-407E-A947-70E740481C1C}">
                <a14:useLocalDpi xmlns:a14="http://schemas.microsoft.com/office/drawing/2010/main"/>
              </a:ext>
            </a:extLst>
          </a:blip>
          <a:srcRect l="13446" r="13446"/>
          <a:stretch/>
        </p:blipFill>
        <p:spPr>
          <a:xfrm>
            <a:off x="-1006764" y="1790457"/>
            <a:ext cx="4732628" cy="4320000"/>
          </a:xfrm>
          <a:prstGeom prst="flowChartConnector">
            <a:avLst/>
          </a:prstGeom>
        </p:spPr>
      </p:pic>
      <p:sp>
        <p:nvSpPr>
          <p:cNvPr id="4" name="Undertitel 3">
            <a:extLst>
              <a:ext uri="{FF2B5EF4-FFF2-40B4-BE49-F238E27FC236}">
                <a16:creationId xmlns:a16="http://schemas.microsoft.com/office/drawing/2014/main" id="{02F14FAE-92EF-C8A8-F6EF-C22BE6240F5C}"/>
              </a:ext>
            </a:extLst>
          </p:cNvPr>
          <p:cNvSpPr>
            <a:spLocks noGrp="1"/>
          </p:cNvSpPr>
          <p:nvPr>
            <p:ph type="subTitle" idx="1"/>
          </p:nvPr>
        </p:nvSpPr>
        <p:spPr/>
        <p:txBody>
          <a:bodyPr/>
          <a:lstStyle/>
          <a:p>
            <a:endParaRPr lang="da-DK"/>
          </a:p>
        </p:txBody>
      </p:sp>
      <p:sp>
        <p:nvSpPr>
          <p:cNvPr id="7" name="Pladsholder til sidefod 4">
            <a:extLst>
              <a:ext uri="{FF2B5EF4-FFF2-40B4-BE49-F238E27FC236}">
                <a16:creationId xmlns:a16="http://schemas.microsoft.com/office/drawing/2014/main" id="{3A462238-8D18-96E3-AB21-CFBADF6D7DE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mj-lt"/>
              </a:rPr>
              <a:t>Markedsføringsmateriale</a:t>
            </a:r>
            <a:endParaRPr lang="da-DK" sz="1200">
              <a:latin typeface="+mj-lt"/>
            </a:endParaRPr>
          </a:p>
        </p:txBody>
      </p:sp>
      <p:sp>
        <p:nvSpPr>
          <p:cNvPr id="11" name="Pladsholder til slidenummer 10">
            <a:extLst>
              <a:ext uri="{FF2B5EF4-FFF2-40B4-BE49-F238E27FC236}">
                <a16:creationId xmlns:a16="http://schemas.microsoft.com/office/drawing/2014/main" id="{4DD6AE51-0F22-D42B-858D-3B841BFB7F2A}"/>
              </a:ext>
            </a:extLst>
          </p:cNvPr>
          <p:cNvSpPr>
            <a:spLocks noGrp="1"/>
          </p:cNvSpPr>
          <p:nvPr>
            <p:ph type="sldNum" sz="quarter" idx="12"/>
          </p:nvPr>
        </p:nvSpPr>
        <p:spPr/>
        <p:txBody>
          <a:bodyPr/>
          <a:lstStyle/>
          <a:p>
            <a:fld id="{FA9C6259-F55B-47A6-AB0B-9E9F0835A2F0}" type="slidenum">
              <a:rPr lang="da-DK" noProof="0" smtClean="0"/>
              <a:pPr/>
              <a:t>2</a:t>
            </a:fld>
            <a:endParaRPr lang="da-DK" noProof="0"/>
          </a:p>
        </p:txBody>
      </p:sp>
    </p:spTree>
    <p:extLst>
      <p:ext uri="{BB962C8B-B14F-4D97-AF65-F5344CB8AC3E}">
        <p14:creationId xmlns:p14="http://schemas.microsoft.com/office/powerpoint/2010/main" val="2256952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dsholder til billede 11" descr="Et billede, der indeholder person, tøj, indendørs, Ansigt&#10;&#10;AI-genereret indhold kan være ukorrekt.">
            <a:extLst>
              <a:ext uri="{FF2B5EF4-FFF2-40B4-BE49-F238E27FC236}">
                <a16:creationId xmlns:a16="http://schemas.microsoft.com/office/drawing/2014/main" id="{B24D7246-EE7D-0777-F1C9-C74094550AA9}"/>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l="19548" t="10739" r="30288"/>
          <a:stretch>
            <a:fillRect/>
          </a:stretch>
        </p:blipFill>
        <p:spPr>
          <a:xfrm>
            <a:off x="8188364" y="1269001"/>
            <a:ext cx="4319999" cy="4319999"/>
          </a:xfrm>
        </p:spPr>
      </p:pic>
      <p:sp>
        <p:nvSpPr>
          <p:cNvPr id="7" name="Pladsholder til slidenummer 6">
            <a:extLst>
              <a:ext uri="{FF2B5EF4-FFF2-40B4-BE49-F238E27FC236}">
                <a16:creationId xmlns:a16="http://schemas.microsoft.com/office/drawing/2014/main" id="{EA64FD13-92B7-0022-9F6B-A2C90F1BC2DA}"/>
              </a:ext>
            </a:extLst>
          </p:cNvPr>
          <p:cNvSpPr>
            <a:spLocks noGrp="1"/>
          </p:cNvSpPr>
          <p:nvPr>
            <p:ph type="sldNum" sz="quarter" idx="16"/>
          </p:nvPr>
        </p:nvSpPr>
        <p:spPr/>
        <p:txBody>
          <a:bodyPr/>
          <a:lstStyle/>
          <a:p>
            <a:fld id="{FA9C6259-F55B-47A6-AB0B-9E9F0835A2F0}" type="slidenum">
              <a:rPr lang="da-DK" smtClean="0"/>
              <a:pPr/>
              <a:t>3</a:t>
            </a:fld>
            <a:endParaRPr lang="da-DK"/>
          </a:p>
        </p:txBody>
      </p:sp>
      <p:sp>
        <p:nvSpPr>
          <p:cNvPr id="15" name="Titel 2">
            <a:extLst>
              <a:ext uri="{FF2B5EF4-FFF2-40B4-BE49-F238E27FC236}">
                <a16:creationId xmlns:a16="http://schemas.microsoft.com/office/drawing/2014/main" id="{121D2F93-65DB-E54E-5298-4ECBC8B0E871}"/>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br>
              <a:rPr lang="da-DK" sz="2800">
                <a:latin typeface="Work Sans Light" pitchFamily="2" charset="0"/>
              </a:rPr>
            </a:br>
            <a:r>
              <a:rPr lang="da-DK" sz="2800">
                <a:solidFill>
                  <a:srgbClr val="193A5F"/>
                </a:solidFill>
                <a:latin typeface="Work Sans Light"/>
              </a:rPr>
              <a:t>Et erfarent team, der sammensætter og overvåger din investering</a:t>
            </a:r>
            <a:br>
              <a:rPr lang="da-DK" sz="2800">
                <a:latin typeface="Work Sans Light" pitchFamily="2" charset="0"/>
              </a:rPr>
            </a:br>
            <a:endParaRPr lang="da-DK" sz="2800"/>
          </a:p>
        </p:txBody>
      </p:sp>
      <p:sp>
        <p:nvSpPr>
          <p:cNvPr id="16" name="Undertitel 4">
            <a:extLst>
              <a:ext uri="{FF2B5EF4-FFF2-40B4-BE49-F238E27FC236}">
                <a16:creationId xmlns:a16="http://schemas.microsoft.com/office/drawing/2014/main" id="{073B21AA-8E2F-6396-76CF-FCF719EC61C2}"/>
              </a:ext>
            </a:extLst>
          </p:cNvPr>
          <p:cNvSpPr txBox="1">
            <a:spLocks/>
          </p:cNvSpPr>
          <p:nvPr/>
        </p:nvSpPr>
        <p:spPr>
          <a:xfrm>
            <a:off x="431799" y="2651906"/>
            <a:ext cx="7075203" cy="1989542"/>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ts val="300"/>
              </a:spcBef>
              <a:spcAft>
                <a:spcPts val="300"/>
              </a:spcAft>
            </a:pPr>
            <a:r>
              <a:rPr lang="da-DK" b="1">
                <a:solidFill>
                  <a:schemeClr val="tx2"/>
                </a:solidFill>
              </a:rPr>
              <a:t>Bag Globale Aktier står et erfarent team, der håndterer din investering. </a:t>
            </a:r>
          </a:p>
          <a:p>
            <a:pPr marL="285750" indent="-285750">
              <a:spcBef>
                <a:spcPts val="300"/>
              </a:spcBef>
              <a:spcAft>
                <a:spcPts val="300"/>
              </a:spcAft>
              <a:buFont typeface="Arial" panose="020B0604020202020204" pitchFamily="34" charset="0"/>
              <a:buChar char="•"/>
            </a:pPr>
            <a:r>
              <a:rPr lang="da-DK">
                <a:solidFill>
                  <a:schemeClr val="tx2"/>
                </a:solidFill>
              </a:rPr>
              <a:t>De følger de globale finansmarkeder nøje, identificerer økonomiske tendenser og analyserer virksomhedsdata. </a:t>
            </a:r>
          </a:p>
          <a:p>
            <a:pPr marL="285750" indent="-285750">
              <a:spcBef>
                <a:spcPts val="300"/>
              </a:spcBef>
              <a:spcAft>
                <a:spcPts val="300"/>
              </a:spcAft>
              <a:buFont typeface="Arial" panose="020B0604020202020204" pitchFamily="34" charset="0"/>
              <a:buChar char="•"/>
            </a:pPr>
            <a:r>
              <a:rPr lang="da-DK">
                <a:solidFill>
                  <a:schemeClr val="tx2"/>
                </a:solidFill>
              </a:rPr>
              <a:t>De vælger selskaber ud fra et stort univers af globale aktier. </a:t>
            </a:r>
          </a:p>
          <a:p>
            <a:pPr marL="285750" indent="-285750">
              <a:spcBef>
                <a:spcPts val="300"/>
              </a:spcBef>
              <a:spcAft>
                <a:spcPts val="300"/>
              </a:spcAft>
              <a:buFont typeface="Arial" panose="020B0604020202020204" pitchFamily="34" charset="0"/>
              <a:buChar char="•"/>
            </a:pPr>
            <a:r>
              <a:rPr lang="da-DK">
                <a:solidFill>
                  <a:schemeClr val="tx2"/>
                </a:solidFill>
              </a:rPr>
              <a:t>De sammensætter den bedst mulige portefølje og tilpasser den løbende, så dine penge altid har de bedste vilkår. </a:t>
            </a:r>
          </a:p>
          <a:p>
            <a:pPr>
              <a:spcBef>
                <a:spcPts val="300"/>
              </a:spcBef>
              <a:spcAft>
                <a:spcPts val="300"/>
              </a:spcAft>
            </a:pPr>
            <a:endParaRPr lang="da-DK">
              <a:solidFill>
                <a:schemeClr val="tx2"/>
              </a:solidFill>
            </a:endParaRPr>
          </a:p>
          <a:p>
            <a:pPr>
              <a:spcBef>
                <a:spcPts val="300"/>
              </a:spcBef>
              <a:spcAft>
                <a:spcPts val="300"/>
              </a:spcAft>
            </a:pPr>
            <a:endParaRPr lang="da-DK">
              <a:solidFill>
                <a:schemeClr val="tx2"/>
              </a:solidFill>
            </a:endParaRPr>
          </a:p>
        </p:txBody>
      </p:sp>
      <p:sp>
        <p:nvSpPr>
          <p:cNvPr id="2" name="Pladsholder til sidefod 4">
            <a:extLst>
              <a:ext uri="{FF2B5EF4-FFF2-40B4-BE49-F238E27FC236}">
                <a16:creationId xmlns:a16="http://schemas.microsoft.com/office/drawing/2014/main" id="{F2A45B40-C865-049A-30D2-24D94DF7DE86}"/>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mj-lt"/>
              </a:rPr>
              <a:t>Markedsføringsmateriale</a:t>
            </a:r>
            <a:endParaRPr lang="da-DK" sz="1200">
              <a:latin typeface="+mj-lt"/>
            </a:endParaRPr>
          </a:p>
        </p:txBody>
      </p:sp>
      <p:sp>
        <p:nvSpPr>
          <p:cNvPr id="4" name="Pladsholder til sidefod 3">
            <a:extLst>
              <a:ext uri="{FF2B5EF4-FFF2-40B4-BE49-F238E27FC236}">
                <a16:creationId xmlns:a16="http://schemas.microsoft.com/office/drawing/2014/main" id="{EF83E2B5-78C0-BB5D-0E2D-630895E39C3D}"/>
              </a:ext>
            </a:extLst>
          </p:cNvPr>
          <p:cNvSpPr>
            <a:spLocks noGrp="1"/>
          </p:cNvSpPr>
          <p:nvPr>
            <p:ph type="ftr" sz="quarter" idx="15"/>
          </p:nvPr>
        </p:nvSpPr>
        <p:spPr>
          <a:xfrm>
            <a:off x="9146238" y="5705648"/>
            <a:ext cx="2404250" cy="202612"/>
          </a:xfrm>
        </p:spPr>
        <p:txBody>
          <a:bodyPr/>
          <a:lstStyle/>
          <a:p>
            <a:pPr algn="ctr"/>
            <a:r>
              <a:rPr lang="en-US" i="1" noProof="0" err="1"/>
              <a:t>Chefporteføljeforvalter</a:t>
            </a:r>
            <a:r>
              <a:rPr lang="en-US" i="1" noProof="0"/>
              <a:t> Glenn Martin Vestergaard </a:t>
            </a:r>
            <a:r>
              <a:rPr lang="en-US" i="1" noProof="0" err="1"/>
              <a:t>og</a:t>
            </a:r>
            <a:r>
              <a:rPr lang="en-US" i="1" noProof="0"/>
              <a:t> </a:t>
            </a:r>
            <a:r>
              <a:rPr lang="en-US" i="1" noProof="0" err="1"/>
              <a:t>Seniorporteføljeforvalter</a:t>
            </a:r>
            <a:r>
              <a:rPr lang="en-US" i="1" noProof="0"/>
              <a:t> Mikkel Zobbe</a:t>
            </a:r>
            <a:endParaRPr lang="da-DK" i="1" noProof="0"/>
          </a:p>
        </p:txBody>
      </p:sp>
    </p:spTree>
    <p:extLst>
      <p:ext uri="{BB962C8B-B14F-4D97-AF65-F5344CB8AC3E}">
        <p14:creationId xmlns:p14="http://schemas.microsoft.com/office/powerpoint/2010/main" val="2284143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ladsholder til billede 13" descr="Hockeyspiller på frosset sø">
            <a:extLst>
              <a:ext uri="{FF2B5EF4-FFF2-40B4-BE49-F238E27FC236}">
                <a16:creationId xmlns:a16="http://schemas.microsoft.com/office/drawing/2014/main" id="{F7B698BF-7667-E6E6-E241-73F3935270E3}"/>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l="30005" r="30005"/>
          <a:stretch>
            <a:fillRect/>
          </a:stretch>
        </p:blipFill>
        <p:spPr/>
      </p:pic>
      <p:sp>
        <p:nvSpPr>
          <p:cNvPr id="3" name="Pladsholder til tekst 2">
            <a:extLst>
              <a:ext uri="{FF2B5EF4-FFF2-40B4-BE49-F238E27FC236}">
                <a16:creationId xmlns:a16="http://schemas.microsoft.com/office/drawing/2014/main" id="{237401FC-26A1-6277-8982-934CDA8C5D4D}"/>
              </a:ext>
            </a:extLst>
          </p:cNvPr>
          <p:cNvSpPr>
            <a:spLocks noGrp="1"/>
          </p:cNvSpPr>
          <p:nvPr>
            <p:ph type="body" sz="quarter" idx="26"/>
          </p:nvPr>
        </p:nvSpPr>
        <p:spPr>
          <a:xfrm rot="5400000">
            <a:off x="431798" y="2505045"/>
            <a:ext cx="2520000" cy="2520000"/>
          </a:xfrm>
          <a:solidFill>
            <a:schemeClr val="bg1">
              <a:lumMod val="90000"/>
              <a:lumOff val="10000"/>
            </a:schemeClr>
          </a:solidFill>
        </p:spPr>
        <p:txBody>
          <a:bodyPr lIns="468000" tIns="468000" rIns="396000"/>
          <a:lstStyle/>
          <a:p>
            <a:r>
              <a:rPr lang="en-US"/>
              <a:t>Value</a:t>
            </a:r>
          </a:p>
          <a:p>
            <a:endParaRPr lang="en-US"/>
          </a:p>
          <a:p>
            <a:r>
              <a:rPr lang="en-US" sz="1200" err="1">
                <a:latin typeface="Work Sans" pitchFamily="2" charset="0"/>
              </a:rPr>
              <a:t>Aktier</a:t>
            </a:r>
            <a:r>
              <a:rPr lang="en-US" sz="1200">
                <a:latin typeface="Work Sans" pitchFamily="2" charset="0"/>
              </a:rPr>
              <a:t> </a:t>
            </a:r>
            <a:r>
              <a:rPr lang="en-US" sz="1200" err="1">
                <a:latin typeface="Work Sans" pitchFamily="2" charset="0"/>
              </a:rPr>
              <a:t>i</a:t>
            </a:r>
            <a:r>
              <a:rPr lang="en-US" sz="1200">
                <a:latin typeface="Work Sans" pitchFamily="2" charset="0"/>
              </a:rPr>
              <a:t> </a:t>
            </a:r>
            <a:r>
              <a:rPr lang="en-US" sz="1200" err="1">
                <a:latin typeface="Work Sans" pitchFamily="2" charset="0"/>
              </a:rPr>
              <a:t>virksomheder</a:t>
            </a:r>
            <a:r>
              <a:rPr lang="en-US" sz="1200">
                <a:latin typeface="Work Sans" pitchFamily="2" charset="0"/>
              </a:rPr>
              <a:t>, der handles </a:t>
            </a:r>
            <a:r>
              <a:rPr lang="en-US" sz="1200" err="1">
                <a:latin typeface="Work Sans" pitchFamily="2" charset="0"/>
              </a:rPr>
              <a:t>til</a:t>
            </a:r>
            <a:r>
              <a:rPr lang="en-US" sz="1200">
                <a:latin typeface="Work Sans" pitchFamily="2" charset="0"/>
              </a:rPr>
              <a:t> </a:t>
            </a:r>
            <a:r>
              <a:rPr lang="en-US" sz="1200" err="1">
                <a:latin typeface="Work Sans" pitchFamily="2" charset="0"/>
              </a:rPr>
              <a:t>en</a:t>
            </a:r>
            <a:r>
              <a:rPr lang="en-US" sz="1200">
                <a:latin typeface="Work Sans" pitchFamily="2" charset="0"/>
              </a:rPr>
              <a:t> </a:t>
            </a:r>
            <a:r>
              <a:rPr lang="en-US" sz="1200" err="1">
                <a:latin typeface="Work Sans" pitchFamily="2" charset="0"/>
              </a:rPr>
              <a:t>lavere</a:t>
            </a:r>
            <a:r>
              <a:rPr lang="en-US" sz="1200">
                <a:latin typeface="Work Sans" pitchFamily="2" charset="0"/>
              </a:rPr>
              <a:t> </a:t>
            </a:r>
            <a:r>
              <a:rPr lang="en-US" sz="1200" err="1">
                <a:latin typeface="Work Sans" pitchFamily="2" charset="0"/>
              </a:rPr>
              <a:t>værdisætning</a:t>
            </a:r>
            <a:r>
              <a:rPr lang="en-US" sz="1200">
                <a:latin typeface="Work Sans" pitchFamily="2" charset="0"/>
              </a:rPr>
              <a:t> end </a:t>
            </a:r>
            <a:r>
              <a:rPr lang="en-US" sz="1200" err="1">
                <a:latin typeface="Work Sans" pitchFamily="2" charset="0"/>
              </a:rPr>
              <a:t>tilsvarende</a:t>
            </a:r>
            <a:r>
              <a:rPr lang="en-US" sz="1200">
                <a:latin typeface="Work Sans" pitchFamily="2" charset="0"/>
              </a:rPr>
              <a:t> </a:t>
            </a:r>
            <a:r>
              <a:rPr lang="en-US" sz="1200" err="1">
                <a:latin typeface="Work Sans" pitchFamily="2" charset="0"/>
              </a:rPr>
              <a:t>selskaber</a:t>
            </a:r>
            <a:r>
              <a:rPr lang="en-US" sz="1200">
                <a:latin typeface="Work Sans" pitchFamily="2" charset="0"/>
              </a:rPr>
              <a:t> </a:t>
            </a:r>
            <a:r>
              <a:rPr lang="en-US" sz="1200" err="1">
                <a:latin typeface="Work Sans" pitchFamily="2" charset="0"/>
              </a:rPr>
              <a:t>i</a:t>
            </a:r>
            <a:r>
              <a:rPr lang="en-US" sz="1200">
                <a:latin typeface="Work Sans" pitchFamily="2" charset="0"/>
              </a:rPr>
              <a:t> </a:t>
            </a:r>
            <a:r>
              <a:rPr lang="en-US" sz="1200" err="1">
                <a:latin typeface="Work Sans" pitchFamily="2" charset="0"/>
              </a:rPr>
              <a:t>branchen</a:t>
            </a:r>
            <a:r>
              <a:rPr lang="en-US" sz="1200">
                <a:latin typeface="Work Sans" pitchFamily="2" charset="0"/>
              </a:rPr>
              <a:t>.</a:t>
            </a:r>
          </a:p>
          <a:p>
            <a:endParaRPr lang="da-DK"/>
          </a:p>
        </p:txBody>
      </p:sp>
      <p:pic>
        <p:nvPicPr>
          <p:cNvPr id="13" name="Pladsholder til indhold 12" descr="Ambition kontur">
            <a:extLst>
              <a:ext uri="{FF2B5EF4-FFF2-40B4-BE49-F238E27FC236}">
                <a16:creationId xmlns:a16="http://schemas.microsoft.com/office/drawing/2014/main" id="{9C68708A-6073-01ED-6788-EFB9DE7522B6}"/>
              </a:ext>
            </a:extLst>
          </p:cNvPr>
          <p:cNvPicPr>
            <a:picLocks noGrp="1" noChangeAspect="1"/>
          </p:cNvPicPr>
          <p:nvPr>
            <p:ph sz="quarter" idx="25"/>
          </p:nvPr>
        </p:nvPicPr>
        <p:blipFill>
          <a:blip r:embed="rId3">
            <a:extLst>
              <a:ext uri="{96DAC541-7B7A-43D3-8B79-37D633B846F1}">
                <asvg:svgBlip xmlns:asvg="http://schemas.microsoft.com/office/drawing/2016/SVG/main" r:embed="rId4"/>
              </a:ext>
            </a:extLst>
          </a:blip>
          <a:stretch>
            <a:fillRect/>
          </a:stretch>
        </p:blipFill>
        <p:spPr>
          <a:xfrm>
            <a:off x="2184138" y="2658245"/>
            <a:ext cx="576263" cy="576263"/>
          </a:xfrm>
        </p:spPr>
      </p:pic>
      <p:sp>
        <p:nvSpPr>
          <p:cNvPr id="5" name="Undertitel 4">
            <a:extLst>
              <a:ext uri="{FF2B5EF4-FFF2-40B4-BE49-F238E27FC236}">
                <a16:creationId xmlns:a16="http://schemas.microsoft.com/office/drawing/2014/main" id="{40D9CE7C-CBDF-D106-3F2C-57520EBEC283}"/>
              </a:ext>
            </a:extLst>
          </p:cNvPr>
          <p:cNvSpPr>
            <a:spLocks noGrp="1"/>
          </p:cNvSpPr>
          <p:nvPr>
            <p:ph type="subTitle" idx="1"/>
          </p:nvPr>
        </p:nvSpPr>
        <p:spPr>
          <a:xfrm>
            <a:off x="431798" y="1511800"/>
            <a:ext cx="7670480" cy="576000"/>
          </a:xfrm>
        </p:spPr>
        <p:txBody>
          <a:bodyPr/>
          <a:lstStyle/>
          <a:p>
            <a:pPr>
              <a:spcBef>
                <a:spcPts val="300"/>
              </a:spcBef>
              <a:spcAft>
                <a:spcPts val="300"/>
              </a:spcAft>
            </a:pPr>
            <a:r>
              <a:rPr lang="da-DK" sz="1300">
                <a:solidFill>
                  <a:srgbClr val="FFFFFF"/>
                </a:solidFill>
              </a:rPr>
              <a:t>I porteføljen analyseres et stort univers af globale aktier. Teamet benytter en tilgang, hvor de kombinerer en række investeringsstrategier, såkaldte faktorer (forskellige karakteristika ved virksomhederne):</a:t>
            </a:r>
          </a:p>
          <a:p>
            <a:pPr>
              <a:spcBef>
                <a:spcPts val="300"/>
              </a:spcBef>
              <a:spcAft>
                <a:spcPts val="300"/>
              </a:spcAft>
            </a:pPr>
            <a:endParaRPr lang="da-DK">
              <a:solidFill>
                <a:srgbClr val="FFFFFF"/>
              </a:solidFill>
            </a:endParaRPr>
          </a:p>
        </p:txBody>
      </p:sp>
      <p:sp>
        <p:nvSpPr>
          <p:cNvPr id="6" name="Pladsholder til tekst 5">
            <a:extLst>
              <a:ext uri="{FF2B5EF4-FFF2-40B4-BE49-F238E27FC236}">
                <a16:creationId xmlns:a16="http://schemas.microsoft.com/office/drawing/2014/main" id="{D2F21EDE-E89B-D9A2-4627-7AA1313D613A}"/>
              </a:ext>
            </a:extLst>
          </p:cNvPr>
          <p:cNvSpPr>
            <a:spLocks noGrp="1"/>
          </p:cNvSpPr>
          <p:nvPr>
            <p:ph type="body" sz="quarter" idx="27"/>
          </p:nvPr>
        </p:nvSpPr>
        <p:spPr>
          <a:xfrm rot="5400000">
            <a:off x="3248782" y="2505045"/>
            <a:ext cx="2520000" cy="2520000"/>
          </a:xfrm>
          <a:solidFill>
            <a:schemeClr val="bg1">
              <a:lumMod val="75000"/>
              <a:lumOff val="25000"/>
            </a:schemeClr>
          </a:solidFill>
        </p:spPr>
        <p:txBody>
          <a:bodyPr lIns="468000" tIns="468000" rIns="396000"/>
          <a:lstStyle/>
          <a:p>
            <a:r>
              <a:rPr lang="en-US" err="1"/>
              <a:t>Kvalitet</a:t>
            </a:r>
            <a:endParaRPr lang="en-US"/>
          </a:p>
          <a:p>
            <a:endParaRPr lang="en-US"/>
          </a:p>
          <a:p>
            <a:r>
              <a:rPr lang="da-DK" sz="1200">
                <a:latin typeface="Work Sans" pitchFamily="2" charset="0"/>
              </a:rPr>
              <a:t>Aktier i virksomheder med stabil og høj indtjening og lav gæld.</a:t>
            </a:r>
          </a:p>
        </p:txBody>
      </p:sp>
      <p:pic>
        <p:nvPicPr>
          <p:cNvPr id="16" name="Pladsholder til indhold 15" descr="Bedømmelse kontur">
            <a:extLst>
              <a:ext uri="{FF2B5EF4-FFF2-40B4-BE49-F238E27FC236}">
                <a16:creationId xmlns:a16="http://schemas.microsoft.com/office/drawing/2014/main" id="{625C53C2-24C1-8DE0-E7CF-71AFBE7496E4}"/>
              </a:ext>
            </a:extLst>
          </p:cNvPr>
          <p:cNvPicPr>
            <a:picLocks noGrp="1" noChangeAspect="1"/>
          </p:cNvPicPr>
          <p:nvPr>
            <p:ph sz="quarter" idx="28"/>
          </p:nvPr>
        </p:nvPicPr>
        <p:blipFill>
          <a:blip r:embed="rId5">
            <a:extLst>
              <a:ext uri="{96DAC541-7B7A-43D3-8B79-37D633B846F1}">
                <asvg:svgBlip xmlns:asvg="http://schemas.microsoft.com/office/drawing/2016/SVG/main" r:embed="rId6"/>
              </a:ext>
            </a:extLst>
          </a:blip>
          <a:stretch>
            <a:fillRect/>
          </a:stretch>
        </p:blipFill>
        <p:spPr>
          <a:xfrm>
            <a:off x="5000363" y="2658245"/>
            <a:ext cx="576263" cy="576263"/>
          </a:xfrm>
        </p:spPr>
      </p:pic>
      <p:sp>
        <p:nvSpPr>
          <p:cNvPr id="8" name="Pladsholder til tekst 7">
            <a:extLst>
              <a:ext uri="{FF2B5EF4-FFF2-40B4-BE49-F238E27FC236}">
                <a16:creationId xmlns:a16="http://schemas.microsoft.com/office/drawing/2014/main" id="{9E040C69-0DEA-5403-B1E9-94A1D2613274}"/>
              </a:ext>
            </a:extLst>
          </p:cNvPr>
          <p:cNvSpPr>
            <a:spLocks noGrp="1"/>
          </p:cNvSpPr>
          <p:nvPr>
            <p:ph type="body" sz="quarter" idx="29"/>
          </p:nvPr>
        </p:nvSpPr>
        <p:spPr>
          <a:xfrm rot="5400000">
            <a:off x="6056782" y="2505045"/>
            <a:ext cx="2520000" cy="2520000"/>
          </a:xfrm>
          <a:solidFill>
            <a:schemeClr val="accent1">
              <a:lumMod val="50000"/>
              <a:lumOff val="50000"/>
            </a:schemeClr>
          </a:solidFill>
        </p:spPr>
        <p:txBody>
          <a:bodyPr lIns="468000" tIns="468000" rIns="396000"/>
          <a:lstStyle/>
          <a:p>
            <a:r>
              <a:rPr lang="en-US"/>
              <a:t>Momentum</a:t>
            </a:r>
          </a:p>
          <a:p>
            <a:endParaRPr lang="en-US"/>
          </a:p>
          <a:p>
            <a:r>
              <a:rPr lang="da-DK" sz="1200">
                <a:latin typeface="Work Sans" pitchFamily="2" charset="0"/>
              </a:rPr>
              <a:t>Aktier i virksomheder, der oplever positiv udvikling i driften og forventningerne.</a:t>
            </a:r>
          </a:p>
        </p:txBody>
      </p:sp>
      <p:pic>
        <p:nvPicPr>
          <p:cNvPr id="18" name="Pladsholder til indhold 17" descr="Komet kontur">
            <a:extLst>
              <a:ext uri="{FF2B5EF4-FFF2-40B4-BE49-F238E27FC236}">
                <a16:creationId xmlns:a16="http://schemas.microsoft.com/office/drawing/2014/main" id="{47FE2152-8816-5433-5EF4-A0674CC615B7}"/>
              </a:ext>
            </a:extLst>
          </p:cNvPr>
          <p:cNvPicPr>
            <a:picLocks noGrp="1" noChangeAspect="1"/>
          </p:cNvPicPr>
          <p:nvPr>
            <p:ph sz="quarter" idx="30"/>
          </p:nvPr>
        </p:nvPicPr>
        <p:blipFill>
          <a:blip r:embed="rId7">
            <a:extLst>
              <a:ext uri="{96DAC541-7B7A-43D3-8B79-37D633B846F1}">
                <asvg:svgBlip xmlns:asvg="http://schemas.microsoft.com/office/drawing/2016/SVG/main" r:embed="rId8"/>
              </a:ext>
            </a:extLst>
          </a:blip>
          <a:stretch>
            <a:fillRect/>
          </a:stretch>
        </p:blipFill>
        <p:spPr>
          <a:xfrm>
            <a:off x="7808651" y="2658245"/>
            <a:ext cx="576262" cy="576262"/>
          </a:xfrm>
        </p:spPr>
      </p:pic>
      <p:sp>
        <p:nvSpPr>
          <p:cNvPr id="11" name="Titel 10">
            <a:extLst>
              <a:ext uri="{FF2B5EF4-FFF2-40B4-BE49-F238E27FC236}">
                <a16:creationId xmlns:a16="http://schemas.microsoft.com/office/drawing/2014/main" id="{E06838A1-6D44-18A6-827A-31DAC26A0C5F}"/>
              </a:ext>
            </a:extLst>
          </p:cNvPr>
          <p:cNvSpPr>
            <a:spLocks noGrp="1"/>
          </p:cNvSpPr>
          <p:nvPr>
            <p:ph type="title"/>
          </p:nvPr>
        </p:nvSpPr>
        <p:spPr/>
        <p:txBody>
          <a:bodyPr/>
          <a:lstStyle/>
          <a:p>
            <a:r>
              <a:rPr lang="en-US" err="1"/>
              <a:t>Filosofi</a:t>
            </a:r>
            <a:r>
              <a:rPr lang="en-US"/>
              <a:t>/strategi</a:t>
            </a:r>
            <a:endParaRPr lang="da-DK"/>
          </a:p>
        </p:txBody>
      </p:sp>
      <p:sp>
        <p:nvSpPr>
          <p:cNvPr id="12" name="Pladsholder til slidenummer 11">
            <a:extLst>
              <a:ext uri="{FF2B5EF4-FFF2-40B4-BE49-F238E27FC236}">
                <a16:creationId xmlns:a16="http://schemas.microsoft.com/office/drawing/2014/main" id="{820DAB44-54BA-4EED-53EF-48CBC9A3B393}"/>
              </a:ext>
            </a:extLst>
          </p:cNvPr>
          <p:cNvSpPr>
            <a:spLocks noGrp="1"/>
          </p:cNvSpPr>
          <p:nvPr>
            <p:ph type="sldNum" sz="quarter" idx="4"/>
          </p:nvPr>
        </p:nvSpPr>
        <p:spPr/>
        <p:txBody>
          <a:bodyPr/>
          <a:lstStyle/>
          <a:p>
            <a:fld id="{FA9C6259-F55B-47A6-AB0B-9E9F0835A2F0}" type="slidenum">
              <a:rPr lang="da-DK" smtClean="0"/>
              <a:pPr/>
              <a:t>4</a:t>
            </a:fld>
            <a:endParaRPr lang="da-DK"/>
          </a:p>
        </p:txBody>
      </p:sp>
      <p:sp>
        <p:nvSpPr>
          <p:cNvPr id="21" name="Pladsholder til sidefod 4">
            <a:extLst>
              <a:ext uri="{FF2B5EF4-FFF2-40B4-BE49-F238E27FC236}">
                <a16:creationId xmlns:a16="http://schemas.microsoft.com/office/drawing/2014/main" id="{F9FD9270-C28C-F249-A7F8-0D2A967707A8}"/>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mj-lt"/>
              </a:rPr>
              <a:t>Markedsføringsmateriale</a:t>
            </a:r>
            <a:endParaRPr lang="da-DK" sz="1200">
              <a:latin typeface="+mj-lt"/>
            </a:endParaRPr>
          </a:p>
        </p:txBody>
      </p:sp>
      <p:sp>
        <p:nvSpPr>
          <p:cNvPr id="22" name="Pladsholder til tekst 7">
            <a:extLst>
              <a:ext uri="{FF2B5EF4-FFF2-40B4-BE49-F238E27FC236}">
                <a16:creationId xmlns:a16="http://schemas.microsoft.com/office/drawing/2014/main" id="{8F329CA4-1532-9E14-1FEC-05C33E6E7FDC}"/>
              </a:ext>
            </a:extLst>
          </p:cNvPr>
          <p:cNvSpPr txBox="1">
            <a:spLocks/>
          </p:cNvSpPr>
          <p:nvPr/>
        </p:nvSpPr>
        <p:spPr>
          <a:xfrm rot="5400000">
            <a:off x="8820727" y="2505045"/>
            <a:ext cx="2520000" cy="2520000"/>
          </a:xfrm>
          <a:prstGeom prst="round1Rect">
            <a:avLst/>
          </a:prstGeom>
          <a:solidFill>
            <a:schemeClr val="accent3">
              <a:lumMod val="75000"/>
            </a:schemeClr>
          </a:solidFill>
        </p:spPr>
        <p:txBody>
          <a:bodyPr vert="vert270" lIns="468000" tIns="468000" rIns="396000" bIns="14400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1400" b="0" i="0" kern="1200">
                <a:solidFill>
                  <a:schemeClr val="tx1"/>
                </a:solidFill>
                <a:latin typeface="Work Sans SemiBold" pitchFamily="2" charset="0"/>
                <a:ea typeface="+mn-ea"/>
                <a:cs typeface="+mn-cs"/>
              </a:defRPr>
            </a:lvl1pPr>
            <a:lvl2pPr marL="222250" indent="0" algn="l" defTabSz="914400" rtl="0" eaLnBrk="1" latinLnBrk="0" hangingPunct="1">
              <a:lnSpc>
                <a:spcPct val="120000"/>
              </a:lnSpc>
              <a:spcBef>
                <a:spcPts val="500"/>
              </a:spcBef>
              <a:buFont typeface="Arial" panose="020B0604020202020204" pitchFamily="34" charset="0"/>
              <a:buNone/>
              <a:tabLst>
                <a:tab pos="627063" algn="l"/>
              </a:tabLst>
              <a:defRPr sz="1400" b="0" i="0" kern="1200">
                <a:solidFill>
                  <a:schemeClr val="tx1"/>
                </a:solidFill>
                <a:latin typeface="Work Sans" pitchFamily="2" charset="0"/>
                <a:ea typeface="+mn-ea"/>
                <a:cs typeface="+mn-cs"/>
              </a:defRPr>
            </a:lvl2pPr>
            <a:lvl3pPr marL="542925" indent="0" algn="l" defTabSz="914400" rtl="0" eaLnBrk="1" latinLnBrk="0" hangingPunct="1">
              <a:lnSpc>
                <a:spcPct val="120000"/>
              </a:lnSpc>
              <a:spcBef>
                <a:spcPts val="0"/>
              </a:spcBef>
              <a:buFont typeface="Arial" panose="020B0604020202020204" pitchFamily="34" charset="0"/>
              <a:buNone/>
              <a:tabLst>
                <a:tab pos="712788" algn="l"/>
              </a:tabLst>
              <a:defRPr sz="1400" b="0" i="0" kern="1200">
                <a:solidFill>
                  <a:schemeClr val="tx1"/>
                </a:solidFill>
                <a:latin typeface="Work Sans" pitchFamily="2" charset="0"/>
                <a:ea typeface="+mn-ea"/>
                <a:cs typeface="+mn-cs"/>
              </a:defRPr>
            </a:lvl3pPr>
            <a:lvl4pPr marL="895350" indent="0" algn="l" defTabSz="914400" rtl="0" eaLnBrk="1" latinLnBrk="0" hangingPunct="1">
              <a:lnSpc>
                <a:spcPct val="120000"/>
              </a:lnSpc>
              <a:spcBef>
                <a:spcPts val="500"/>
              </a:spcBef>
              <a:buFont typeface="Arial" panose="020B0604020202020204" pitchFamily="34" charset="0"/>
              <a:buNone/>
              <a:tabLst/>
              <a:defRPr sz="1400" b="0" i="0" kern="1200">
                <a:solidFill>
                  <a:schemeClr val="tx1"/>
                </a:solidFill>
                <a:latin typeface="Work Sans" pitchFamily="2" charset="0"/>
                <a:ea typeface="+mn-ea"/>
                <a:cs typeface="+mn-cs"/>
              </a:defRPr>
            </a:lvl4pPr>
            <a:lvl5pPr marL="1166813" indent="0" algn="l" defTabSz="1165225" rtl="0" eaLnBrk="1" latinLnBrk="0" hangingPunct="1">
              <a:lnSpc>
                <a:spcPct val="120000"/>
              </a:lnSpc>
              <a:spcBef>
                <a:spcPts val="500"/>
              </a:spcBef>
              <a:buFont typeface="Arial" panose="020B0604020202020204" pitchFamily="34" charset="0"/>
              <a:buNone/>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err="1"/>
              <a:t>Vækst</a:t>
            </a:r>
            <a:endParaRPr lang="en-US"/>
          </a:p>
          <a:p>
            <a:endParaRPr lang="en-US"/>
          </a:p>
          <a:p>
            <a:r>
              <a:rPr lang="da-DK" sz="1200">
                <a:latin typeface="Work Sans" pitchFamily="2" charset="0"/>
              </a:rPr>
              <a:t>Aktier i virksomheder, med god forventet vækst i indtjeningen. </a:t>
            </a:r>
          </a:p>
        </p:txBody>
      </p:sp>
      <p:pic>
        <p:nvPicPr>
          <p:cNvPr id="23" name="Pladsholder til indhold 17" descr="Forstørrelsesglas kontur">
            <a:extLst>
              <a:ext uri="{FF2B5EF4-FFF2-40B4-BE49-F238E27FC236}">
                <a16:creationId xmlns:a16="http://schemas.microsoft.com/office/drawing/2014/main" id="{12EB9846-8DD0-4C00-E668-0B83E6BE91E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0629816" y="2667765"/>
            <a:ext cx="576262" cy="576262"/>
          </a:xfrm>
          <a:prstGeom prst="rect">
            <a:avLst/>
          </a:prstGeom>
        </p:spPr>
      </p:pic>
      <p:sp>
        <p:nvSpPr>
          <p:cNvPr id="2" name="Undertitel 4">
            <a:extLst>
              <a:ext uri="{FF2B5EF4-FFF2-40B4-BE49-F238E27FC236}">
                <a16:creationId xmlns:a16="http://schemas.microsoft.com/office/drawing/2014/main" id="{7CEE8B84-419B-765A-BE06-A3513D4A1A23}"/>
              </a:ext>
            </a:extLst>
          </p:cNvPr>
          <p:cNvSpPr txBox="1">
            <a:spLocks/>
          </p:cNvSpPr>
          <p:nvPr/>
        </p:nvSpPr>
        <p:spPr>
          <a:xfrm>
            <a:off x="431798" y="5273819"/>
            <a:ext cx="7670480" cy="576000"/>
          </a:xfrm>
          <a:prstGeom prst="rect">
            <a:avLst/>
          </a:prstGeom>
        </p:spPr>
        <p:txBody>
          <a:bodyPr vert="horz" lIns="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ts val="300"/>
              </a:spcBef>
              <a:spcAft>
                <a:spcPts val="300"/>
              </a:spcAft>
            </a:pPr>
            <a:r>
              <a:rPr lang="da-DK" sz="1300">
                <a:solidFill>
                  <a:srgbClr val="FFFFFF"/>
                </a:solidFill>
              </a:rPr>
              <a:t>Teamet sammensætter 180 aktier fordelt på fire ovenstående faktorer, industrier og regioner.</a:t>
            </a:r>
          </a:p>
          <a:p>
            <a:pPr>
              <a:spcBef>
                <a:spcPts val="300"/>
              </a:spcBef>
              <a:spcAft>
                <a:spcPts val="300"/>
              </a:spcAft>
            </a:pPr>
            <a:endParaRPr lang="da-DK">
              <a:solidFill>
                <a:srgbClr val="FFFFFF"/>
              </a:solidFill>
            </a:endParaRPr>
          </a:p>
        </p:txBody>
      </p:sp>
    </p:spTree>
    <p:extLst>
      <p:ext uri="{BB962C8B-B14F-4D97-AF65-F5344CB8AC3E}">
        <p14:creationId xmlns:p14="http://schemas.microsoft.com/office/powerpoint/2010/main" val="3033496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1DE057-2FD7-0180-3DE6-0E6D101BC901}"/>
              </a:ext>
            </a:extLst>
          </p:cNvPr>
          <p:cNvSpPr>
            <a:spLocks noGrp="1"/>
          </p:cNvSpPr>
          <p:nvPr>
            <p:ph type="ctrTitle"/>
          </p:nvPr>
        </p:nvSpPr>
        <p:spPr>
          <a:xfrm>
            <a:off x="6096000" y="1537775"/>
            <a:ext cx="5662613" cy="498598"/>
          </a:xfrm>
        </p:spPr>
        <p:txBody>
          <a:bodyPr/>
          <a:lstStyle/>
          <a:p>
            <a:r>
              <a:rPr lang="en-US"/>
              <a:t>ESG </a:t>
            </a:r>
            <a:r>
              <a:rPr lang="en-US" err="1"/>
              <a:t>og</a:t>
            </a:r>
            <a:r>
              <a:rPr lang="en-US"/>
              <a:t> </a:t>
            </a:r>
            <a:r>
              <a:rPr lang="en-US" err="1"/>
              <a:t>bæredygtighed</a:t>
            </a:r>
            <a:endParaRPr lang="da-DK"/>
          </a:p>
        </p:txBody>
      </p:sp>
      <p:sp>
        <p:nvSpPr>
          <p:cNvPr id="3" name="Undertitel 2">
            <a:extLst>
              <a:ext uri="{FF2B5EF4-FFF2-40B4-BE49-F238E27FC236}">
                <a16:creationId xmlns:a16="http://schemas.microsoft.com/office/drawing/2014/main" id="{C1FEB85A-6B27-5AD2-994C-ED1905C7389B}"/>
              </a:ext>
            </a:extLst>
          </p:cNvPr>
          <p:cNvSpPr>
            <a:spLocks noGrp="1"/>
          </p:cNvSpPr>
          <p:nvPr>
            <p:ph type="subTitle" idx="1"/>
          </p:nvPr>
        </p:nvSpPr>
        <p:spPr>
          <a:xfrm>
            <a:off x="6103144" y="2222501"/>
            <a:ext cx="5655470" cy="2549872"/>
          </a:xfrm>
        </p:spPr>
        <p:txBody>
          <a:bodyPr/>
          <a:lstStyle/>
          <a:p>
            <a:pPr marL="0" indent="0">
              <a:buNone/>
            </a:pPr>
            <a:r>
              <a:rPr lang="da-DK"/>
              <a:t>Fonden Globale Aktier:</a:t>
            </a:r>
            <a:br>
              <a:rPr lang="da-DK"/>
            </a:br>
            <a:endParaRPr lang="da-DK"/>
          </a:p>
          <a:p>
            <a:r>
              <a:rPr lang="da-DK"/>
              <a:t>fremmer miljømæssige og sociale karakteristika i henhold til EU’s regler (SFDR artikel 8).</a:t>
            </a:r>
            <a:br>
              <a:rPr lang="da-DK"/>
            </a:br>
            <a:r>
              <a:rPr lang="da-DK"/>
              <a:t> </a:t>
            </a:r>
          </a:p>
          <a:p>
            <a:r>
              <a:rPr lang="da-DK"/>
              <a:t>investerer minimum 40 % af afdelingens formue i bæredygtige investeringer. </a:t>
            </a:r>
            <a:br>
              <a:rPr lang="da-DK"/>
            </a:br>
            <a:endParaRPr lang="da-DK"/>
          </a:p>
          <a:p>
            <a:r>
              <a:rPr lang="da-DK"/>
              <a:t>har en minimumsandel af bæredygtige investeringer med et miljømål i overensstemmelse med EU-klassificeringssystemet på 2 %.</a:t>
            </a:r>
            <a:br>
              <a:rPr lang="da-DK"/>
            </a:br>
            <a:endParaRPr lang="da-DK"/>
          </a:p>
          <a:p>
            <a:r>
              <a:rPr lang="da-DK"/>
              <a:t>følger </a:t>
            </a:r>
            <a:r>
              <a:rPr lang="da-DK" err="1"/>
              <a:t>BankInvests</a:t>
            </a:r>
            <a:r>
              <a:rPr lang="da-DK"/>
              <a:t> politik for ansvarlige investeringer og overholder </a:t>
            </a:r>
            <a:r>
              <a:rPr lang="da-DK" err="1"/>
              <a:t>BankInvests</a:t>
            </a:r>
            <a:r>
              <a:rPr lang="da-DK"/>
              <a:t> eksklusionsliste.</a:t>
            </a:r>
          </a:p>
        </p:txBody>
      </p:sp>
      <p:pic>
        <p:nvPicPr>
          <p:cNvPr id="10" name="Pladsholder til billede 9" descr="Snedækket bjergtop">
            <a:extLst>
              <a:ext uri="{FF2B5EF4-FFF2-40B4-BE49-F238E27FC236}">
                <a16:creationId xmlns:a16="http://schemas.microsoft.com/office/drawing/2014/main" id="{860F7399-F45C-03C6-3973-9742B5879FBE}"/>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l="16811" r="16811"/>
          <a:stretch>
            <a:fillRect/>
          </a:stretch>
        </p:blipFill>
        <p:spPr/>
      </p:pic>
      <p:sp>
        <p:nvSpPr>
          <p:cNvPr id="6" name="Pladsholder til tekst 5">
            <a:extLst>
              <a:ext uri="{FF2B5EF4-FFF2-40B4-BE49-F238E27FC236}">
                <a16:creationId xmlns:a16="http://schemas.microsoft.com/office/drawing/2014/main" id="{F943DEE8-1750-BB81-9541-08AA0D359DDE}"/>
              </a:ext>
            </a:extLst>
          </p:cNvPr>
          <p:cNvSpPr>
            <a:spLocks noGrp="1"/>
          </p:cNvSpPr>
          <p:nvPr>
            <p:ph type="body" sz="quarter" idx="15"/>
          </p:nvPr>
        </p:nvSpPr>
        <p:spPr/>
        <p:txBody>
          <a:bodyPr/>
          <a:lstStyle/>
          <a:p>
            <a:r>
              <a:rPr lang="en-US" err="1">
                <a:solidFill>
                  <a:schemeClr val="accent2"/>
                </a:solidFill>
                <a:hlinkClick r:id="rId3">
                  <a:extLst>
                    <a:ext uri="{A12FA001-AC4F-418D-AE19-62706E023703}">
                      <ahyp:hlinkClr xmlns:ahyp="http://schemas.microsoft.com/office/drawing/2018/hyperlinkcolor" val="tx"/>
                    </a:ext>
                  </a:extLst>
                </a:hlinkClick>
              </a:rPr>
              <a:t>Læs</a:t>
            </a:r>
            <a:r>
              <a:rPr lang="en-US">
                <a:solidFill>
                  <a:schemeClr val="accent2"/>
                </a:solidFill>
                <a:hlinkClick r:id="rId3">
                  <a:extLst>
                    <a:ext uri="{A12FA001-AC4F-418D-AE19-62706E023703}">
                      <ahyp:hlinkClr xmlns:ahyp="http://schemas.microsoft.com/office/drawing/2018/hyperlinkcolor" val="tx"/>
                    </a:ext>
                  </a:extLst>
                </a:hlinkClick>
              </a:rPr>
              <a:t> mere </a:t>
            </a:r>
            <a:r>
              <a:rPr lang="en-US" err="1">
                <a:solidFill>
                  <a:schemeClr val="accent2"/>
                </a:solidFill>
                <a:hlinkClick r:id="rId3">
                  <a:extLst>
                    <a:ext uri="{A12FA001-AC4F-418D-AE19-62706E023703}">
                      <ahyp:hlinkClr xmlns:ahyp="http://schemas.microsoft.com/office/drawing/2018/hyperlinkcolor" val="tx"/>
                    </a:ext>
                  </a:extLst>
                </a:hlinkClick>
              </a:rPr>
              <a:t>i</a:t>
            </a:r>
            <a:r>
              <a:rPr lang="en-US">
                <a:solidFill>
                  <a:schemeClr val="accent2"/>
                </a:solidFill>
                <a:hlinkClick r:id="rId3">
                  <a:extLst>
                    <a:ext uri="{A12FA001-AC4F-418D-AE19-62706E023703}">
                      <ahyp:hlinkClr xmlns:ahyp="http://schemas.microsoft.com/office/drawing/2018/hyperlinkcolor" val="tx"/>
                    </a:ext>
                  </a:extLst>
                </a:hlinkClick>
              </a:rPr>
              <a:t> </a:t>
            </a:r>
            <a:r>
              <a:rPr lang="en-US" err="1">
                <a:solidFill>
                  <a:schemeClr val="accent2"/>
                </a:solidFill>
                <a:hlinkClick r:id="rId3">
                  <a:extLst>
                    <a:ext uri="{A12FA001-AC4F-418D-AE19-62706E023703}">
                      <ahyp:hlinkClr xmlns:ahyp="http://schemas.microsoft.com/office/drawing/2018/hyperlinkcolor" val="tx"/>
                    </a:ext>
                  </a:extLst>
                </a:hlinkClick>
              </a:rPr>
              <a:t>fondens</a:t>
            </a:r>
            <a:r>
              <a:rPr lang="en-US">
                <a:solidFill>
                  <a:schemeClr val="accent2"/>
                </a:solidFill>
                <a:hlinkClick r:id="rId3">
                  <a:extLst>
                    <a:ext uri="{A12FA001-AC4F-418D-AE19-62706E023703}">
                      <ahyp:hlinkClr xmlns:ahyp="http://schemas.microsoft.com/office/drawing/2018/hyperlinkcolor" val="tx"/>
                    </a:ext>
                  </a:extLst>
                </a:hlinkClick>
              </a:rPr>
              <a:t> ESG-</a:t>
            </a:r>
            <a:r>
              <a:rPr lang="en-US" err="1">
                <a:solidFill>
                  <a:schemeClr val="accent2"/>
                </a:solidFill>
                <a:hlinkClick r:id="rId3">
                  <a:extLst>
                    <a:ext uri="{A12FA001-AC4F-418D-AE19-62706E023703}">
                      <ahyp:hlinkClr xmlns:ahyp="http://schemas.microsoft.com/office/drawing/2018/hyperlinkcolor" val="tx"/>
                    </a:ext>
                  </a:extLst>
                </a:hlinkClick>
              </a:rPr>
              <a:t>faktaark</a:t>
            </a:r>
            <a:endParaRPr lang="da-DK">
              <a:solidFill>
                <a:schemeClr val="accent2"/>
              </a:solidFill>
            </a:endParaRPr>
          </a:p>
        </p:txBody>
      </p:sp>
      <p:sp>
        <p:nvSpPr>
          <p:cNvPr id="8" name="Pladsholder til slidenummer 7">
            <a:extLst>
              <a:ext uri="{FF2B5EF4-FFF2-40B4-BE49-F238E27FC236}">
                <a16:creationId xmlns:a16="http://schemas.microsoft.com/office/drawing/2014/main" id="{F422DB9B-E385-428C-D01E-D7B6346264B7}"/>
              </a:ext>
            </a:extLst>
          </p:cNvPr>
          <p:cNvSpPr>
            <a:spLocks noGrp="1"/>
          </p:cNvSpPr>
          <p:nvPr>
            <p:ph type="sldNum" sz="quarter" idx="18"/>
          </p:nvPr>
        </p:nvSpPr>
        <p:spPr/>
        <p:txBody>
          <a:bodyPr/>
          <a:lstStyle/>
          <a:p>
            <a:fld id="{FA9C6259-F55B-47A6-AB0B-9E9F0835A2F0}" type="slidenum">
              <a:rPr lang="da-DK" noProof="0" smtClean="0"/>
              <a:pPr/>
              <a:t>5</a:t>
            </a:fld>
            <a:endParaRPr lang="da-DK" noProof="0"/>
          </a:p>
        </p:txBody>
      </p:sp>
      <p:sp>
        <p:nvSpPr>
          <p:cNvPr id="11" name="Pladsholder til sidefod 4">
            <a:extLst>
              <a:ext uri="{FF2B5EF4-FFF2-40B4-BE49-F238E27FC236}">
                <a16:creationId xmlns:a16="http://schemas.microsoft.com/office/drawing/2014/main" id="{3A9515CD-85E6-4E57-8E22-52DBC8C945B0}"/>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mj-lt"/>
              </a:rPr>
              <a:t>Markedsføringsmateriale</a:t>
            </a:r>
            <a:endParaRPr lang="da-DK" sz="1200">
              <a:latin typeface="+mj-lt"/>
            </a:endParaRPr>
          </a:p>
        </p:txBody>
      </p:sp>
    </p:spTree>
    <p:extLst>
      <p:ext uri="{BB962C8B-B14F-4D97-AF65-F5344CB8AC3E}">
        <p14:creationId xmlns:p14="http://schemas.microsoft.com/office/powerpoint/2010/main" val="3826805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E0B97A-2260-491E-9B40-0704B253D931}"/>
            </a:ext>
          </a:extLst>
        </p:cNvPr>
        <p:cNvGrpSpPr/>
        <p:nvPr/>
      </p:nvGrpSpPr>
      <p:grpSpPr>
        <a:xfrm>
          <a:off x="0" y="0"/>
          <a:ext cx="0" cy="0"/>
          <a:chOff x="0" y="0"/>
          <a:chExt cx="0" cy="0"/>
        </a:xfrm>
      </p:grpSpPr>
      <p:sp>
        <p:nvSpPr>
          <p:cNvPr id="12" name="Round Single Corner of Rectangle 4">
            <a:extLst>
              <a:ext uri="{FF2B5EF4-FFF2-40B4-BE49-F238E27FC236}">
                <a16:creationId xmlns:a16="http://schemas.microsoft.com/office/drawing/2014/main" id="{EB439FC4-B159-04F7-20B7-521A83AFEBB6}"/>
              </a:ext>
            </a:extLst>
          </p:cNvPr>
          <p:cNvSpPr/>
          <p:nvPr/>
        </p:nvSpPr>
        <p:spPr>
          <a:xfrm>
            <a:off x="1018132" y="2798789"/>
            <a:ext cx="2374978" cy="1876061"/>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spcAft>
                <a:spcPts val="600"/>
              </a:spcAft>
            </a:pPr>
            <a:endParaRPr lang="da-DK" sz="1100" b="1">
              <a:solidFill>
                <a:schemeClr val="tx1"/>
              </a:solidFill>
              <a:latin typeface="Work Sans" pitchFamily="2" charset="0"/>
            </a:endParaRPr>
          </a:p>
          <a:p>
            <a:pPr algn="ctr">
              <a:spcAft>
                <a:spcPts val="600"/>
              </a:spcAft>
            </a:pPr>
            <a:endParaRPr lang="da-DK" sz="1100" b="1">
              <a:solidFill>
                <a:schemeClr val="tx1"/>
              </a:solidFill>
              <a:latin typeface="Work Sans" pitchFamily="2" charset="0"/>
            </a:endParaRPr>
          </a:p>
          <a:p>
            <a:pPr algn="ctr">
              <a:spcAft>
                <a:spcPts val="600"/>
              </a:spcAft>
            </a:pPr>
            <a:r>
              <a:rPr lang="da-DK" sz="1400" b="1">
                <a:solidFill>
                  <a:schemeClr val="tx1"/>
                </a:solidFill>
                <a:latin typeface="Work Sans" pitchFamily="2" charset="0"/>
              </a:rPr>
              <a:t>Én investering fordelt på 180 aktier</a:t>
            </a:r>
            <a:endParaRPr lang="da-DK" sz="700" b="1">
              <a:solidFill>
                <a:schemeClr val="tx1"/>
              </a:solidFill>
              <a:latin typeface="Work Sans Light" pitchFamily="2" charset="0"/>
              <a:cs typeface="Times New Roman" panose="02020603050405020304" pitchFamily="18" charset="0"/>
            </a:endParaRPr>
          </a:p>
          <a:p>
            <a:pPr algn="ctr">
              <a:spcAft>
                <a:spcPts val="600"/>
              </a:spcAft>
            </a:pPr>
            <a:r>
              <a:rPr lang="da-DK" sz="1100">
                <a:solidFill>
                  <a:schemeClr val="tx1"/>
                </a:solidFill>
                <a:effectLst/>
                <a:latin typeface="Work Sans Light" pitchFamily="2" charset="0"/>
                <a:ea typeface="Century Gothic" panose="020B0502020202020204" pitchFamily="34" charset="0"/>
                <a:cs typeface="Times New Roman" panose="02020603050405020304" pitchFamily="18" charset="0"/>
              </a:rPr>
              <a:t>Du får stor risikospredning helt fra begyndelsen</a:t>
            </a:r>
            <a:endParaRPr lang="en-DK" sz="1100">
              <a:solidFill>
                <a:schemeClr val="tx1"/>
              </a:solidFill>
              <a:latin typeface="Work Sans Light" pitchFamily="2" charset="0"/>
            </a:endParaRPr>
          </a:p>
        </p:txBody>
      </p:sp>
      <p:sp>
        <p:nvSpPr>
          <p:cNvPr id="7" name="Round Single Corner of Rectangle 4">
            <a:extLst>
              <a:ext uri="{FF2B5EF4-FFF2-40B4-BE49-F238E27FC236}">
                <a16:creationId xmlns:a16="http://schemas.microsoft.com/office/drawing/2014/main" id="{B80DF00E-D0AB-78E6-F4E2-DF3311396F7C}"/>
              </a:ext>
            </a:extLst>
          </p:cNvPr>
          <p:cNvSpPr/>
          <p:nvPr/>
        </p:nvSpPr>
        <p:spPr>
          <a:xfrm>
            <a:off x="6231259" y="2798447"/>
            <a:ext cx="2374977" cy="187572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spcAft>
                <a:spcPts val="600"/>
              </a:spcAft>
            </a:pPr>
            <a:endParaRPr lang="da-DK" sz="1100" b="1">
              <a:solidFill>
                <a:schemeClr val="tx1"/>
              </a:solidFill>
              <a:latin typeface="Work Sans"/>
            </a:endParaRPr>
          </a:p>
          <a:p>
            <a:pPr algn="ctr">
              <a:spcAft>
                <a:spcPts val="600"/>
              </a:spcAft>
            </a:pPr>
            <a:endParaRPr lang="da-DK" sz="900" b="1">
              <a:solidFill>
                <a:schemeClr val="tx1"/>
              </a:solidFill>
              <a:latin typeface="Work Sans"/>
            </a:endParaRPr>
          </a:p>
          <a:p>
            <a:pPr algn="ctr">
              <a:spcAft>
                <a:spcPts val="600"/>
              </a:spcAft>
            </a:pPr>
            <a:r>
              <a:rPr lang="da-DK" sz="1400" b="1">
                <a:solidFill>
                  <a:schemeClr val="tx1"/>
                </a:solidFill>
                <a:latin typeface="Work Sans"/>
              </a:rPr>
              <a:t>Bred global eksponering</a:t>
            </a:r>
          </a:p>
          <a:p>
            <a:pPr algn="ctr">
              <a:spcAft>
                <a:spcPts val="600"/>
              </a:spcAft>
            </a:pPr>
            <a:r>
              <a:rPr lang="da-DK" sz="1100">
                <a:solidFill>
                  <a:schemeClr val="tx1"/>
                </a:solidFill>
                <a:latin typeface="Work Sans Light"/>
                <a:cs typeface="Times New Roman"/>
              </a:rPr>
              <a:t>En global portefølje og aktier i både udviklede og </a:t>
            </a:r>
            <a:r>
              <a:rPr lang="da-DK" sz="1100" err="1">
                <a:solidFill>
                  <a:schemeClr val="tx1"/>
                </a:solidFill>
                <a:latin typeface="Work Sans Light"/>
                <a:cs typeface="Times New Roman"/>
              </a:rPr>
              <a:t>emerging</a:t>
            </a:r>
            <a:r>
              <a:rPr lang="da-DK" sz="1100">
                <a:solidFill>
                  <a:schemeClr val="tx1"/>
                </a:solidFill>
                <a:latin typeface="Work Sans Light"/>
                <a:cs typeface="Times New Roman"/>
              </a:rPr>
              <a:t>-markeder</a:t>
            </a:r>
            <a:endParaRPr lang="da-DK" sz="1100">
              <a:solidFill>
                <a:schemeClr val="tx1"/>
              </a:solidFill>
              <a:latin typeface="Work Sans"/>
              <a:cs typeface="Times New Roman"/>
            </a:endParaRPr>
          </a:p>
        </p:txBody>
      </p:sp>
      <p:graphicFrame>
        <p:nvGraphicFramePr>
          <p:cNvPr id="8" name="think-cell data - do not delete" hidden="1">
            <a:extLst>
              <a:ext uri="{FF2B5EF4-FFF2-40B4-BE49-F238E27FC236}">
                <a16:creationId xmlns:a16="http://schemas.microsoft.com/office/drawing/2014/main" id="{59659649-E687-8F95-E1ED-3329CE661E8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8" name="think-cell data - do not delete" hidden="1">
                        <a:extLst>
                          <a:ext uri="{FF2B5EF4-FFF2-40B4-BE49-F238E27FC236}">
                            <a16:creationId xmlns:a16="http://schemas.microsoft.com/office/drawing/2014/main" id="{59659649-E687-8F95-E1ED-3329CE661E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ound Single Corner of Rectangle 4">
            <a:extLst>
              <a:ext uri="{FF2B5EF4-FFF2-40B4-BE49-F238E27FC236}">
                <a16:creationId xmlns:a16="http://schemas.microsoft.com/office/drawing/2014/main" id="{F6DC2A26-2D1F-DBEB-0A27-78D456BA2AE3}"/>
              </a:ext>
            </a:extLst>
          </p:cNvPr>
          <p:cNvSpPr/>
          <p:nvPr/>
        </p:nvSpPr>
        <p:spPr>
          <a:xfrm>
            <a:off x="8837823" y="2798447"/>
            <a:ext cx="2374977" cy="187572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spcAft>
                <a:spcPts val="600"/>
              </a:spcAft>
            </a:pPr>
            <a:endParaRPr lang="da-DK" sz="1100" b="1">
              <a:solidFill>
                <a:schemeClr val="tx1"/>
              </a:solidFill>
              <a:latin typeface="Work Sans"/>
            </a:endParaRPr>
          </a:p>
          <a:p>
            <a:pPr algn="ctr">
              <a:spcAft>
                <a:spcPts val="600"/>
              </a:spcAft>
            </a:pPr>
            <a:endParaRPr lang="da-DK" sz="1100" b="1">
              <a:solidFill>
                <a:schemeClr val="tx1"/>
              </a:solidFill>
              <a:latin typeface="Work Sans"/>
            </a:endParaRPr>
          </a:p>
          <a:p>
            <a:pPr algn="ctr">
              <a:spcAft>
                <a:spcPts val="600"/>
              </a:spcAft>
            </a:pPr>
            <a:r>
              <a:rPr lang="da-DK" sz="1400" b="1">
                <a:solidFill>
                  <a:schemeClr val="tx1"/>
                </a:solidFill>
                <a:latin typeface="Work Sans"/>
              </a:rPr>
              <a:t>Transparens og information</a:t>
            </a:r>
          </a:p>
          <a:p>
            <a:pPr algn="ctr">
              <a:spcAft>
                <a:spcPts val="600"/>
              </a:spcAft>
            </a:pPr>
            <a:r>
              <a:rPr lang="da-DK" sz="1100">
                <a:solidFill>
                  <a:schemeClr val="tx1"/>
                </a:solidFill>
                <a:latin typeface="Work Sans Light" pitchFamily="2" charset="0"/>
              </a:rPr>
              <a:t>Følg din investering </a:t>
            </a:r>
            <a:br>
              <a:rPr lang="da-DK" sz="1100">
                <a:solidFill>
                  <a:schemeClr val="tx1"/>
                </a:solidFill>
                <a:latin typeface="Work Sans Light" pitchFamily="2" charset="0"/>
              </a:rPr>
            </a:br>
            <a:r>
              <a:rPr lang="da-DK" sz="1100">
                <a:solidFill>
                  <a:schemeClr val="tx1"/>
                </a:solidFill>
                <a:latin typeface="Work Sans Light" pitchFamily="2" charset="0"/>
              </a:rPr>
              <a:t>dagligt på bankinvest.dk</a:t>
            </a:r>
          </a:p>
        </p:txBody>
      </p:sp>
      <p:sp>
        <p:nvSpPr>
          <p:cNvPr id="17" name="Round Single Corner of Rectangle 4">
            <a:extLst>
              <a:ext uri="{FF2B5EF4-FFF2-40B4-BE49-F238E27FC236}">
                <a16:creationId xmlns:a16="http://schemas.microsoft.com/office/drawing/2014/main" id="{BEF832D4-BD0C-D43B-942A-616B66BF0C41}"/>
              </a:ext>
            </a:extLst>
          </p:cNvPr>
          <p:cNvSpPr/>
          <p:nvPr/>
        </p:nvSpPr>
        <p:spPr>
          <a:xfrm>
            <a:off x="3624696" y="2798447"/>
            <a:ext cx="2374977" cy="187572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spcAft>
                <a:spcPts val="600"/>
              </a:spcAft>
            </a:pPr>
            <a:endParaRPr lang="da-DK" sz="1100" b="1">
              <a:solidFill>
                <a:schemeClr val="tx1"/>
              </a:solidFill>
              <a:latin typeface="Work Sans Light" pitchFamily="2" charset="0"/>
            </a:endParaRPr>
          </a:p>
          <a:p>
            <a:pPr algn="ctr">
              <a:spcAft>
                <a:spcPts val="600"/>
              </a:spcAft>
            </a:pPr>
            <a:endParaRPr lang="da-DK" sz="1100" b="1">
              <a:solidFill>
                <a:schemeClr val="tx1"/>
              </a:solidFill>
              <a:latin typeface="Work Sans"/>
            </a:endParaRPr>
          </a:p>
          <a:p>
            <a:pPr algn="ctr">
              <a:spcAft>
                <a:spcPts val="600"/>
              </a:spcAft>
            </a:pPr>
            <a:r>
              <a:rPr lang="da-DK" sz="1400" b="1">
                <a:solidFill>
                  <a:schemeClr val="tx1"/>
                </a:solidFill>
                <a:latin typeface="Work Sans"/>
              </a:rPr>
              <a:t>Bred diversifikation</a:t>
            </a:r>
            <a:br>
              <a:rPr lang="da-DK" sz="700" b="1">
                <a:solidFill>
                  <a:schemeClr val="tx1"/>
                </a:solidFill>
                <a:latin typeface="Work Sans Light" pitchFamily="2" charset="0"/>
              </a:rPr>
            </a:br>
            <a:endParaRPr lang="da-DK" sz="700" b="1">
              <a:solidFill>
                <a:schemeClr val="tx1"/>
              </a:solidFill>
              <a:latin typeface="Work Sans Light" pitchFamily="2" charset="0"/>
            </a:endParaRPr>
          </a:p>
          <a:p>
            <a:pPr algn="ctr">
              <a:spcAft>
                <a:spcPts val="600"/>
              </a:spcAft>
            </a:pPr>
            <a:r>
              <a:rPr lang="da-DK" sz="1100">
                <a:solidFill>
                  <a:schemeClr val="tx1"/>
                </a:solidFill>
                <a:effectLst/>
                <a:latin typeface="Work Sans Light"/>
                <a:ea typeface="Century Gothic" panose="020B0502020202020204" pitchFamily="34" charset="0"/>
                <a:cs typeface="Times New Roman"/>
              </a:rPr>
              <a:t>Både på </a:t>
            </a:r>
            <a:r>
              <a:rPr lang="da-DK" sz="1100" err="1">
                <a:solidFill>
                  <a:schemeClr val="tx1"/>
                </a:solidFill>
                <a:effectLst/>
                <a:latin typeface="Work Sans Light"/>
                <a:ea typeface="Century Gothic" panose="020B0502020202020204" pitchFamily="34" charset="0"/>
                <a:cs typeface="Times New Roman"/>
              </a:rPr>
              <a:t>teamer</a:t>
            </a:r>
            <a:r>
              <a:rPr lang="da-DK" sz="1100">
                <a:solidFill>
                  <a:schemeClr val="tx1"/>
                </a:solidFill>
                <a:effectLst/>
                <a:latin typeface="Work Sans Light"/>
                <a:ea typeface="Century Gothic" panose="020B0502020202020204" pitchFamily="34" charset="0"/>
                <a:cs typeface="Times New Roman"/>
              </a:rPr>
              <a:t>, sektorer og faktorer (</a:t>
            </a:r>
            <a:r>
              <a:rPr lang="da-DK" sz="1100" err="1">
                <a:solidFill>
                  <a:schemeClr val="tx1"/>
                </a:solidFill>
                <a:effectLst/>
                <a:latin typeface="Work Sans Light"/>
                <a:ea typeface="Century Gothic" panose="020B0502020202020204" pitchFamily="34" charset="0"/>
                <a:cs typeface="Times New Roman"/>
              </a:rPr>
              <a:t>value</a:t>
            </a:r>
            <a:r>
              <a:rPr lang="da-DK" sz="1100">
                <a:solidFill>
                  <a:schemeClr val="tx1"/>
                </a:solidFill>
                <a:effectLst/>
                <a:latin typeface="Work Sans Light"/>
                <a:ea typeface="Century Gothic" panose="020B0502020202020204" pitchFamily="34" charset="0"/>
                <a:cs typeface="Times New Roman"/>
              </a:rPr>
              <a:t>, momentum, kvalitet osv.)</a:t>
            </a:r>
            <a:endParaRPr lang="en-DK" sz="1100">
              <a:solidFill>
                <a:schemeClr val="tx1"/>
              </a:solidFill>
              <a:latin typeface="Work Sans Light"/>
              <a:cs typeface="Times New Roman"/>
            </a:endParaRPr>
          </a:p>
        </p:txBody>
      </p:sp>
      <p:sp>
        <p:nvSpPr>
          <p:cNvPr id="9" name="Titel 2">
            <a:extLst>
              <a:ext uri="{FF2B5EF4-FFF2-40B4-BE49-F238E27FC236}">
                <a16:creationId xmlns:a16="http://schemas.microsoft.com/office/drawing/2014/main" id="{A735FF64-32B2-80B1-A714-3932EDEE35FD}"/>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r>
              <a:rPr lang="da-DK" sz="2800">
                <a:solidFill>
                  <a:srgbClr val="FFFFFF"/>
                </a:solidFill>
                <a:latin typeface="Work Sans Light" pitchFamily="2" charset="0"/>
              </a:rPr>
              <a:t>Det får du som investor</a:t>
            </a:r>
            <a:endParaRPr lang="da-DK" sz="2800">
              <a:solidFill>
                <a:srgbClr val="FFFFFF"/>
              </a:solidFill>
            </a:endParaRPr>
          </a:p>
        </p:txBody>
      </p:sp>
      <p:sp>
        <p:nvSpPr>
          <p:cNvPr id="4" name="Pladsholder til sidefod 4">
            <a:extLst>
              <a:ext uri="{FF2B5EF4-FFF2-40B4-BE49-F238E27FC236}">
                <a16:creationId xmlns:a16="http://schemas.microsoft.com/office/drawing/2014/main" id="{B6B10647-D127-1091-881A-396D8AF2F4F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mj-lt"/>
              </a:rPr>
              <a:t>Markedsføringsmateriale</a:t>
            </a:r>
            <a:endParaRPr lang="da-DK" sz="1200">
              <a:latin typeface="+mj-lt"/>
            </a:endParaRPr>
          </a:p>
        </p:txBody>
      </p:sp>
      <p:sp>
        <p:nvSpPr>
          <p:cNvPr id="2" name="Pladsholder til slidenummer 1">
            <a:extLst>
              <a:ext uri="{FF2B5EF4-FFF2-40B4-BE49-F238E27FC236}">
                <a16:creationId xmlns:a16="http://schemas.microsoft.com/office/drawing/2014/main" id="{28D5D05B-C1B5-D384-74E0-BE5348A991C7}"/>
              </a:ext>
            </a:extLst>
          </p:cNvPr>
          <p:cNvSpPr>
            <a:spLocks noGrp="1"/>
          </p:cNvSpPr>
          <p:nvPr>
            <p:ph type="sldNum" sz="quarter" idx="4"/>
          </p:nvPr>
        </p:nvSpPr>
        <p:spPr/>
        <p:txBody>
          <a:bodyPr/>
          <a:lstStyle/>
          <a:p>
            <a:fld id="{FA9C6259-F55B-47A6-AB0B-9E9F0835A2F0}" type="slidenum">
              <a:rPr lang="da-DK" smtClean="0"/>
              <a:pPr/>
              <a:t>6</a:t>
            </a:fld>
            <a:endParaRPr lang="da-DK"/>
          </a:p>
        </p:txBody>
      </p:sp>
    </p:spTree>
    <p:extLst>
      <p:ext uri="{BB962C8B-B14F-4D97-AF65-F5344CB8AC3E}">
        <p14:creationId xmlns:p14="http://schemas.microsoft.com/office/powerpoint/2010/main" val="3629984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8CED6-8764-FBB2-2299-06D1FAC59C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3D0FA9-7324-3048-48E4-D069BE2F1FC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53D0FA9-7324-3048-48E4-D069BE2F1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9" name="Chart Placeholder 8">
            <a:extLst>
              <a:ext uri="{FF2B5EF4-FFF2-40B4-BE49-F238E27FC236}">
                <a16:creationId xmlns:a16="http://schemas.microsoft.com/office/drawing/2014/main" id="{1DDB98F7-683B-9BC8-5CB9-A7545F3F35AB}"/>
              </a:ext>
            </a:extLst>
          </p:cNvPr>
          <p:cNvGraphicFramePr>
            <a:graphicFrameLocks noGrp="1"/>
          </p:cNvGraphicFramePr>
          <p:nvPr>
            <p:ph type="chart" sz="quarter" idx="13"/>
            <p:extLst>
              <p:ext uri="{D42A27DB-BD31-4B8C-83A1-F6EECF244321}">
                <p14:modId xmlns:p14="http://schemas.microsoft.com/office/powerpoint/2010/main" val="2343186339"/>
              </p:ext>
            </p:extLst>
          </p:nvPr>
        </p:nvGraphicFramePr>
        <p:xfrm>
          <a:off x="425449" y="1847850"/>
          <a:ext cx="5400000" cy="4456192"/>
        </p:xfrm>
        <a:graphic>
          <a:graphicData uri="http://schemas.openxmlformats.org/drawingml/2006/chart">
            <c:chart xmlns:c="http://schemas.openxmlformats.org/drawingml/2006/chart" xmlns:r="http://schemas.openxmlformats.org/officeDocument/2006/relationships" r:id="rId5"/>
          </a:graphicData>
        </a:graphic>
      </p:graphicFrame>
      <p:sp>
        <p:nvSpPr>
          <p:cNvPr id="10" name="Titel 2">
            <a:extLst>
              <a:ext uri="{FF2B5EF4-FFF2-40B4-BE49-F238E27FC236}">
                <a16:creationId xmlns:a16="http://schemas.microsoft.com/office/drawing/2014/main" id="{786B7A4A-7366-9900-BC57-B64102F08FC1}"/>
              </a:ext>
            </a:extLst>
          </p:cNvPr>
          <p:cNvSpPr txBox="1">
            <a:spLocks/>
          </p:cNvSpPr>
          <p:nvPr/>
        </p:nvSpPr>
        <p:spPr>
          <a:xfrm>
            <a:off x="431799" y="431800"/>
            <a:ext cx="11326814" cy="864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15304E"/>
                </a:solidFill>
                <a:effectLst/>
                <a:uLnTx/>
                <a:uFillTx/>
                <a:latin typeface="Work Sans Light"/>
                <a:ea typeface="+mj-ea"/>
                <a:cs typeface="+mj-cs"/>
              </a:rPr>
              <a:t>Historiske afkast</a:t>
            </a:r>
            <a:endParaRPr kumimoji="0" lang="en-US" sz="2800" b="0" i="0" u="none" strike="noStrike" kern="1200" cap="none" spc="0" normalizeH="0" baseline="0" noProof="0" dirty="0">
              <a:ln>
                <a:noFill/>
              </a:ln>
              <a:solidFill>
                <a:srgbClr val="15304E"/>
              </a:solidFill>
              <a:effectLst/>
              <a:uLnTx/>
              <a:uFillTx/>
              <a:latin typeface="Work Sans Light" pitchFamily="2" charset="77"/>
              <a:ea typeface="+mj-ea"/>
              <a:cs typeface="+mj-cs"/>
            </a:endParaRPr>
          </a:p>
        </p:txBody>
      </p:sp>
      <p:sp>
        <p:nvSpPr>
          <p:cNvPr id="8" name="Tekstfelt 7">
            <a:extLst>
              <a:ext uri="{FF2B5EF4-FFF2-40B4-BE49-F238E27FC236}">
                <a16:creationId xmlns:a16="http://schemas.microsoft.com/office/drawing/2014/main" id="{D2C399E7-0EB9-C0F6-E83A-366F4BA7256E}"/>
              </a:ext>
            </a:extLst>
          </p:cNvPr>
          <p:cNvSpPr txBox="1"/>
          <p:nvPr/>
        </p:nvSpPr>
        <p:spPr>
          <a:xfrm>
            <a:off x="415924" y="6436651"/>
            <a:ext cx="60969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15304E"/>
                </a:solidFill>
                <a:effectLst/>
                <a:uLnTx/>
                <a:uFillTx/>
                <a:latin typeface="Work Sans Light"/>
                <a:ea typeface="+mn-ea"/>
                <a:cs typeface="+mn-cs"/>
              </a:rPr>
              <a:t>*Afkastdata til og med 31. december 2025 efter omkostninger.</a:t>
            </a:r>
          </a:p>
        </p:txBody>
      </p:sp>
      <p:graphicFrame>
        <p:nvGraphicFramePr>
          <p:cNvPr id="7" name="Chart Placeholder 11">
            <a:extLst>
              <a:ext uri="{FF2B5EF4-FFF2-40B4-BE49-F238E27FC236}">
                <a16:creationId xmlns:a16="http://schemas.microsoft.com/office/drawing/2014/main" id="{5AD60837-911A-84EE-63D0-AC9E798F5B2A}"/>
              </a:ext>
            </a:extLst>
          </p:cNvPr>
          <p:cNvGraphicFramePr>
            <a:graphicFrameLocks/>
          </p:cNvGraphicFramePr>
          <p:nvPr>
            <p:extLst>
              <p:ext uri="{D42A27DB-BD31-4B8C-83A1-F6EECF244321}">
                <p14:modId xmlns:p14="http://schemas.microsoft.com/office/powerpoint/2010/main" val="4090368122"/>
              </p:ext>
            </p:extLst>
          </p:nvPr>
        </p:nvGraphicFramePr>
        <p:xfrm>
          <a:off x="6088062" y="1847850"/>
          <a:ext cx="5670551" cy="4711700"/>
        </p:xfrm>
        <a:graphic>
          <a:graphicData uri="http://schemas.openxmlformats.org/drawingml/2006/chart">
            <c:chart xmlns:c="http://schemas.openxmlformats.org/drawingml/2006/chart" xmlns:r="http://schemas.openxmlformats.org/officeDocument/2006/relationships" r:id="rId6"/>
          </a:graphicData>
        </a:graphic>
      </p:graphicFrame>
      <p:sp>
        <p:nvSpPr>
          <p:cNvPr id="2" name="Rektangel: enkelt hjørne afrundet 1">
            <a:extLst>
              <a:ext uri="{FF2B5EF4-FFF2-40B4-BE49-F238E27FC236}">
                <a16:creationId xmlns:a16="http://schemas.microsoft.com/office/drawing/2014/main" id="{D86A5ECF-A145-3367-43C6-591382D9CA0B}"/>
              </a:ext>
            </a:extLst>
          </p:cNvPr>
          <p:cNvSpPr/>
          <p:nvPr/>
        </p:nvSpPr>
        <p:spPr>
          <a:xfrm flipH="1" flipV="1">
            <a:off x="5825449" y="0"/>
            <a:ext cx="6366552" cy="1166191"/>
          </a:xfrm>
          <a:prstGeom prst="round1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felt 2">
            <a:extLst>
              <a:ext uri="{FF2B5EF4-FFF2-40B4-BE49-F238E27FC236}">
                <a16:creationId xmlns:a16="http://schemas.microsoft.com/office/drawing/2014/main" id="{D130B73E-75CD-0BE4-96AE-49F8EB0898CE}"/>
              </a:ext>
            </a:extLst>
          </p:cNvPr>
          <p:cNvSpPr txBox="1"/>
          <p:nvPr/>
        </p:nvSpPr>
        <p:spPr>
          <a:xfrm>
            <a:off x="6105676" y="175128"/>
            <a:ext cx="6002394" cy="830997"/>
          </a:xfrm>
          <a:prstGeom prst="rect">
            <a:avLst/>
          </a:prstGeom>
          <a:noFill/>
        </p:spPr>
        <p:txBody>
          <a:bodyPr wrap="square">
            <a:spAutoFit/>
          </a:bodyPr>
          <a:lstStyle/>
          <a:p>
            <a:pPr fontAlgn="base"/>
            <a:r>
              <a:rPr lang="da-DK" sz="1200" dirty="0">
                <a:solidFill>
                  <a:schemeClr val="bg1"/>
                </a:solidFill>
              </a:rPr>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p:txBody>
      </p:sp>
    </p:spTree>
    <p:extLst>
      <p:ext uri="{BB962C8B-B14F-4D97-AF65-F5344CB8AC3E}">
        <p14:creationId xmlns:p14="http://schemas.microsoft.com/office/powerpoint/2010/main" val="4116261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dsholder til indhold 7" descr="Et billede, der indeholder Mobiltelefon, person, holde, negl/søm/nål&#10;&#10;AI-genereret indhold kan være ukorrekt.">
            <a:hlinkClick r:id="rId2"/>
            <a:extLst>
              <a:ext uri="{FF2B5EF4-FFF2-40B4-BE49-F238E27FC236}">
                <a16:creationId xmlns:a16="http://schemas.microsoft.com/office/drawing/2014/main" id="{3EB135AF-677F-A492-978D-412037A71ED8}"/>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t="5865" b="5865"/>
          <a:stretch/>
        </p:blipFill>
        <p:spPr>
          <a:xfrm>
            <a:off x="6876980" y="1438499"/>
            <a:ext cx="4319999" cy="4319999"/>
          </a:xfrm>
          <a:prstGeom prst="flowChartConnector">
            <a:avLst/>
          </a:prstGeom>
        </p:spPr>
      </p:pic>
      <p:sp>
        <p:nvSpPr>
          <p:cNvPr id="4" name="Pladsholder til slidenummer 3">
            <a:extLst>
              <a:ext uri="{FF2B5EF4-FFF2-40B4-BE49-F238E27FC236}">
                <a16:creationId xmlns:a16="http://schemas.microsoft.com/office/drawing/2014/main" id="{13A639E9-2099-AFA3-B709-978C629D598C}"/>
              </a:ext>
            </a:extLst>
          </p:cNvPr>
          <p:cNvSpPr>
            <a:spLocks noGrp="1"/>
          </p:cNvSpPr>
          <p:nvPr>
            <p:ph type="sldNum" sz="quarter" idx="16"/>
          </p:nvPr>
        </p:nvSpPr>
        <p:spPr/>
        <p:txBody>
          <a:bodyPr/>
          <a:lstStyle/>
          <a:p>
            <a:fld id="{FA9C6259-F55B-47A6-AB0B-9E9F0835A2F0}" type="slidenum">
              <a:rPr lang="da-DK" noProof="0" smtClean="0"/>
              <a:pPr/>
              <a:t>8</a:t>
            </a:fld>
            <a:endParaRPr lang="da-DK" noProof="0"/>
          </a:p>
        </p:txBody>
      </p:sp>
      <p:sp>
        <p:nvSpPr>
          <p:cNvPr id="13" name="Undertitel 4">
            <a:extLst>
              <a:ext uri="{FF2B5EF4-FFF2-40B4-BE49-F238E27FC236}">
                <a16:creationId xmlns:a16="http://schemas.microsoft.com/office/drawing/2014/main" id="{FDAE13B3-D736-30DD-4ED9-BD13DAC1B5EB}"/>
              </a:ext>
            </a:extLst>
          </p:cNvPr>
          <p:cNvSpPr txBox="1">
            <a:spLocks/>
          </p:cNvSpPr>
          <p:nvPr/>
        </p:nvSpPr>
        <p:spPr>
          <a:xfrm>
            <a:off x="441541" y="2616221"/>
            <a:ext cx="5664201" cy="576000"/>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ts val="300"/>
              </a:spcBef>
              <a:spcAft>
                <a:spcPts val="300"/>
              </a:spcAft>
            </a:pPr>
            <a:r>
              <a:rPr lang="da-DK" b="1">
                <a:solidFill>
                  <a:schemeClr val="tx2"/>
                </a:solidFill>
              </a:rPr>
              <a:t>På bankinvest.dk kan du følge med på produktsiden og se:</a:t>
            </a:r>
          </a:p>
          <a:p>
            <a:pPr marL="285750" indent="-285750">
              <a:spcBef>
                <a:spcPts val="300"/>
              </a:spcBef>
              <a:spcAft>
                <a:spcPts val="300"/>
              </a:spcAft>
              <a:buFont typeface="Arial" panose="020B0604020202020204" pitchFamily="34" charset="0"/>
              <a:buChar char="•"/>
            </a:pPr>
            <a:r>
              <a:rPr lang="da-DK">
                <a:solidFill>
                  <a:schemeClr val="tx2"/>
                </a:solidFill>
              </a:rPr>
              <a:t>Hvordan performer produktet?</a:t>
            </a:r>
          </a:p>
          <a:p>
            <a:pPr marL="285750" indent="-285750">
              <a:spcBef>
                <a:spcPts val="300"/>
              </a:spcBef>
              <a:spcAft>
                <a:spcPts val="300"/>
              </a:spcAft>
              <a:buFont typeface="Arial" panose="020B0604020202020204" pitchFamily="34" charset="0"/>
              <a:buChar char="•"/>
            </a:pPr>
            <a:r>
              <a:rPr lang="da-DK">
                <a:solidFill>
                  <a:schemeClr val="tx2"/>
                </a:solidFill>
              </a:rPr>
              <a:t>Hvilke selskaber, lande og sektorer investeres der i?</a:t>
            </a:r>
          </a:p>
          <a:p>
            <a:pPr marL="285750" indent="-285750">
              <a:spcBef>
                <a:spcPts val="300"/>
              </a:spcBef>
              <a:spcAft>
                <a:spcPts val="300"/>
              </a:spcAft>
              <a:buFont typeface="Arial" panose="020B0604020202020204" pitchFamily="34" charset="0"/>
              <a:buChar char="•"/>
            </a:pPr>
            <a:r>
              <a:rPr lang="da-DK">
                <a:solidFill>
                  <a:schemeClr val="tx2"/>
                </a:solidFill>
              </a:rPr>
              <a:t>En lang række fakta og juridisk information om produktet</a:t>
            </a:r>
          </a:p>
        </p:txBody>
      </p:sp>
      <p:sp>
        <p:nvSpPr>
          <p:cNvPr id="14" name="Titel 2">
            <a:extLst>
              <a:ext uri="{FF2B5EF4-FFF2-40B4-BE49-F238E27FC236}">
                <a16:creationId xmlns:a16="http://schemas.microsoft.com/office/drawing/2014/main" id="{8044AAAC-D85C-1691-CA6F-9179BD6D191E}"/>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r>
              <a:rPr lang="da-DK" sz="2800">
                <a:solidFill>
                  <a:srgbClr val="193A5F"/>
                </a:solidFill>
                <a:latin typeface="Work Sans Light" pitchFamily="2" charset="0"/>
              </a:rPr>
              <a:t>Følg med i udviklingen</a:t>
            </a:r>
            <a:endParaRPr lang="da-DK" sz="2800"/>
          </a:p>
        </p:txBody>
      </p:sp>
      <p:pic>
        <p:nvPicPr>
          <p:cNvPr id="16" name="Grafik 15" descr="Tilbage kontur">
            <a:extLst>
              <a:ext uri="{FF2B5EF4-FFF2-40B4-BE49-F238E27FC236}">
                <a16:creationId xmlns:a16="http://schemas.microsoft.com/office/drawing/2014/main" id="{7F2BFD2D-6B3A-6757-36BD-FD76486199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3627" y="4234118"/>
            <a:ext cx="623353" cy="623353"/>
          </a:xfrm>
          <a:prstGeom prst="rect">
            <a:avLst/>
          </a:prstGeom>
        </p:spPr>
      </p:pic>
      <p:sp>
        <p:nvSpPr>
          <p:cNvPr id="17" name="Pladsholder til sidefod 4">
            <a:extLst>
              <a:ext uri="{FF2B5EF4-FFF2-40B4-BE49-F238E27FC236}">
                <a16:creationId xmlns:a16="http://schemas.microsoft.com/office/drawing/2014/main" id="{CCB7F748-7C64-40C9-A987-DED023E1AED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mj-lt"/>
              </a:rPr>
              <a:t>Markedsføringsmateriale</a:t>
            </a:r>
            <a:endParaRPr lang="da-DK" sz="1200">
              <a:latin typeface="+mj-lt"/>
            </a:endParaRPr>
          </a:p>
        </p:txBody>
      </p:sp>
      <p:sp>
        <p:nvSpPr>
          <p:cNvPr id="18" name="Tekstfelt 17">
            <a:extLst>
              <a:ext uri="{FF2B5EF4-FFF2-40B4-BE49-F238E27FC236}">
                <a16:creationId xmlns:a16="http://schemas.microsoft.com/office/drawing/2014/main" id="{427070BB-6F75-7D47-EC69-2BFA466726D1}"/>
              </a:ext>
            </a:extLst>
          </p:cNvPr>
          <p:cNvSpPr txBox="1"/>
          <p:nvPr/>
        </p:nvSpPr>
        <p:spPr>
          <a:xfrm>
            <a:off x="5700504" y="4824399"/>
            <a:ext cx="1244476" cy="400110"/>
          </a:xfrm>
          <a:prstGeom prst="rect">
            <a:avLst/>
          </a:prstGeom>
          <a:noFill/>
        </p:spPr>
        <p:txBody>
          <a:bodyPr wrap="square" rtlCol="0">
            <a:spAutoFit/>
          </a:bodyPr>
          <a:lstStyle/>
          <a:p>
            <a:pPr algn="ctr"/>
            <a:r>
              <a:rPr lang="en-US" sz="1000" err="1">
                <a:solidFill>
                  <a:schemeClr val="accent2"/>
                </a:solidFill>
              </a:rPr>
              <a:t>Klik</a:t>
            </a:r>
            <a:r>
              <a:rPr lang="en-US" sz="1000">
                <a:solidFill>
                  <a:schemeClr val="accent2"/>
                </a:solidFill>
              </a:rPr>
              <a:t> her for at </a:t>
            </a:r>
            <a:r>
              <a:rPr lang="en-US" sz="1000" err="1">
                <a:solidFill>
                  <a:schemeClr val="accent2"/>
                </a:solidFill>
              </a:rPr>
              <a:t>gå</a:t>
            </a:r>
            <a:r>
              <a:rPr lang="en-US" sz="1000">
                <a:solidFill>
                  <a:schemeClr val="accent2"/>
                </a:solidFill>
              </a:rPr>
              <a:t> </a:t>
            </a:r>
            <a:br>
              <a:rPr lang="en-US" sz="1000">
                <a:solidFill>
                  <a:schemeClr val="accent2"/>
                </a:solidFill>
              </a:rPr>
            </a:br>
            <a:r>
              <a:rPr lang="en-US" sz="1000" err="1">
                <a:solidFill>
                  <a:schemeClr val="accent2"/>
                </a:solidFill>
              </a:rPr>
              <a:t>til</a:t>
            </a:r>
            <a:r>
              <a:rPr lang="en-US" sz="1000">
                <a:solidFill>
                  <a:schemeClr val="accent2"/>
                </a:solidFill>
              </a:rPr>
              <a:t> </a:t>
            </a:r>
            <a:r>
              <a:rPr lang="en-US" sz="1000" err="1">
                <a:solidFill>
                  <a:schemeClr val="accent2"/>
                </a:solidFill>
              </a:rPr>
              <a:t>produktsiden</a:t>
            </a:r>
            <a:endParaRPr lang="da-DK" sz="1000">
              <a:solidFill>
                <a:schemeClr val="accent2"/>
              </a:solidFill>
            </a:endParaRPr>
          </a:p>
        </p:txBody>
      </p:sp>
    </p:spTree>
    <p:extLst>
      <p:ext uri="{BB962C8B-B14F-4D97-AF65-F5344CB8AC3E}">
        <p14:creationId xmlns:p14="http://schemas.microsoft.com/office/powerpoint/2010/main" val="4250287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A7986-C238-0BAD-84D2-57C5FABE56BA}"/>
            </a:ext>
          </a:extLst>
        </p:cNvPr>
        <p:cNvGrpSpPr/>
        <p:nvPr/>
      </p:nvGrpSpPr>
      <p:grpSpPr>
        <a:xfrm>
          <a:off x="0" y="0"/>
          <a:ext cx="0" cy="0"/>
          <a:chOff x="0" y="0"/>
          <a:chExt cx="0" cy="0"/>
        </a:xfrm>
      </p:grpSpPr>
      <p:sp>
        <p:nvSpPr>
          <p:cNvPr id="3" name="Rektangel: enkelt hjørne afrundet 2">
            <a:extLst>
              <a:ext uri="{FF2B5EF4-FFF2-40B4-BE49-F238E27FC236}">
                <a16:creationId xmlns:a16="http://schemas.microsoft.com/office/drawing/2014/main" id="{5DE625DA-F6C6-1D39-B65C-27EB661F010B}"/>
              </a:ext>
            </a:extLst>
          </p:cNvPr>
          <p:cNvSpPr/>
          <p:nvPr/>
        </p:nvSpPr>
        <p:spPr>
          <a:xfrm flipH="1">
            <a:off x="7514492" y="3949658"/>
            <a:ext cx="4677506" cy="2908343"/>
          </a:xfrm>
          <a:prstGeom prst="round1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spAutoFit/>
          </a:bodyPr>
          <a:lstStyle/>
          <a:p>
            <a:pPr>
              <a:lnSpc>
                <a:spcPct val="90000"/>
              </a:lnSpc>
            </a:pPr>
            <a:endParaRPr lang="da-DK" sz="1400">
              <a:solidFill>
                <a:srgbClr val="002B5C"/>
              </a:solidFill>
              <a:latin typeface="Work Sans Light" pitchFamily="2" charset="0"/>
            </a:endParaRPr>
          </a:p>
          <a:p>
            <a:pPr>
              <a:lnSpc>
                <a:spcPct val="90000"/>
              </a:lnSpc>
            </a:pPr>
            <a:endParaRPr kumimoji="0" lang="da-DK" sz="1400" b="0" i="0" u="none" strike="noStrike" kern="1200" cap="none" spc="0" normalizeH="0" baseline="0" noProof="0">
              <a:ln>
                <a:noFill/>
              </a:ln>
              <a:solidFill>
                <a:srgbClr val="002B5C"/>
              </a:solidFill>
              <a:effectLst/>
              <a:uLnTx/>
              <a:uFillTx/>
              <a:latin typeface="Work Sans Light" pitchFamily="2" charset="0"/>
            </a:endParaRPr>
          </a:p>
          <a:p>
            <a:pPr>
              <a:lnSpc>
                <a:spcPct val="90000"/>
              </a:lnSpc>
            </a:pPr>
            <a:endParaRPr lang="da-DK" sz="1400">
              <a:solidFill>
                <a:srgbClr val="002B5C"/>
              </a:solidFill>
              <a:latin typeface="Work Sans Light" pitchFamily="2" charset="0"/>
            </a:endParaRPr>
          </a:p>
          <a:p>
            <a:pPr>
              <a:lnSpc>
                <a:spcPct val="90000"/>
              </a:lnSpc>
            </a:pPr>
            <a:endParaRPr kumimoji="0" lang="da-DK" sz="1400" b="0" i="0" u="none" strike="noStrike" kern="1200" cap="none" spc="0" normalizeH="0" baseline="0" noProof="0">
              <a:ln>
                <a:noFill/>
              </a:ln>
              <a:solidFill>
                <a:srgbClr val="002B5C"/>
              </a:solidFill>
              <a:effectLst/>
              <a:uLnTx/>
              <a:uFillTx/>
              <a:latin typeface="Work Sans Light" pitchFamily="2" charset="0"/>
            </a:endParaRPr>
          </a:p>
          <a:p>
            <a:pPr>
              <a:lnSpc>
                <a:spcPct val="90000"/>
              </a:lnSpc>
            </a:pPr>
            <a:endParaRPr kumimoji="0" lang="da-DK" sz="1400" b="0" i="0" u="none" strike="noStrike" kern="1200" cap="none" spc="0" normalizeH="0" baseline="0" noProof="0">
              <a:ln>
                <a:noFill/>
              </a:ln>
              <a:solidFill>
                <a:srgbClr val="002B5C"/>
              </a:solidFill>
              <a:effectLst/>
              <a:uLnTx/>
              <a:uFillTx/>
              <a:latin typeface="Work Sans Light" pitchFamily="2" charset="0"/>
            </a:endParaRPr>
          </a:p>
          <a:p>
            <a:pPr>
              <a:lnSpc>
                <a:spcPct val="90000"/>
              </a:lnSpc>
            </a:pPr>
            <a:endParaRPr lang="da-DK" sz="1400">
              <a:solidFill>
                <a:srgbClr val="002B5C"/>
              </a:solidFill>
              <a:latin typeface="Work Sans Light" pitchFamily="2" charset="0"/>
            </a:endParaRPr>
          </a:p>
          <a:p>
            <a:pPr>
              <a:lnSpc>
                <a:spcPct val="90000"/>
              </a:lnSpc>
            </a:pPr>
            <a:endParaRPr kumimoji="0" lang="da-DK" sz="1400" b="0" i="0" u="none" strike="noStrike" kern="1200" cap="none" spc="0" normalizeH="0" baseline="0" noProof="0">
              <a:ln>
                <a:noFill/>
              </a:ln>
              <a:solidFill>
                <a:srgbClr val="002B5C"/>
              </a:solidFill>
              <a:effectLst/>
              <a:uLnTx/>
              <a:uFillTx/>
              <a:latin typeface="Work Sans Light" pitchFamily="2" charset="0"/>
            </a:endParaRPr>
          </a:p>
          <a:p>
            <a:pPr>
              <a:lnSpc>
                <a:spcPct val="90000"/>
              </a:lnSpc>
            </a:pPr>
            <a:endParaRPr lang="da-DK" sz="1400">
              <a:solidFill>
                <a:srgbClr val="002B5C"/>
              </a:solidFill>
              <a:latin typeface="Work Sans Light" pitchFamily="2" charset="0"/>
            </a:endParaRPr>
          </a:p>
          <a:p>
            <a:pPr>
              <a:lnSpc>
                <a:spcPct val="90000"/>
              </a:lnSpc>
            </a:pPr>
            <a:endParaRPr kumimoji="0" lang="da-DK" sz="1400" b="0" i="0" u="none" strike="noStrike" kern="1200" cap="none" spc="0" normalizeH="0" baseline="0" noProof="0">
              <a:ln>
                <a:noFill/>
              </a:ln>
              <a:solidFill>
                <a:srgbClr val="002B5C"/>
              </a:solidFill>
              <a:effectLst/>
              <a:uLnTx/>
              <a:uFillTx/>
              <a:latin typeface="Work Sans Light" pitchFamily="2" charset="0"/>
            </a:endParaRPr>
          </a:p>
        </p:txBody>
      </p:sp>
      <p:sp>
        <p:nvSpPr>
          <p:cNvPr id="13" name="Content Placeholder 2">
            <a:extLst>
              <a:ext uri="{FF2B5EF4-FFF2-40B4-BE49-F238E27FC236}">
                <a16:creationId xmlns:a16="http://schemas.microsoft.com/office/drawing/2014/main" id="{D057771D-4B3F-C481-0835-9742DBD8C5AA}"/>
              </a:ext>
            </a:extLst>
          </p:cNvPr>
          <p:cNvSpPr>
            <a:spLocks noGrp="1"/>
          </p:cNvSpPr>
          <p:nvPr>
            <p:ph type="subTitle" idx="1"/>
          </p:nvPr>
        </p:nvSpPr>
        <p:spPr/>
        <p:txBody>
          <a:bodyPr vert="horz" lIns="0" tIns="0" rIns="0" bIns="0" rtlCol="0" anchor="t">
            <a:noAutofit/>
          </a:bodyPr>
          <a:lstStyle/>
          <a:p>
            <a:pPr marL="0" indent="0" algn="ctr">
              <a:buNone/>
            </a:pPr>
            <a:r>
              <a:rPr lang="en-US" sz="900" b="1">
                <a:solidFill>
                  <a:schemeClr val="bg1"/>
                </a:solidFill>
                <a:latin typeface="Work Sans Light" pitchFamily="2" charset="0"/>
              </a:rPr>
              <a:t>Artikel 8</a:t>
            </a:r>
          </a:p>
        </p:txBody>
      </p:sp>
      <p:sp>
        <p:nvSpPr>
          <p:cNvPr id="7" name="Title 6">
            <a:extLst>
              <a:ext uri="{FF2B5EF4-FFF2-40B4-BE49-F238E27FC236}">
                <a16:creationId xmlns:a16="http://schemas.microsoft.com/office/drawing/2014/main" id="{297415F8-02D3-7DF0-B24A-8248199FDC98}"/>
              </a:ext>
            </a:extLst>
          </p:cNvPr>
          <p:cNvSpPr>
            <a:spLocks noGrp="1"/>
          </p:cNvSpPr>
          <p:nvPr>
            <p:ph type="title"/>
          </p:nvPr>
        </p:nvSpPr>
        <p:spPr/>
        <p:txBody>
          <a:bodyPr/>
          <a:lstStyle/>
          <a:p>
            <a:r>
              <a:rPr lang="da-DK" sz="2800">
                <a:solidFill>
                  <a:schemeClr val="tx1"/>
                </a:solidFill>
                <a:latin typeface="Work Sans Light" pitchFamily="2" charset="0"/>
              </a:rPr>
              <a:t>Fondsinformation</a:t>
            </a:r>
            <a:endParaRPr lang="da-DK" sz="1300" b="0">
              <a:latin typeface="Work Sans Light" pitchFamily="2" charset="0"/>
            </a:endParaRPr>
          </a:p>
        </p:txBody>
      </p:sp>
      <p:sp>
        <p:nvSpPr>
          <p:cNvPr id="4" name="AutoShape 2" descr="Billedresultat for ipad.png">
            <a:extLst>
              <a:ext uri="{FF2B5EF4-FFF2-40B4-BE49-F238E27FC236}">
                <a16:creationId xmlns:a16="http://schemas.microsoft.com/office/drawing/2014/main" id="{57AEE153-A726-1BB5-8936-F863665EBCB0}"/>
              </a:ext>
            </a:extLst>
          </p:cNvPr>
          <p:cNvSpPr>
            <a:spLocks noChangeAspect="1" noChangeArrowheads="1"/>
          </p:cNvSpPr>
          <p:nvPr/>
        </p:nvSpPr>
        <p:spPr bwMode="auto">
          <a:xfrm>
            <a:off x="0"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da-DK" sz="2400">
              <a:solidFill>
                <a:prstClr val="black"/>
              </a:solidFill>
              <a:latin typeface="Work Sans Light" pitchFamily="2" charset="0"/>
            </a:endParaRPr>
          </a:p>
        </p:txBody>
      </p:sp>
      <p:sp>
        <p:nvSpPr>
          <p:cNvPr id="6" name="AutoShape 4" descr="Billedresultat for ipad.png">
            <a:extLst>
              <a:ext uri="{FF2B5EF4-FFF2-40B4-BE49-F238E27FC236}">
                <a16:creationId xmlns:a16="http://schemas.microsoft.com/office/drawing/2014/main" id="{AC4BF409-1AB6-8B89-95E7-B0B72CC7B1D6}"/>
              </a:ext>
            </a:extLst>
          </p:cNvPr>
          <p:cNvSpPr>
            <a:spLocks noChangeAspect="1" noChangeArrowheads="1"/>
          </p:cNvSpPr>
          <p:nvPr/>
        </p:nvSpPr>
        <p:spPr bwMode="auto">
          <a:xfrm>
            <a:off x="203200"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da-DK" sz="2400">
              <a:solidFill>
                <a:prstClr val="black"/>
              </a:solidFill>
              <a:latin typeface="Work Sans Light" pitchFamily="2" charset="0"/>
            </a:endParaRPr>
          </a:p>
        </p:txBody>
      </p:sp>
      <p:graphicFrame>
        <p:nvGraphicFramePr>
          <p:cNvPr id="31" name="Table 25">
            <a:extLst>
              <a:ext uri="{FF2B5EF4-FFF2-40B4-BE49-F238E27FC236}">
                <a16:creationId xmlns:a16="http://schemas.microsoft.com/office/drawing/2014/main" id="{3EEAC595-389F-570B-50DF-431511D8020D}"/>
              </a:ext>
            </a:extLst>
          </p:cNvPr>
          <p:cNvGraphicFramePr>
            <a:graphicFrameLocks/>
          </p:cNvGraphicFramePr>
          <p:nvPr>
            <p:extLst>
              <p:ext uri="{D42A27DB-BD31-4B8C-83A1-F6EECF244321}">
                <p14:modId xmlns:p14="http://schemas.microsoft.com/office/powerpoint/2010/main" val="1348267702"/>
              </p:ext>
            </p:extLst>
          </p:nvPr>
        </p:nvGraphicFramePr>
        <p:xfrm>
          <a:off x="333411" y="1678767"/>
          <a:ext cx="11314288" cy="1277682"/>
        </p:xfrm>
        <a:graphic>
          <a:graphicData uri="http://schemas.openxmlformats.org/drawingml/2006/table">
            <a:tbl>
              <a:tblPr firstRow="1" bandRow="1">
                <a:tableStyleId>{5940675A-B579-460E-94D1-54222C63F5DA}</a:tableStyleId>
              </a:tblPr>
              <a:tblGrid>
                <a:gridCol w="2052560">
                  <a:extLst>
                    <a:ext uri="{9D8B030D-6E8A-4147-A177-3AD203B41FA5}">
                      <a16:colId xmlns:a16="http://schemas.microsoft.com/office/drawing/2014/main" val="3035404675"/>
                    </a:ext>
                  </a:extLst>
                </a:gridCol>
                <a:gridCol w="1566322">
                  <a:extLst>
                    <a:ext uri="{9D8B030D-6E8A-4147-A177-3AD203B41FA5}">
                      <a16:colId xmlns:a16="http://schemas.microsoft.com/office/drawing/2014/main" val="2899795001"/>
                    </a:ext>
                  </a:extLst>
                </a:gridCol>
                <a:gridCol w="1109880">
                  <a:extLst>
                    <a:ext uri="{9D8B030D-6E8A-4147-A177-3AD203B41FA5}">
                      <a16:colId xmlns:a16="http://schemas.microsoft.com/office/drawing/2014/main" val="3070081632"/>
                    </a:ext>
                  </a:extLst>
                </a:gridCol>
                <a:gridCol w="1140993">
                  <a:extLst>
                    <a:ext uri="{9D8B030D-6E8A-4147-A177-3AD203B41FA5}">
                      <a16:colId xmlns:a16="http://schemas.microsoft.com/office/drawing/2014/main" val="284879055"/>
                    </a:ext>
                  </a:extLst>
                </a:gridCol>
                <a:gridCol w="1186249">
                  <a:extLst>
                    <a:ext uri="{9D8B030D-6E8A-4147-A177-3AD203B41FA5}">
                      <a16:colId xmlns:a16="http://schemas.microsoft.com/office/drawing/2014/main" val="1764955"/>
                    </a:ext>
                  </a:extLst>
                </a:gridCol>
                <a:gridCol w="1419428">
                  <a:extLst>
                    <a:ext uri="{9D8B030D-6E8A-4147-A177-3AD203B41FA5}">
                      <a16:colId xmlns:a16="http://schemas.microsoft.com/office/drawing/2014/main" val="1198689630"/>
                    </a:ext>
                  </a:extLst>
                </a:gridCol>
                <a:gridCol w="1419428">
                  <a:extLst>
                    <a:ext uri="{9D8B030D-6E8A-4147-A177-3AD203B41FA5}">
                      <a16:colId xmlns:a16="http://schemas.microsoft.com/office/drawing/2014/main" val="3315126037"/>
                    </a:ext>
                  </a:extLst>
                </a:gridCol>
                <a:gridCol w="1419428">
                  <a:extLst>
                    <a:ext uri="{9D8B030D-6E8A-4147-A177-3AD203B41FA5}">
                      <a16:colId xmlns:a16="http://schemas.microsoft.com/office/drawing/2014/main" val="1031511911"/>
                    </a:ext>
                  </a:extLst>
                </a:gridCol>
              </a:tblGrid>
              <a:tr h="487219">
                <a:tc>
                  <a:txBody>
                    <a:bodyPr/>
                    <a:lstStyle/>
                    <a:p>
                      <a:pPr algn="l"/>
                      <a:r>
                        <a:rPr lang="da-DK" sz="900" b="1">
                          <a:solidFill>
                            <a:schemeClr val="tx1"/>
                          </a:solidFill>
                          <a:latin typeface="Work Sans" pitchFamily="2" charset="0"/>
                        </a:rPr>
                        <a:t>Navn</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Typ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Fondskod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Løbende omkostninger</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da-DK" sz="900" b="1" i="0" u="none" strike="noStrike" baseline="0" noProof="0">
                          <a:solidFill>
                            <a:srgbClr val="15304E"/>
                          </a:solidFill>
                          <a:latin typeface="Work Sans" pitchFamily="2" charset="0"/>
                        </a:rPr>
                        <a:t>Transaktions-omkostninger</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Kompleksitet</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Skat</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Valuta</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962019"/>
                  </a:ext>
                </a:extLst>
              </a:tr>
              <a:tr h="276931">
                <a:tc>
                  <a:txBody>
                    <a:bodyPr/>
                    <a:lstStyle/>
                    <a:p>
                      <a:pPr algn="l">
                        <a:buNone/>
                      </a:pPr>
                      <a:r>
                        <a:rPr lang="da-DK" sz="900">
                          <a:effectLst/>
                          <a:latin typeface="Work Sans" pitchFamily="2" charset="0"/>
                          <a:ea typeface="Aptos" panose="020B0004020202020204" pitchFamily="34" charset="0"/>
                        </a:rPr>
                        <a:t>Globale Aktier A</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Udbyttebetal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a:effectLst/>
                          <a:latin typeface="Work Sans" pitchFamily="2" charset="0"/>
                          <a:ea typeface="Aptos" panose="020B0004020202020204" pitchFamily="34" charset="0"/>
                        </a:rPr>
                        <a:t>DK0061271426</a:t>
                      </a:r>
                      <a:endParaRPr lang="en-DK" sz="900">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dirty="0">
                          <a:solidFill>
                            <a:schemeClr val="tx1"/>
                          </a:solidFill>
                          <a:latin typeface="Work Sans" pitchFamily="2" charset="0"/>
                          <a:ea typeface="+mn-ea"/>
                          <a:cs typeface="+mn-cs"/>
                        </a:rPr>
                        <a:t>1,66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dirty="0">
                          <a:solidFill>
                            <a:schemeClr val="tx1"/>
                          </a:solidFill>
                          <a:latin typeface="Work Sans" pitchFamily="2" charset="0"/>
                          <a:ea typeface="+mn-ea"/>
                          <a:cs typeface="+mn-cs"/>
                        </a:rPr>
                        <a:t>0,25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realisations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DKK</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588785"/>
                  </a:ext>
                </a:extLst>
              </a:tr>
              <a:tr h="424703">
                <a:tc>
                  <a:txBody>
                    <a:bodyPr/>
                    <a:lstStyle/>
                    <a:p>
                      <a:pPr algn="l">
                        <a:buNone/>
                      </a:pPr>
                      <a:r>
                        <a:rPr lang="da-DK" sz="900">
                          <a:effectLst/>
                          <a:latin typeface="Work Sans" pitchFamily="2" charset="0"/>
                          <a:ea typeface="Aptos" panose="020B0004020202020204" pitchFamily="34" charset="0"/>
                        </a:rPr>
                        <a:t>Globale Aktier </a:t>
                      </a:r>
                      <a:r>
                        <a:rPr lang="da-DK" sz="900" err="1">
                          <a:effectLst/>
                          <a:latin typeface="Work Sans" pitchFamily="2" charset="0"/>
                          <a:ea typeface="Aptos" panose="020B0004020202020204" pitchFamily="34" charset="0"/>
                        </a:rPr>
                        <a:t>Akk</a:t>
                      </a:r>
                      <a:r>
                        <a:rPr lang="da-DK" sz="900">
                          <a:effectLst/>
                          <a:latin typeface="Work Sans" pitchFamily="2" charset="0"/>
                          <a:ea typeface="Aptos" panose="020B0004020202020204" pitchFamily="34" charset="0"/>
                        </a:rPr>
                        <a:t>. A</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Akkumuler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a:effectLst/>
                          <a:latin typeface="Work Sans" pitchFamily="2" charset="0"/>
                          <a:ea typeface="Aptos" panose="020B0004020202020204" pitchFamily="34" charset="0"/>
                        </a:rPr>
                        <a:t>DK0061271699</a:t>
                      </a:r>
                      <a:endParaRPr lang="en-DK" sz="900">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dirty="0">
                          <a:solidFill>
                            <a:schemeClr val="tx1"/>
                          </a:solidFill>
                          <a:latin typeface="Work Sans" pitchFamily="2" charset="0"/>
                          <a:ea typeface="+mn-ea"/>
                          <a:cs typeface="+mn-cs"/>
                        </a:rPr>
                        <a:t>1,65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a:solidFill>
                            <a:schemeClr val="tx1"/>
                          </a:solidFill>
                          <a:latin typeface="Work Sans" pitchFamily="2" charset="0"/>
                          <a:ea typeface="+mn-ea"/>
                          <a:cs typeface="+mn-cs"/>
                        </a:rPr>
                        <a:t>0,26 </a:t>
                      </a:r>
                      <a:r>
                        <a:rPr lang="da-DK" sz="900" b="0" i="0" u="none" strike="noStrike" kern="1200" baseline="0" dirty="0">
                          <a:solidFill>
                            <a:schemeClr val="tx1"/>
                          </a:solidFill>
                          <a:latin typeface="Work Sans" pitchFamily="2" charset="0"/>
                          <a:ea typeface="+mn-ea"/>
                          <a:cs typeface="+mn-cs"/>
                        </a:rPr>
                        <a:t>%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lager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solidFill>
                            <a:schemeClr val="tx1"/>
                          </a:solidFill>
                          <a:latin typeface="Work Sans" pitchFamily="2" charset="0"/>
                        </a:rPr>
                        <a:t>DKK</a:t>
                      </a:r>
                      <a:endParaRPr lang="da-DK" sz="900" dirty="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577419"/>
                  </a:ext>
                </a:extLst>
              </a:tr>
            </a:tbl>
          </a:graphicData>
        </a:graphic>
      </p:graphicFrame>
      <p:sp>
        <p:nvSpPr>
          <p:cNvPr id="8" name="Tekstfelt 7">
            <a:extLst>
              <a:ext uri="{FF2B5EF4-FFF2-40B4-BE49-F238E27FC236}">
                <a16:creationId xmlns:a16="http://schemas.microsoft.com/office/drawing/2014/main" id="{D94A3911-B2DF-A663-B856-198784755EF3}"/>
              </a:ext>
            </a:extLst>
          </p:cNvPr>
          <p:cNvSpPr txBox="1"/>
          <p:nvPr/>
        </p:nvSpPr>
        <p:spPr>
          <a:xfrm>
            <a:off x="431798" y="5859506"/>
            <a:ext cx="6665376" cy="801310"/>
          </a:xfrm>
          <a:prstGeom prst="rect">
            <a:avLst/>
          </a:prstGeom>
          <a:noFill/>
        </p:spPr>
        <p:txBody>
          <a:bodyPr wrap="square" lIns="0" tIns="0" rIns="0" bIns="0" rtlCol="0" anchor="t">
            <a:spAutoFit/>
          </a:bodyPr>
          <a:lstStyle/>
          <a:p>
            <a:pPr marL="0" lvl="7">
              <a:lnSpc>
                <a:spcPct val="120000"/>
              </a:lnSpc>
              <a:spcAft>
                <a:spcPts val="600"/>
              </a:spcAft>
              <a:buFont typeface="Arial" panose="020B0604020202020204" pitchFamily="34" charset="0"/>
              <a:buChar char="​"/>
              <a:defRPr/>
            </a:pPr>
            <a:r>
              <a:rPr kumimoji="0" lang="da-DK" sz="1000" b="0" u="none" strike="noStrike" kern="1200" cap="none" spc="0" normalizeH="0" baseline="0" noProof="1">
                <a:ln>
                  <a:noFill/>
                </a:ln>
                <a:effectLst/>
                <a:uLnTx/>
                <a:uFillTx/>
                <a:latin typeface="Work Sans"/>
              </a:rPr>
              <a:t>Tallene i materialet er historiske og tidligere afkast og/eller kursudviklinger kan ikke anvendes som pålidelig indikator for fremtidige afkast og/eller kursudvikling. Afdelingen er en aktivt forvaltet UCITS-ETF. Tegning af andele i afdelingen bør ske på baggrund af prospekt, vedtægter og central investorinformation.</a:t>
            </a:r>
          </a:p>
          <a:p>
            <a:pPr marL="0" lvl="7">
              <a:lnSpc>
                <a:spcPct val="120000"/>
              </a:lnSpc>
              <a:spcAft>
                <a:spcPts val="600"/>
              </a:spcAft>
              <a:defRPr/>
            </a:pPr>
            <a:r>
              <a:rPr lang="da-DK" sz="1000" noProof="1">
                <a:latin typeface="Work Sans"/>
              </a:rPr>
              <a:t>Senest ændret 19/03/2026.</a:t>
            </a:r>
            <a:r>
              <a:rPr kumimoji="0" lang="da-DK" sz="1000" b="0" u="none" strike="noStrike" kern="1200" cap="none" spc="0" normalizeH="0" baseline="0" noProof="1">
                <a:ln>
                  <a:noFill/>
                </a:ln>
                <a:effectLst/>
                <a:uLnTx/>
                <a:uFillTx/>
                <a:latin typeface="Work Sans"/>
              </a:rPr>
              <a:t> </a:t>
            </a:r>
            <a:endParaRPr lang="da-DK" sz="1000" b="0" u="none" strike="noStrike" kern="1200" cap="none" spc="0" normalizeH="0" baseline="0" noProof="1">
              <a:ln>
                <a:noFill/>
              </a:ln>
              <a:effectLst/>
              <a:uLnTx/>
              <a:uFillTx/>
              <a:latin typeface="Work Sans"/>
            </a:endParaRPr>
          </a:p>
        </p:txBody>
      </p:sp>
      <p:grpSp>
        <p:nvGrpSpPr>
          <p:cNvPr id="17" name="Group 58">
            <a:extLst>
              <a:ext uri="{FF2B5EF4-FFF2-40B4-BE49-F238E27FC236}">
                <a16:creationId xmlns:a16="http://schemas.microsoft.com/office/drawing/2014/main" id="{BC00403E-055A-914E-F7B2-291574B7CA0C}"/>
              </a:ext>
            </a:extLst>
          </p:cNvPr>
          <p:cNvGrpSpPr/>
          <p:nvPr/>
        </p:nvGrpSpPr>
        <p:grpSpPr>
          <a:xfrm>
            <a:off x="7977051" y="4449802"/>
            <a:ext cx="3781563" cy="729431"/>
            <a:chOff x="807928" y="1861846"/>
            <a:chExt cx="2939098" cy="748728"/>
          </a:xfrm>
        </p:grpSpPr>
        <p:sp>
          <p:nvSpPr>
            <p:cNvPr id="18" name="Rectangle 59">
              <a:extLst>
                <a:ext uri="{FF2B5EF4-FFF2-40B4-BE49-F238E27FC236}">
                  <a16:creationId xmlns:a16="http://schemas.microsoft.com/office/drawing/2014/main" id="{8BCEF389-F3CA-09D7-D1FB-E44B2795D7F2}"/>
                </a:ext>
              </a:extLst>
            </p:cNvPr>
            <p:cNvSpPr/>
            <p:nvPr/>
          </p:nvSpPr>
          <p:spPr>
            <a:xfrm>
              <a:off x="862537"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chemeClr val="tx1"/>
                  </a:solidFill>
                  <a:latin typeface="Work Sans Light" pitchFamily="2" charset="0"/>
                </a:rPr>
                <a:t>1</a:t>
              </a:r>
            </a:p>
          </p:txBody>
        </p:sp>
        <p:sp>
          <p:nvSpPr>
            <p:cNvPr id="19" name="Rectangle 60">
              <a:extLst>
                <a:ext uri="{FF2B5EF4-FFF2-40B4-BE49-F238E27FC236}">
                  <a16:creationId xmlns:a16="http://schemas.microsoft.com/office/drawing/2014/main" id="{6E9B4A02-BDCA-7B73-5E7A-13A42F126552}"/>
                </a:ext>
              </a:extLst>
            </p:cNvPr>
            <p:cNvSpPr/>
            <p:nvPr/>
          </p:nvSpPr>
          <p:spPr>
            <a:xfrm>
              <a:off x="1265418"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chemeClr val="tx1"/>
                  </a:solidFill>
                  <a:latin typeface="Work Sans Light" pitchFamily="2" charset="0"/>
                </a:rPr>
                <a:t>2</a:t>
              </a:r>
            </a:p>
          </p:txBody>
        </p:sp>
        <p:sp>
          <p:nvSpPr>
            <p:cNvPr id="20" name="Rectangle 61">
              <a:extLst>
                <a:ext uri="{FF2B5EF4-FFF2-40B4-BE49-F238E27FC236}">
                  <a16:creationId xmlns:a16="http://schemas.microsoft.com/office/drawing/2014/main" id="{6E0E265C-C479-E2DC-A526-56CC49A684F7}"/>
                </a:ext>
              </a:extLst>
            </p:cNvPr>
            <p:cNvSpPr/>
            <p:nvPr/>
          </p:nvSpPr>
          <p:spPr>
            <a:xfrm>
              <a:off x="1668299"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chemeClr val="tx1"/>
                  </a:solidFill>
                  <a:latin typeface="Work Sans Light" pitchFamily="2" charset="0"/>
                </a:rPr>
                <a:t>3</a:t>
              </a:r>
            </a:p>
          </p:txBody>
        </p:sp>
        <p:sp>
          <p:nvSpPr>
            <p:cNvPr id="21" name="Rectangle 62">
              <a:extLst>
                <a:ext uri="{FF2B5EF4-FFF2-40B4-BE49-F238E27FC236}">
                  <a16:creationId xmlns:a16="http://schemas.microsoft.com/office/drawing/2014/main" id="{BF3FEB0A-5B4D-D8B0-5A9B-4D99EEE4057C}"/>
                </a:ext>
              </a:extLst>
            </p:cNvPr>
            <p:cNvSpPr/>
            <p:nvPr/>
          </p:nvSpPr>
          <p:spPr>
            <a:xfrm>
              <a:off x="2071180" y="1861846"/>
              <a:ext cx="381000" cy="197528"/>
            </a:xfrm>
            <a:prstGeom prst="rect">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chemeClr val="bg1"/>
                  </a:solidFill>
                  <a:latin typeface="Work Sans Light" pitchFamily="2" charset="0"/>
                </a:rPr>
                <a:t>4</a:t>
              </a:r>
            </a:p>
          </p:txBody>
        </p:sp>
        <p:sp>
          <p:nvSpPr>
            <p:cNvPr id="22" name="Rectangle 63">
              <a:extLst>
                <a:ext uri="{FF2B5EF4-FFF2-40B4-BE49-F238E27FC236}">
                  <a16:creationId xmlns:a16="http://schemas.microsoft.com/office/drawing/2014/main" id="{EB556BE1-70C7-4ADE-23DA-A4880D5B7C37}"/>
                </a:ext>
              </a:extLst>
            </p:cNvPr>
            <p:cNvSpPr/>
            <p:nvPr/>
          </p:nvSpPr>
          <p:spPr>
            <a:xfrm>
              <a:off x="247406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chemeClr val="tx1"/>
                  </a:solidFill>
                  <a:latin typeface="Work Sans Light" pitchFamily="2" charset="0"/>
                </a:rPr>
                <a:t>5</a:t>
              </a:r>
            </a:p>
          </p:txBody>
        </p:sp>
        <p:sp>
          <p:nvSpPr>
            <p:cNvPr id="23" name="Rectangle 64">
              <a:extLst>
                <a:ext uri="{FF2B5EF4-FFF2-40B4-BE49-F238E27FC236}">
                  <a16:creationId xmlns:a16="http://schemas.microsoft.com/office/drawing/2014/main" id="{D0F9AA0D-3391-6D66-D1E4-1FC87AEB0B4C}"/>
                </a:ext>
              </a:extLst>
            </p:cNvPr>
            <p:cNvSpPr/>
            <p:nvPr/>
          </p:nvSpPr>
          <p:spPr>
            <a:xfrm>
              <a:off x="2876942" y="1861846"/>
              <a:ext cx="381000" cy="197528"/>
            </a:xfrm>
            <a:prstGeom prst="rect">
              <a:avLst/>
            </a:prstGeom>
            <a:solidFill>
              <a:srgbClr val="F4FA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chemeClr val="tx1"/>
                  </a:solidFill>
                  <a:latin typeface="Work Sans Light" pitchFamily="2" charset="0"/>
                </a:rPr>
                <a:t>6</a:t>
              </a:r>
            </a:p>
          </p:txBody>
        </p:sp>
        <p:sp>
          <p:nvSpPr>
            <p:cNvPr id="24" name="Rectangle 65">
              <a:extLst>
                <a:ext uri="{FF2B5EF4-FFF2-40B4-BE49-F238E27FC236}">
                  <a16:creationId xmlns:a16="http://schemas.microsoft.com/office/drawing/2014/main" id="{A6DF4201-91A8-633D-76B6-D35F0F6E6E0C}"/>
                </a:ext>
              </a:extLst>
            </p:cNvPr>
            <p:cNvSpPr/>
            <p:nvPr/>
          </p:nvSpPr>
          <p:spPr>
            <a:xfrm>
              <a:off x="327982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a:solidFill>
                    <a:schemeClr val="tx1"/>
                  </a:solidFill>
                  <a:latin typeface="Work Sans Light" pitchFamily="2" charset="0"/>
                </a:rPr>
                <a:t>7</a:t>
              </a:r>
            </a:p>
          </p:txBody>
        </p:sp>
        <p:cxnSp>
          <p:nvCxnSpPr>
            <p:cNvPr id="25" name="Straight Arrow Connector 66">
              <a:extLst>
                <a:ext uri="{FF2B5EF4-FFF2-40B4-BE49-F238E27FC236}">
                  <a16:creationId xmlns:a16="http://schemas.microsoft.com/office/drawing/2014/main" id="{390407D9-8358-3A55-8C21-1811BBF37597}"/>
                </a:ext>
              </a:extLst>
            </p:cNvPr>
            <p:cNvCxnSpPr/>
            <p:nvPr/>
          </p:nvCxnSpPr>
          <p:spPr>
            <a:xfrm>
              <a:off x="858430" y="2166524"/>
              <a:ext cx="2808000"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6" name="TextBox 67">
              <a:extLst>
                <a:ext uri="{FF2B5EF4-FFF2-40B4-BE49-F238E27FC236}">
                  <a16:creationId xmlns:a16="http://schemas.microsoft.com/office/drawing/2014/main" id="{048706AC-45ED-E440-C070-A29163D960BA}"/>
                </a:ext>
              </a:extLst>
            </p:cNvPr>
            <p:cNvSpPr txBox="1"/>
            <p:nvPr/>
          </p:nvSpPr>
          <p:spPr>
            <a:xfrm>
              <a:off x="807928" y="2231471"/>
              <a:ext cx="961121" cy="379103"/>
            </a:xfrm>
            <a:prstGeom prst="rect">
              <a:avLst/>
            </a:prstGeom>
            <a:noFill/>
          </p:spPr>
          <p:txBody>
            <a:bodyPr wrap="square" rtlCol="0">
              <a:spAutoFit/>
            </a:bodyPr>
            <a:lstStyle/>
            <a:p>
              <a:r>
                <a:rPr lang="da-DK" sz="900">
                  <a:latin typeface="Work Sans" pitchFamily="2" charset="0"/>
                </a:rPr>
                <a:t>Lav risiko</a:t>
              </a:r>
            </a:p>
            <a:p>
              <a:r>
                <a:rPr lang="da-DK" sz="900">
                  <a:latin typeface="Work Sans" pitchFamily="2" charset="0"/>
                </a:rPr>
                <a:t>Typisk lavt afkast</a:t>
              </a:r>
            </a:p>
          </p:txBody>
        </p:sp>
        <p:sp>
          <p:nvSpPr>
            <p:cNvPr id="27" name="TextBox 68">
              <a:extLst>
                <a:ext uri="{FF2B5EF4-FFF2-40B4-BE49-F238E27FC236}">
                  <a16:creationId xmlns:a16="http://schemas.microsoft.com/office/drawing/2014/main" id="{C1F5F866-815E-F20C-6510-8A4453CA3EB9}"/>
                </a:ext>
              </a:extLst>
            </p:cNvPr>
            <p:cNvSpPr txBox="1"/>
            <p:nvPr/>
          </p:nvSpPr>
          <p:spPr>
            <a:xfrm>
              <a:off x="2750476" y="2231471"/>
              <a:ext cx="996550" cy="379103"/>
            </a:xfrm>
            <a:prstGeom prst="rect">
              <a:avLst/>
            </a:prstGeom>
            <a:noFill/>
          </p:spPr>
          <p:txBody>
            <a:bodyPr wrap="square" rtlCol="0">
              <a:spAutoFit/>
            </a:bodyPr>
            <a:lstStyle/>
            <a:p>
              <a:pPr algn="r"/>
              <a:r>
                <a:rPr lang="da-DK" sz="900">
                  <a:latin typeface="Work Sans" pitchFamily="2" charset="0"/>
                </a:rPr>
                <a:t>Høj risiko</a:t>
              </a:r>
            </a:p>
            <a:p>
              <a:pPr algn="r"/>
              <a:r>
                <a:rPr lang="da-DK" sz="900">
                  <a:latin typeface="Work Sans" pitchFamily="2" charset="0"/>
                </a:rPr>
                <a:t>Typisk højt afkast</a:t>
              </a:r>
            </a:p>
          </p:txBody>
        </p:sp>
      </p:grpSp>
      <p:sp>
        <p:nvSpPr>
          <p:cNvPr id="5" name="object 19">
            <a:extLst>
              <a:ext uri="{FF2B5EF4-FFF2-40B4-BE49-F238E27FC236}">
                <a16:creationId xmlns:a16="http://schemas.microsoft.com/office/drawing/2014/main" id="{E2050CE4-20B8-FAD1-9E31-C2E9B68863DB}"/>
              </a:ext>
            </a:extLst>
          </p:cNvPr>
          <p:cNvSpPr txBox="1"/>
          <p:nvPr/>
        </p:nvSpPr>
        <p:spPr>
          <a:xfrm>
            <a:off x="8042029" y="5365400"/>
            <a:ext cx="3700036" cy="1079976"/>
          </a:xfrm>
          <a:prstGeom prst="rect">
            <a:avLst/>
          </a:prstGeom>
        </p:spPr>
        <p:txBody>
          <a:bodyPr vert="horz" wrap="square" lIns="0" tIns="12700" rIns="0" bIns="0" rtlCol="0">
            <a:spAutoFit/>
          </a:bodyPr>
          <a:lstStyle/>
          <a:p>
            <a:pPr marL="12700" marR="5080">
              <a:lnSpc>
                <a:spcPct val="116700"/>
              </a:lnSpc>
              <a:spcBef>
                <a:spcPts val="100"/>
              </a:spcBef>
            </a:pPr>
            <a:r>
              <a:rPr sz="1000" dirty="0">
                <a:solidFill>
                  <a:srgbClr val="1B2E5A"/>
                </a:solidFill>
                <a:latin typeface="Work Sans" pitchFamily="2" charset="0"/>
                <a:cs typeface="Solomon Sans Book"/>
              </a:rPr>
              <a:t>Vi</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har</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klassificeret</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dette</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produkt</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som</a:t>
            </a:r>
            <a:r>
              <a:rPr sz="1000" spc="-5" dirty="0">
                <a:solidFill>
                  <a:srgbClr val="1B2E5A"/>
                </a:solidFill>
                <a:latin typeface="Work Sans" pitchFamily="2" charset="0"/>
                <a:cs typeface="Solomon Sans Book"/>
              </a:rPr>
              <a:t> </a:t>
            </a:r>
            <a:r>
              <a:rPr lang="en-US" sz="1000" dirty="0">
                <a:solidFill>
                  <a:srgbClr val="1B2E5A"/>
                </a:solidFill>
                <a:latin typeface="Work Sans" pitchFamily="2" charset="0"/>
                <a:cs typeface="Solomon Sans Book"/>
              </a:rPr>
              <a:t>4</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ud</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af</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7, </a:t>
            </a:r>
            <a:r>
              <a:rPr sz="1000" spc="-25" dirty="0" err="1">
                <a:solidFill>
                  <a:srgbClr val="1B2E5A"/>
                </a:solidFill>
                <a:latin typeface="Work Sans" pitchFamily="2" charset="0"/>
                <a:cs typeface="Solomon Sans Book"/>
              </a:rPr>
              <a:t>som</a:t>
            </a:r>
            <a:r>
              <a:rPr sz="1000" spc="-2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er </a:t>
            </a:r>
            <a:r>
              <a:rPr sz="1000" dirty="0" err="1">
                <a:solidFill>
                  <a:srgbClr val="1B2E5A"/>
                </a:solidFill>
                <a:latin typeface="Work Sans" pitchFamily="2" charset="0"/>
                <a:cs typeface="Solomon Sans Book"/>
              </a:rPr>
              <a:t>en</a:t>
            </a:r>
            <a:r>
              <a:rPr sz="1000" spc="5" dirty="0">
                <a:solidFill>
                  <a:srgbClr val="1B2E5A"/>
                </a:solidFill>
                <a:latin typeface="Work Sans" pitchFamily="2" charset="0"/>
                <a:cs typeface="Solomon Sans Book"/>
              </a:rPr>
              <a:t> </a:t>
            </a:r>
            <a:r>
              <a:rPr lang="en-US" sz="1000" dirty="0" err="1">
                <a:solidFill>
                  <a:srgbClr val="1B2E5A"/>
                </a:solidFill>
                <a:latin typeface="Work Sans" pitchFamily="2" charset="0"/>
                <a:cs typeface="Solomon Sans Book"/>
              </a:rPr>
              <a:t>middel</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risikoklasse</a:t>
            </a:r>
            <a:r>
              <a:rPr sz="1000" dirty="0">
                <a:solidFill>
                  <a:srgbClr val="1B2E5A"/>
                </a:solidFill>
                <a:latin typeface="Work Sans" pitchFamily="2" charset="0"/>
                <a:cs typeface="Solomon Sans Book"/>
              </a:rPr>
              <a:t>.</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Det</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betyder</a:t>
            </a:r>
            <a:r>
              <a:rPr sz="1000" dirty="0">
                <a:solidFill>
                  <a:srgbClr val="1B2E5A"/>
                </a:solidFill>
                <a:latin typeface="Work Sans" pitchFamily="2" charset="0"/>
                <a:cs typeface="Solomon Sans Book"/>
              </a:rPr>
              <a:t>,</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at</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der</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er</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en</a:t>
            </a:r>
            <a:r>
              <a:rPr sz="1000" spc="5" dirty="0">
                <a:solidFill>
                  <a:srgbClr val="1B2E5A"/>
                </a:solidFill>
                <a:latin typeface="Work Sans" pitchFamily="2" charset="0"/>
                <a:cs typeface="Solomon Sans Book"/>
              </a:rPr>
              <a:t> </a:t>
            </a:r>
            <a:r>
              <a:rPr lang="en-US" sz="1000" spc="-25" dirty="0" err="1">
                <a:solidFill>
                  <a:srgbClr val="1B2E5A"/>
                </a:solidFill>
                <a:latin typeface="Work Sans" pitchFamily="2" charset="0"/>
                <a:cs typeface="Solomon Sans Book"/>
              </a:rPr>
              <a:t>middel-høj</a:t>
            </a:r>
            <a:r>
              <a:rPr sz="1000" spc="-2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risiko</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for</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fremtidige</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tab.</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Dette</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produkt</a:t>
            </a:r>
            <a:r>
              <a:rPr sz="1000" spc="-5" dirty="0">
                <a:solidFill>
                  <a:srgbClr val="1B2E5A"/>
                </a:solidFill>
                <a:latin typeface="Work Sans" pitchFamily="2" charset="0"/>
                <a:cs typeface="Solomon Sans Book"/>
              </a:rPr>
              <a:t> </a:t>
            </a:r>
            <a:r>
              <a:rPr sz="1000" spc="-10" dirty="0" err="1">
                <a:solidFill>
                  <a:srgbClr val="1B2E5A"/>
                </a:solidFill>
                <a:latin typeface="Work Sans" pitchFamily="2" charset="0"/>
                <a:cs typeface="Solomon Sans Book"/>
              </a:rPr>
              <a:t>indeholder</a:t>
            </a:r>
            <a:r>
              <a:rPr sz="1000" spc="-1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ikke</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nogen</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beskyttelse</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mod</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den</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fremtidige</a:t>
            </a:r>
            <a:r>
              <a:rPr sz="1000" spc="-5" dirty="0">
                <a:solidFill>
                  <a:srgbClr val="1B2E5A"/>
                </a:solidFill>
                <a:latin typeface="Work Sans" pitchFamily="2" charset="0"/>
                <a:cs typeface="Solomon Sans Book"/>
              </a:rPr>
              <a:t> </a:t>
            </a:r>
            <a:r>
              <a:rPr sz="1000" spc="-10" dirty="0" err="1">
                <a:solidFill>
                  <a:srgbClr val="1B2E5A"/>
                </a:solidFill>
                <a:latin typeface="Work Sans" pitchFamily="2" charset="0"/>
                <a:cs typeface="Solomon Sans Book"/>
              </a:rPr>
              <a:t>udvikling</a:t>
            </a:r>
            <a:r>
              <a:rPr sz="1000" spc="-1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i</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markedet</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så</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du </a:t>
            </a:r>
            <a:r>
              <a:rPr sz="1000" dirty="0" err="1">
                <a:solidFill>
                  <a:srgbClr val="1B2E5A"/>
                </a:solidFill>
                <a:latin typeface="Work Sans" pitchFamily="2" charset="0"/>
                <a:cs typeface="Solomon Sans Book"/>
              </a:rPr>
              <a:t>kan</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tabe</a:t>
            </a:r>
            <a:r>
              <a:rPr sz="1000" spc="5"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noget</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af</a:t>
            </a:r>
            <a:r>
              <a:rPr sz="1000" dirty="0">
                <a:solidFill>
                  <a:srgbClr val="1B2E5A"/>
                </a:solidFill>
                <a:latin typeface="Work Sans" pitchFamily="2" charset="0"/>
                <a:cs typeface="Solomon Sans Book"/>
              </a:rPr>
              <a:t> </a:t>
            </a:r>
            <a:r>
              <a:rPr sz="1000" dirty="0" err="1">
                <a:solidFill>
                  <a:srgbClr val="1B2E5A"/>
                </a:solidFill>
                <a:latin typeface="Work Sans" pitchFamily="2" charset="0"/>
                <a:cs typeface="Solomon Sans Book"/>
              </a:rPr>
              <a:t>eller</a:t>
            </a:r>
            <a:r>
              <a:rPr sz="1000" spc="5" dirty="0">
                <a:solidFill>
                  <a:srgbClr val="1B2E5A"/>
                </a:solidFill>
                <a:latin typeface="Work Sans" pitchFamily="2" charset="0"/>
                <a:cs typeface="Solomon Sans Book"/>
              </a:rPr>
              <a:t> </a:t>
            </a:r>
            <a:r>
              <a:rPr sz="1000" dirty="0">
                <a:solidFill>
                  <a:srgbClr val="1B2E5A"/>
                </a:solidFill>
                <a:latin typeface="Work Sans" pitchFamily="2" charset="0"/>
                <a:cs typeface="Solomon Sans Book"/>
              </a:rPr>
              <a:t>hele </a:t>
            </a:r>
            <a:r>
              <a:rPr sz="1000" spc="-25" dirty="0">
                <a:solidFill>
                  <a:srgbClr val="1B2E5A"/>
                </a:solidFill>
                <a:latin typeface="Work Sans" pitchFamily="2" charset="0"/>
                <a:cs typeface="Solomon Sans Book"/>
              </a:rPr>
              <a:t>din </a:t>
            </a:r>
            <a:r>
              <a:rPr sz="1000" spc="-10" err="1">
                <a:solidFill>
                  <a:srgbClr val="1B2E5A"/>
                </a:solidFill>
                <a:latin typeface="Work Sans" pitchFamily="2" charset="0"/>
                <a:cs typeface="Solomon Sans Book"/>
              </a:rPr>
              <a:t>investering</a:t>
            </a:r>
            <a:r>
              <a:rPr sz="1000" spc="-10">
                <a:solidFill>
                  <a:srgbClr val="1B2E5A"/>
                </a:solidFill>
                <a:latin typeface="Work Sans" pitchFamily="2" charset="0"/>
                <a:cs typeface="Solomon Sans Book"/>
              </a:rPr>
              <a:t>.</a:t>
            </a:r>
            <a:r>
              <a:rPr lang="en-US" sz="1000" spc="-10">
                <a:solidFill>
                  <a:srgbClr val="1B2E5A"/>
                </a:solidFill>
                <a:latin typeface="Work Sans" pitchFamily="2" charset="0"/>
                <a:cs typeface="Solomon Sans Book"/>
              </a:rPr>
              <a:t>*</a:t>
            </a:r>
            <a:endParaRPr sz="1000">
              <a:latin typeface="Work Sans" pitchFamily="2" charset="0"/>
              <a:cs typeface="Solomon Sans Book"/>
            </a:endParaRPr>
          </a:p>
        </p:txBody>
      </p:sp>
      <p:sp>
        <p:nvSpPr>
          <p:cNvPr id="10" name="Pladsholder til sidefod 4">
            <a:extLst>
              <a:ext uri="{FF2B5EF4-FFF2-40B4-BE49-F238E27FC236}">
                <a16:creationId xmlns:a16="http://schemas.microsoft.com/office/drawing/2014/main" id="{D43B31B1-B866-6885-8E3F-07E9D9DAFE8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mj-lt"/>
              </a:rPr>
              <a:t>Markedsføringsmateriale</a:t>
            </a:r>
            <a:endParaRPr lang="da-DK" sz="1200">
              <a:latin typeface="+mj-lt"/>
            </a:endParaRPr>
          </a:p>
        </p:txBody>
      </p:sp>
      <p:sp>
        <p:nvSpPr>
          <p:cNvPr id="2" name="Pladsholder til slidenummer 1">
            <a:extLst>
              <a:ext uri="{FF2B5EF4-FFF2-40B4-BE49-F238E27FC236}">
                <a16:creationId xmlns:a16="http://schemas.microsoft.com/office/drawing/2014/main" id="{95F6B3AF-D10D-DF5B-8479-8F558F2722C3}"/>
              </a:ext>
            </a:extLst>
          </p:cNvPr>
          <p:cNvSpPr>
            <a:spLocks noGrp="1"/>
          </p:cNvSpPr>
          <p:nvPr>
            <p:ph type="sldNum" sz="quarter" idx="12"/>
          </p:nvPr>
        </p:nvSpPr>
        <p:spPr/>
        <p:txBody>
          <a:bodyPr/>
          <a:lstStyle/>
          <a:p>
            <a:fld id="{FA9C6259-F55B-47A6-AB0B-9E9F0835A2F0}" type="slidenum">
              <a:rPr lang="da-DK" noProof="0" smtClean="0"/>
              <a:pPr/>
              <a:t>9</a:t>
            </a:fld>
            <a:endParaRPr lang="da-DK" noProof="0"/>
          </a:p>
        </p:txBody>
      </p:sp>
    </p:spTree>
    <p:extLst>
      <p:ext uri="{BB962C8B-B14F-4D97-AF65-F5344CB8AC3E}">
        <p14:creationId xmlns:p14="http://schemas.microsoft.com/office/powerpoint/2010/main" val="1494439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2.xml><?xml version="1.0" encoding="utf-8"?>
<a:theme xmlns:a="http://schemas.openxmlformats.org/drawingml/2006/main" name="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3.xml><?xml version="1.0" encoding="utf-8"?>
<a:theme xmlns:a="http://schemas.openxmlformats.org/drawingml/2006/main" name="1_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TemplafySlideTemplateConfiguration><![CDATA[{"slideVersion":1,"isValidatorEnabled":false,"isLocked":false,"elementsMetadata":[],"slideId":"1095911062925737988","enableDocumentContentUpdater":false,"version":"2.0"}]]></TemplafySlideTemplateConfiguration>
</file>

<file path=customXml/item2.xml><?xml version="1.0" encoding="utf-8"?>
<p:properties xmlns:p="http://schemas.microsoft.com/office/2006/metadata/properties" xmlns:xsi="http://www.w3.org/2001/XMLSchema-instance" xmlns:pc="http://schemas.microsoft.com/office/infopath/2007/PartnerControls">
  <documentManagement>
    <TaxCatchAll xmlns="d48c66e5-4ee8-4bad-bc18-75f8eafaf659" xsi:nil="true"/>
    <lcf76f155ced4ddcb4097134ff3c332f xmlns="0e1ae550-6e19-4666-a1cd-db56e24dfd1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6D2454916B1F7D479E576E6203AF8F31" ma:contentTypeVersion="14" ma:contentTypeDescription="Create a new document." ma:contentTypeScope="" ma:versionID="6bb2ded99e7a1fdc6bb554114362fff6">
  <xsd:schema xmlns:xsd="http://www.w3.org/2001/XMLSchema" xmlns:xs="http://www.w3.org/2001/XMLSchema" xmlns:p="http://schemas.microsoft.com/office/2006/metadata/properties" xmlns:ns2="0e1ae550-6e19-4666-a1cd-db56e24dfd1d" xmlns:ns3="d48c66e5-4ee8-4bad-bc18-75f8eafaf659" targetNamespace="http://schemas.microsoft.com/office/2006/metadata/properties" ma:root="true" ma:fieldsID="495f4ff064fd2643ff0ddd1868e278a2" ns2:_="" ns3:_="">
    <xsd:import namespace="0e1ae550-6e19-4666-a1cd-db56e24dfd1d"/>
    <xsd:import namespace="d48c66e5-4ee8-4bad-bc18-75f8eafaf6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ae550-6e19-4666-a1cd-db56e24dfd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8c66e5-4ee8-4bad-bc18-75f8eafaf65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78c2802-caea-4c9b-a5af-a66d182cef7c}" ma:internalName="TaxCatchAll" ma:showField="CatchAllData" ma:web="d48c66e5-4ee8-4bad-bc18-75f8eafaf6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SlideFormConfiguration><![CDATA[{"formFields":[],"formDataEntries":[]}]]></TemplafySlideFormConfiguration>
</file>

<file path=customXml/itemProps1.xml><?xml version="1.0" encoding="utf-8"?>
<ds:datastoreItem xmlns:ds="http://schemas.openxmlformats.org/officeDocument/2006/customXml" ds:itemID="{ECAFCC0B-6A1D-4D13-9A85-8CED7181F54A}">
  <ds:schemaRefs/>
</ds:datastoreItem>
</file>

<file path=customXml/itemProps2.xml><?xml version="1.0" encoding="utf-8"?>
<ds:datastoreItem xmlns:ds="http://schemas.openxmlformats.org/officeDocument/2006/customXml" ds:itemID="{0E7A31A8-2B54-409F-9812-E6D596B8F9D4}">
  <ds:schemaRefs>
    <ds:schemaRef ds:uri="http://purl.org/dc/terms/"/>
    <ds:schemaRef ds:uri="http://schemas.microsoft.com/office/2006/metadata/properties"/>
    <ds:schemaRef ds:uri="http://purl.org/dc/elements/1.1/"/>
    <ds:schemaRef ds:uri="http://schemas.microsoft.com/office/infopath/2007/PartnerControls"/>
    <ds:schemaRef ds:uri="http://schemas.microsoft.com/office/2006/documentManagement/types"/>
    <ds:schemaRef ds:uri="d48c66e5-4ee8-4bad-bc18-75f8eafaf659"/>
    <ds:schemaRef ds:uri="http://purl.org/dc/dcmitype/"/>
    <ds:schemaRef ds:uri="http://schemas.openxmlformats.org/package/2006/metadata/core-properties"/>
    <ds:schemaRef ds:uri="0e1ae550-6e19-4666-a1cd-db56e24dfd1d"/>
    <ds:schemaRef ds:uri="http://www.w3.org/XML/1998/namespace"/>
  </ds:schemaRefs>
</ds:datastoreItem>
</file>

<file path=customXml/itemProps3.xml><?xml version="1.0" encoding="utf-8"?>
<ds:datastoreItem xmlns:ds="http://schemas.openxmlformats.org/officeDocument/2006/customXml" ds:itemID="{20E4D5B2-CE84-4185-B2BF-EDFCC69A6897}">
  <ds:schemaRefs>
    <ds:schemaRef ds:uri="http://schemas.microsoft.com/sharepoint/v3/contenttype/forms"/>
  </ds:schemaRefs>
</ds:datastoreItem>
</file>

<file path=customXml/itemProps4.xml><?xml version="1.0" encoding="utf-8"?>
<ds:datastoreItem xmlns:ds="http://schemas.openxmlformats.org/officeDocument/2006/customXml" ds:itemID="{E6DB28B5-6F19-4EB9-8B79-7B0DE174B6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1ae550-6e19-4666-a1cd-db56e24dfd1d"/>
    <ds:schemaRef ds:uri="d48c66e5-4ee8-4bad-bc18-75f8eafaf6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1F315A2-55E2-46C9-A550-D5A7F145AE2F}">
  <ds:schemaRefs/>
</ds:datastoreItem>
</file>

<file path=docProps/app.xml><?xml version="1.0" encoding="utf-8"?>
<Properties xmlns="http://schemas.openxmlformats.org/officeDocument/2006/extended-properties" xmlns:vt="http://schemas.openxmlformats.org/officeDocument/2006/docPropsVTypes">
  <Template>BankInvest-skabelon_2025</Template>
  <TotalTime>3</TotalTime>
  <Words>840</Words>
  <Application>Microsoft Office PowerPoint</Application>
  <PresentationFormat>Widescreen</PresentationFormat>
  <Paragraphs>146</Paragraphs>
  <Slides>10</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2" baseType="lpstr">
      <vt:lpstr>Aptos</vt:lpstr>
      <vt:lpstr>Arial</vt:lpstr>
      <vt:lpstr>Century Gothic</vt:lpstr>
      <vt:lpstr>Montserrat SemiBold</vt:lpstr>
      <vt:lpstr>Roboto Condensed</vt:lpstr>
      <vt:lpstr>Work Sans</vt:lpstr>
      <vt:lpstr>Work Sans Light</vt:lpstr>
      <vt:lpstr>Work Sans SemiBold</vt:lpstr>
      <vt:lpstr>Lyse farver</vt:lpstr>
      <vt:lpstr>Mørke farver</vt:lpstr>
      <vt:lpstr>1_Lyse farver</vt:lpstr>
      <vt:lpstr>think-cell Slide</vt:lpstr>
      <vt:lpstr>Globale Aktier </vt:lpstr>
      <vt:lpstr> Fakta om produktet </vt:lpstr>
      <vt:lpstr>PowerPoint Presentation</vt:lpstr>
      <vt:lpstr>Filosofi/strategi</vt:lpstr>
      <vt:lpstr>ESG og bæredygtighed</vt:lpstr>
      <vt:lpstr>PowerPoint Presentation</vt:lpstr>
      <vt:lpstr>PowerPoint Presentation</vt:lpstr>
      <vt:lpstr>PowerPoint Presentation</vt:lpstr>
      <vt:lpstr>Fondsinformation</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ecilie Klit Jørgensen</dc:creator>
  <cp:lastModifiedBy>Jesper Børre Mangelsen</cp:lastModifiedBy>
  <cp:revision>8</cp:revision>
  <dcterms:created xsi:type="dcterms:W3CDTF">2026-01-20T13:50:12Z</dcterms:created>
  <dcterms:modified xsi:type="dcterms:W3CDTF">2026-03-19T15:0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454916B1F7D479E576E6203AF8F31</vt:lpwstr>
  </property>
  <property fmtid="{D5CDD505-2E9C-101B-9397-08002B2CF9AE}" pid="3" name="MediaServiceImageTags">
    <vt:lpwstr/>
  </property>
</Properties>
</file>